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rts/chart1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sldIdLst>
    <p:sldId id="350" r:id="rId2"/>
    <p:sldId id="351" r:id="rId3"/>
    <p:sldId id="356" r:id="rId4"/>
    <p:sldId id="322" r:id="rId5"/>
    <p:sldId id="323" r:id="rId6"/>
    <p:sldId id="324" r:id="rId7"/>
    <p:sldId id="328" r:id="rId8"/>
    <p:sldId id="325" r:id="rId9"/>
    <p:sldId id="327" r:id="rId10"/>
    <p:sldId id="357" r:id="rId11"/>
    <p:sldId id="355" r:id="rId12"/>
    <p:sldId id="331" r:id="rId13"/>
    <p:sldId id="330" r:id="rId14"/>
    <p:sldId id="360" r:id="rId15"/>
    <p:sldId id="338" r:id="rId16"/>
    <p:sldId id="343" r:id="rId17"/>
    <p:sldId id="362" r:id="rId18"/>
    <p:sldId id="361" r:id="rId19"/>
  </p:sldIdLst>
  <p:sldSz cx="9906000" cy="6858000" type="A4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914912D-CAD5-4C68-A125-6B4DBCD8A2A6}">
          <p14:sldIdLst>
            <p14:sldId id="350"/>
            <p14:sldId id="351"/>
            <p14:sldId id="356"/>
            <p14:sldId id="322"/>
            <p14:sldId id="323"/>
            <p14:sldId id="324"/>
            <p14:sldId id="328"/>
            <p14:sldId id="325"/>
            <p14:sldId id="327"/>
            <p14:sldId id="357"/>
            <p14:sldId id="355"/>
            <p14:sldId id="331"/>
            <p14:sldId id="330"/>
            <p14:sldId id="360"/>
            <p14:sldId id="338"/>
            <p14:sldId id="343"/>
            <p14:sldId id="362"/>
            <p14:sldId id="361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D"/>
    <a:srgbClr val="BC204B"/>
    <a:srgbClr val="F68D2E"/>
    <a:srgbClr val="EAAA00"/>
    <a:srgbClr val="43B02A"/>
    <a:srgbClr val="009A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737" autoAdjust="0"/>
  </p:normalViewPr>
  <p:slideViewPr>
    <p:cSldViewPr snapToGrid="0" showGuides="1">
      <p:cViewPr varScale="1">
        <p:scale>
          <a:sx n="86" d="100"/>
          <a:sy n="86" d="100"/>
        </p:scale>
        <p:origin x="1104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700636942675158E-2"/>
          <c:y val="6.2726176115802168E-2"/>
          <c:w val="0.95859872611464969"/>
          <c:h val="0.874547647768395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 w="9525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hlink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2"/>
            <c:invertIfNegative val="0"/>
            <c:bubble3D val="0"/>
            <c:spPr>
              <a:solidFill>
                <a:schemeClr val="accent3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dPt>
            <c:idx val="5"/>
            <c:invertIfNegative val="0"/>
            <c:bubble3D val="0"/>
            <c:spPr>
              <a:solidFill>
                <a:schemeClr val="accent2"/>
              </a:solidFill>
              <a:ln w="9525">
                <a:solidFill>
                  <a:srgbClr val="FFFFFF"/>
                </a:solidFill>
                <a:prstDash val="solid"/>
              </a:ln>
            </c:spPr>
          </c:dPt>
          <c:val>
            <c:numRef>
              <c:f>Sheet1!$A$1:$F$1</c:f>
              <c:numCache>
                <c:formatCode>General</c:formatCode>
                <c:ptCount val="6"/>
                <c:pt idx="0">
                  <c:v>14</c:v>
                </c:pt>
                <c:pt idx="1">
                  <c:v>29.166666666666668</c:v>
                </c:pt>
                <c:pt idx="2">
                  <c:v>58.333333333333336</c:v>
                </c:pt>
                <c:pt idx="3">
                  <c:v>140</c:v>
                </c:pt>
                <c:pt idx="4">
                  <c:v>175</c:v>
                </c:pt>
                <c:pt idx="5">
                  <c:v>2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02887056"/>
        <c:axId val="402885096"/>
      </c:barChart>
      <c:catAx>
        <c:axId val="40288705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solidFill>
                  <a:schemeClr val="tx2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en-US"/>
          </a:p>
        </c:txPr>
        <c:crossAx val="402885096"/>
        <c:crosses val="min"/>
        <c:auto val="0"/>
        <c:lblAlgn val="ctr"/>
        <c:lblOffset val="100"/>
        <c:noMultiLvlLbl val="0"/>
      </c:catAx>
      <c:valAx>
        <c:axId val="402885096"/>
        <c:scaling>
          <c:orientation val="minMax"/>
          <c:max val="21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28870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99.emf"/><Relationship Id="rId2" Type="http://schemas.openxmlformats.org/officeDocument/2006/relationships/image" Target="../media/image98.emf"/><Relationship Id="rId1" Type="http://schemas.openxmlformats.org/officeDocument/2006/relationships/image" Target="../media/image1.emf"/><Relationship Id="rId4" Type="http://schemas.openxmlformats.org/officeDocument/2006/relationships/image" Target="../media/image10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3096DF-26FC-4CE3-AD11-F26E72B3A633}" type="datetimeFigureOut">
              <a:rPr lang="en-US" smtClean="0"/>
              <a:t>11-Sep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A21498-02A4-4106-AC87-9E20D54428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7973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464D06-C6AD-4ED9-8AFB-02C4A732E30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0174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8AE643-49C7-451A-910D-951FCF593160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894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hyperlink" Target="http://kpmg.ru/" TargetMode="External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Righ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790700" y="1339200"/>
            <a:ext cx="6192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Slide 1 – </a:t>
            </a:r>
            <a:br>
              <a:rPr lang="en-GB" dirty="0" smtClean="0"/>
            </a:br>
            <a:r>
              <a:rPr lang="en-GB" dirty="0" smtClean="0"/>
              <a:t>left light vertical image</a:t>
            </a:r>
            <a:endParaRPr lang="en-US" dirty="0"/>
          </a:p>
        </p:txBody>
      </p:sp>
      <p:sp>
        <p:nvSpPr>
          <p:cNvPr id="11" name="Freeform 19"/>
          <p:cNvSpPr>
            <a:spLocks noEditPoints="1"/>
          </p:cNvSpPr>
          <p:nvPr userDrawn="1"/>
        </p:nvSpPr>
        <p:spPr bwMode="auto">
          <a:xfrm>
            <a:off x="8195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819501" y="5036400"/>
            <a:ext cx="6163200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092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1422400"/>
            <a:ext cx="4036500" cy="460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43900" y="1422400"/>
            <a:ext cx="4036500" cy="460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60996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1422400"/>
            <a:ext cx="4036500" cy="460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5043900" y="1422400"/>
            <a:ext cx="4036500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468853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3830800"/>
            <a:ext cx="8254800" cy="219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825600" y="1426659"/>
            <a:ext cx="82548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786615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3697200" y="1426659"/>
            <a:ext cx="25506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 smtClean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825600" y="1426659"/>
            <a:ext cx="25896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 smtClean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3830800"/>
            <a:ext cx="2589600" cy="219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529800" y="1426659"/>
            <a:ext cx="2550600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chart</a:t>
            </a:r>
            <a:endParaRPr lang="en-GB" dirty="0" smtClean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658200" y="3830800"/>
            <a:ext cx="2589600" cy="219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490800" y="3830800"/>
            <a:ext cx="2589600" cy="2196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413369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825600" y="1422400"/>
            <a:ext cx="8254800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5466858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19700"/>
            <a:ext cx="9906000" cy="60071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06133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2336184"/>
            <a:ext cx="15249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508075" y="2336184"/>
            <a:ext cx="15249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190550" y="2336184"/>
            <a:ext cx="15249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873025" y="2336184"/>
            <a:ext cx="15249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25600" y="1426659"/>
            <a:ext cx="15249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508075" y="1426659"/>
            <a:ext cx="15249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190550" y="1426659"/>
            <a:ext cx="15249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873025" y="1426659"/>
            <a:ext cx="15249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7555500" y="1426659"/>
            <a:ext cx="15249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7555500" y="2336184"/>
            <a:ext cx="15249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877598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2336184"/>
            <a:ext cx="19071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941500" y="2336184"/>
            <a:ext cx="19071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57400" y="2336184"/>
            <a:ext cx="19071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173300" y="2336184"/>
            <a:ext cx="1907100" cy="3690616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25600" y="1426659"/>
            <a:ext cx="1907100" cy="604800"/>
          </a:xfrm>
          <a:prstGeom prst="homePlate">
            <a:avLst>
              <a:gd name="adj" fmla="val 3197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941500" y="1426659"/>
            <a:ext cx="19071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57400" y="1426659"/>
            <a:ext cx="19071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173300" y="1426659"/>
            <a:ext cx="1907100" cy="604800"/>
          </a:xfrm>
          <a:prstGeom prst="chevron">
            <a:avLst>
              <a:gd name="adj" fmla="val 31101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6838659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963100" y="4532800"/>
            <a:ext cx="312780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63100" y="1784424"/>
            <a:ext cx="312780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57201" y="3191932"/>
            <a:ext cx="1191600" cy="1191600"/>
          </a:xfrm>
          <a:prstGeom prst="ellipse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10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add text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963100" y="1428430"/>
            <a:ext cx="31278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963100" y="4182242"/>
            <a:ext cx="31278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815100" y="4532800"/>
            <a:ext cx="312780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815100" y="4182242"/>
            <a:ext cx="31278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784424"/>
            <a:ext cx="3127800" cy="14940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15100" y="1428430"/>
            <a:ext cx="31278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Right Arrow 2"/>
          <p:cNvSpPr/>
          <p:nvPr userDrawn="1"/>
        </p:nvSpPr>
        <p:spPr>
          <a:xfrm rot="2655894">
            <a:off x="4100849" y="2812312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1" name="Right Arrow 20"/>
          <p:cNvSpPr/>
          <p:nvPr userDrawn="1"/>
        </p:nvSpPr>
        <p:spPr>
          <a:xfrm rot="18944106" flipH="1">
            <a:off x="5391752" y="2812312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2" name="Right Arrow 21"/>
          <p:cNvSpPr/>
          <p:nvPr userDrawn="1"/>
        </p:nvSpPr>
        <p:spPr>
          <a:xfrm rot="18944106" flipV="1">
            <a:off x="4100849" y="4385153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23" name="Right Arrow 22"/>
          <p:cNvSpPr/>
          <p:nvPr userDrawn="1"/>
        </p:nvSpPr>
        <p:spPr>
          <a:xfrm rot="2655894" flipH="1" flipV="1">
            <a:off x="5391752" y="4385153"/>
            <a:ext cx="413400" cy="378000"/>
          </a:xfrm>
          <a:prstGeom prst="rightArrow">
            <a:avLst>
              <a:gd name="adj1" fmla="val 65119"/>
              <a:gd name="adj2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6957156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781375"/>
            <a:ext cx="4036500" cy="4245425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15100" y="1426659"/>
            <a:ext cx="40365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5054400" y="1781375"/>
            <a:ext cx="4036500" cy="4245425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54400" y="1426659"/>
            <a:ext cx="40365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85535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 - Left dark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2" y="0"/>
            <a:ext cx="9906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36911" y="1339200"/>
            <a:ext cx="5440464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slide</a:t>
            </a:r>
            <a:br>
              <a:rPr lang="en-GB" dirty="0" smtClean="0"/>
            </a:br>
            <a:r>
              <a:rPr lang="en-GB" dirty="0" smtClean="0"/>
              <a:t>dark left vertical image</a:t>
            </a:r>
            <a:endParaRPr lang="en-US" dirty="0"/>
          </a:p>
        </p:txBody>
      </p:sp>
      <p:sp>
        <p:nvSpPr>
          <p:cNvPr id="9" name="Freeform 19"/>
          <p:cNvSpPr>
            <a:spLocks noEditPoints="1"/>
          </p:cNvSpPr>
          <p:nvPr userDrawn="1"/>
        </p:nvSpPr>
        <p:spPr bwMode="auto">
          <a:xfrm>
            <a:off x="4065711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065711" y="5036400"/>
            <a:ext cx="5411664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7446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54325" y="4241200"/>
            <a:ext cx="403560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325" y="1784424"/>
            <a:ext cx="403560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5054325" y="1428430"/>
            <a:ext cx="40356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5054325" y="3890142"/>
            <a:ext cx="40356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815100" y="4241200"/>
            <a:ext cx="403560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815100" y="3890142"/>
            <a:ext cx="40356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784424"/>
            <a:ext cx="4035600" cy="17856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15100" y="1428430"/>
            <a:ext cx="4035600" cy="360000"/>
          </a:xfrm>
          <a:solidFill>
            <a:schemeClr val="tx2"/>
          </a:solidFill>
          <a:ln w="6350">
            <a:solidFill>
              <a:schemeClr val="tx2"/>
            </a:solidFill>
          </a:ln>
        </p:spPr>
        <p:txBody>
          <a:bodyPr lIns="54000" tIns="54000" rIns="54000" bIns="54000" anchor="ctr"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8996279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- NO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64825" y="3829182"/>
            <a:ext cx="4035600" cy="22032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054325" y="1422400"/>
            <a:ext cx="4035600" cy="2204719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825600" y="3829182"/>
            <a:ext cx="4035600" cy="2203200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5100" y="1422400"/>
            <a:ext cx="4035600" cy="2204719"/>
          </a:xfrm>
          <a:ln w="6350">
            <a:solidFill>
              <a:schemeClr val="tx2"/>
            </a:solidFill>
          </a:ln>
        </p:spPr>
        <p:txBody>
          <a:bodyPr lIns="54000" tIns="54000" rIns="54000" bIns="54000"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628604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7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98393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ection divider one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9611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rgbClr val="6D20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ection divider two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2771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ection divider three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14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ection divider four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470A68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8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1153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3"/>
          <p:cNvSpPr/>
          <p:nvPr userDrawn="1"/>
        </p:nvSpPr>
        <p:spPr>
          <a:xfrm>
            <a:off x="3" y="0"/>
            <a:ext cx="82867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Freeform 19"/>
          <p:cNvSpPr>
            <a:spLocks noEditPoints="1"/>
          </p:cNvSpPr>
          <p:nvPr userDrawn="1"/>
        </p:nvSpPr>
        <p:spPr bwMode="auto">
          <a:xfrm>
            <a:off x="1715999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715999" y="51133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15999" y="5902325"/>
            <a:ext cx="7375525" cy="119064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16088" y="3932239"/>
            <a:ext cx="7375525" cy="554037"/>
          </a:xfrm>
        </p:spPr>
        <p:txBody>
          <a:bodyPr/>
          <a:lstStyle>
            <a:lvl1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935125" y="6660000"/>
            <a:ext cx="6081823" cy="1137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b="1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атус документа: Конфиденциально</a:t>
            </a:r>
          </a:p>
        </p:txBody>
      </p:sp>
      <p:sp>
        <p:nvSpPr>
          <p:cNvPr id="24" name="Rectangle 23">
            <a:hlinkClick r:id="rId2"/>
          </p:cNvPr>
          <p:cNvSpPr>
            <a:spLocks noChangeArrowheads="1"/>
          </p:cNvSpPr>
          <p:nvPr userDrawn="1"/>
        </p:nvSpPr>
        <p:spPr bwMode="auto">
          <a:xfrm>
            <a:off x="1712634" y="3561779"/>
            <a:ext cx="189831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000" b="1" i="0" kern="0" dirty="0" smtClean="0">
                <a:solidFill>
                  <a:srgbClr val="00338D"/>
                </a:solidFill>
                <a:latin typeface="+mn-lt"/>
                <a:cs typeface="Univers for KPMG"/>
              </a:rPr>
              <a:t>kpmg.ru</a:t>
            </a:r>
          </a:p>
        </p:txBody>
      </p:sp>
    </p:spTree>
    <p:extLst>
      <p:ext uri="{BB962C8B-B14F-4D97-AF65-F5344CB8AC3E}">
        <p14:creationId xmlns:p14="http://schemas.microsoft.com/office/powerpoint/2010/main" val="32672736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0154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Section divider three title styl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2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1662" dirty="0">
              <a:latin typeface="Arial" panose="020B0604020202020204" pitchFamily="34" charset="0"/>
            </a:endParaRPr>
          </a:p>
        </p:txBody>
      </p:sp>
      <p:sp>
        <p:nvSpPr>
          <p:cNvPr id="5" name="Freeform 19"/>
          <p:cNvSpPr>
            <a:spLocks noEditPoints="1"/>
          </p:cNvSpPr>
          <p:nvPr userDrawn="1"/>
        </p:nvSpPr>
        <p:spPr bwMode="auto">
          <a:xfrm>
            <a:off x="2236109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662" dirty="0"/>
          </a:p>
        </p:txBody>
      </p:sp>
    </p:spTree>
    <p:extLst>
      <p:ext uri="{BB962C8B-B14F-4D97-AF65-F5344CB8AC3E}">
        <p14:creationId xmlns:p14="http://schemas.microsoft.com/office/powerpoint/2010/main" val="3721965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- Singula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0"/>
          <a:stretch/>
        </p:blipFill>
        <p:spPr>
          <a:xfrm>
            <a:off x="1" y="0"/>
            <a:ext cx="9905999" cy="6888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itle slide</a:t>
            </a:r>
            <a:br>
              <a:rPr lang="en-US" dirty="0" smtClean="0"/>
            </a:br>
            <a:r>
              <a:rPr lang="en-US" dirty="0" smtClean="0"/>
              <a:t>singular </a:t>
            </a:r>
            <a:br>
              <a:rPr lang="en-US" dirty="0" smtClean="0"/>
            </a:br>
            <a:r>
              <a:rPr lang="en-US" dirty="0" smtClean="0"/>
              <a:t>imag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36108" y="5036400"/>
            <a:ext cx="6687092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Freeform 19"/>
          <p:cNvSpPr>
            <a:spLocks noEditPoints="1"/>
          </p:cNvSpPr>
          <p:nvPr userDrawn="1"/>
        </p:nvSpPr>
        <p:spPr bwMode="auto">
          <a:xfrm>
            <a:off x="2254600" y="78734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4990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 - No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215200" y="1346400"/>
            <a:ext cx="6708000" cy="3510000"/>
          </a:xfrm>
        </p:spPr>
        <p:txBody>
          <a:bodyPr anchor="t" anchorCtr="0"/>
          <a:lstStyle>
            <a:lvl1pPr algn="l">
              <a:defRPr sz="110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Title slide</a:t>
            </a:r>
            <a:br>
              <a:rPr lang="en-GB" dirty="0" smtClean="0"/>
            </a:br>
            <a:r>
              <a:rPr lang="en-GB" dirty="0" smtClean="0"/>
              <a:t>no image</a:t>
            </a:r>
            <a:endParaRPr lang="en-US" dirty="0"/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1720042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 dirty="0">
              <a:latin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236108" y="5036400"/>
            <a:ext cx="6687092" cy="216000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reeform 19"/>
          <p:cNvSpPr>
            <a:spLocks noEditPoints="1"/>
          </p:cNvSpPr>
          <p:nvPr userDrawn="1"/>
        </p:nvSpPr>
        <p:spPr bwMode="auto">
          <a:xfrm>
            <a:off x="2254600" y="78734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8723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5061065" y="302982"/>
            <a:ext cx="4036500" cy="365356"/>
          </a:xfrm>
        </p:spPr>
        <p:txBody>
          <a:bodyPr lIns="14400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815100" y="302982"/>
            <a:ext cx="4036500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130531"/>
            <a:ext cx="4036500" cy="4878928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61065" y="1130531"/>
            <a:ext cx="4029834" cy="4878928"/>
          </a:xfrm>
          <a:ln w="6350">
            <a:solidFill>
              <a:schemeClr val="tx2"/>
            </a:solidFill>
          </a:ln>
        </p:spPr>
        <p:txBody>
          <a:bodyPr lIns="144000" tIns="72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1" name="Rectangle 20"/>
          <p:cNvSpPr/>
          <p:nvPr userDrawn="1"/>
        </p:nvSpPr>
        <p:spPr>
          <a:xfrm>
            <a:off x="5061065" y="1130531"/>
            <a:ext cx="91081" cy="4878928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l"/>
            <a:endParaRPr lang="en-GB" sz="1500" dirty="0">
              <a:solidFill>
                <a:schemeClr val="bg1"/>
              </a:solidFill>
            </a:endParaRP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8590360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4" name="Freeform 19"/>
          <p:cNvSpPr>
            <a:spLocks noEditPoints="1"/>
          </p:cNvSpPr>
          <p:nvPr userDrawn="1"/>
        </p:nvSpPr>
        <p:spPr bwMode="auto">
          <a:xfrm>
            <a:off x="816546" y="6319463"/>
            <a:ext cx="425752" cy="173455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875900" y="6320118"/>
            <a:ext cx="2952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</a:t>
            </a:r>
            <a:r>
              <a:rPr lang="en-US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в ассоциацию 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</p:spTree>
    <p:extLst>
      <p:ext uri="{BB962C8B-B14F-4D97-AF65-F5344CB8AC3E}">
        <p14:creationId xmlns:p14="http://schemas.microsoft.com/office/powerpoint/2010/main" val="748663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15100" y="1130531"/>
            <a:ext cx="4036500" cy="4878928"/>
          </a:xfrm>
        </p:spPr>
        <p:txBody>
          <a:bodyPr/>
          <a:lstStyle>
            <a:lvl1pPr>
              <a:defRPr sz="900" baseline="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61065" y="1130531"/>
            <a:ext cx="4029834" cy="4878928"/>
          </a:xfrm>
          <a:ln w="6350">
            <a:noFill/>
          </a:ln>
        </p:spPr>
        <p:txBody>
          <a:bodyPr lIns="0" tIns="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815100" y="302982"/>
            <a:ext cx="4036500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1" name="Text Placeholder 24"/>
          <p:cNvSpPr>
            <a:spLocks noGrp="1"/>
          </p:cNvSpPr>
          <p:nvPr>
            <p:ph type="body" sz="quarter" idx="16"/>
          </p:nvPr>
        </p:nvSpPr>
        <p:spPr>
          <a:xfrm>
            <a:off x="5061065" y="302982"/>
            <a:ext cx="4036500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875900" y="6320118"/>
            <a:ext cx="2952000" cy="226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АО «КПМГ», компания, зарегистрированная в соответствии с законодательством Российской Федерации, член сети независимых фирм КПМГ, входящих </a:t>
            </a:r>
            <a:r>
              <a:rPr lang="en-US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/>
            </a:r>
            <a:br>
              <a:rPr lang="en-US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</a:b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в ассоциацию 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</a:t>
            </a:r>
          </a:p>
        </p:txBody>
      </p:sp>
      <p:sp>
        <p:nvSpPr>
          <p:cNvPr id="17" name="Shape 8"/>
          <p:cNvSpPr txBox="1">
            <a:spLocks/>
          </p:cNvSpPr>
          <p:nvPr userDrawn="1"/>
        </p:nvSpPr>
        <p:spPr>
          <a:xfrm>
            <a:off x="8590360" y="6320118"/>
            <a:ext cx="500778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8" name="Freeform 19"/>
          <p:cNvSpPr>
            <a:spLocks noEditPoints="1"/>
          </p:cNvSpPr>
          <p:nvPr userDrawn="1"/>
        </p:nvSpPr>
        <p:spPr bwMode="auto">
          <a:xfrm>
            <a:off x="816546" y="6319463"/>
            <a:ext cx="425752" cy="173455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358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6569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29502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753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825600" y="1422400"/>
            <a:ext cx="8254800" cy="460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825600" y="203863"/>
            <a:ext cx="82548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 dirty="0" smtClean="0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6173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335636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3" name="think-cell Slide" r:id="rId32" imgW="270" imgH="270" progId="TCLayout.ActiveDocument.1">
                  <p:embed/>
                </p:oleObj>
              </mc:Choice>
              <mc:Fallback>
                <p:oleObj name="think-cell Slide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5600" y="1422400"/>
            <a:ext cx="8254800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8701088" y="6524306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7" name="Freeform 19"/>
          <p:cNvSpPr>
            <a:spLocks noEditPoints="1"/>
          </p:cNvSpPr>
          <p:nvPr userDrawn="1"/>
        </p:nvSpPr>
        <p:spPr bwMode="auto">
          <a:xfrm>
            <a:off x="815340" y="6524306"/>
            <a:ext cx="4248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3" r:id="rId2"/>
    <p:sldLayoutId id="2147483675" r:id="rId3"/>
    <p:sldLayoutId id="2147483680" r:id="rId4"/>
    <p:sldLayoutId id="2147483707" r:id="rId5"/>
    <p:sldLayoutId id="2147483708" r:id="rId6"/>
    <p:sldLayoutId id="2147483681" r:id="rId7"/>
    <p:sldLayoutId id="2147483666" r:id="rId8"/>
    <p:sldLayoutId id="2147483705" r:id="rId9"/>
    <p:sldLayoutId id="2147483689" r:id="rId10"/>
    <p:sldLayoutId id="2147483690" r:id="rId11"/>
    <p:sldLayoutId id="2147483692" r:id="rId12"/>
    <p:sldLayoutId id="2147483693" r:id="rId13"/>
    <p:sldLayoutId id="2147483694" r:id="rId14"/>
    <p:sldLayoutId id="2147483695" r:id="rId15"/>
    <p:sldLayoutId id="2147483701" r:id="rId16"/>
    <p:sldLayoutId id="2147483697" r:id="rId17"/>
    <p:sldLayoutId id="2147483698" r:id="rId18"/>
    <p:sldLayoutId id="2147483699" r:id="rId19"/>
    <p:sldLayoutId id="2147483711" r:id="rId20"/>
    <p:sldLayoutId id="2147483712" r:id="rId21"/>
    <p:sldLayoutId id="2147483706" r:id="rId22"/>
    <p:sldLayoutId id="2147483682" r:id="rId23"/>
    <p:sldLayoutId id="2147483683" r:id="rId24"/>
    <p:sldLayoutId id="2147483684" r:id="rId25"/>
    <p:sldLayoutId id="2147483685" r:id="rId26"/>
    <p:sldLayoutId id="2147483667" r:id="rId27"/>
    <p:sldLayoutId id="2147483713" r:id="rId28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KPMG Cyrillic Extralight" panose="020B030303020204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kern="1200">
          <a:solidFill>
            <a:schemeClr val="tx2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57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93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08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513" userDrawn="1">
          <p15:clr>
            <a:srgbClr val="F26B43"/>
          </p15:clr>
        </p15:guide>
        <p15:guide id="3" pos="5727" userDrawn="1">
          <p15:clr>
            <a:srgbClr val="F26B43"/>
          </p15:clr>
        </p15:guide>
        <p15:guide id="4" orient="horz" pos="742" userDrawn="1">
          <p15:clr>
            <a:srgbClr val="F26B43"/>
          </p15:clr>
        </p15:guide>
        <p15:guide id="6" orient="horz" pos="279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01.emf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5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jpeg"/><Relationship Id="rId3" Type="http://schemas.openxmlformats.org/officeDocument/2006/relationships/image" Target="../media/image103.emf"/><Relationship Id="rId7" Type="http://schemas.openxmlformats.org/officeDocument/2006/relationships/image" Target="../media/image107.emf"/><Relationship Id="rId2" Type="http://schemas.openxmlformats.org/officeDocument/2006/relationships/image" Target="../media/image102.gi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0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" Type="http://schemas.openxmlformats.org/officeDocument/2006/relationships/image" Target="../media/image10.jpeg"/><Relationship Id="rId21" Type="http://schemas.openxmlformats.org/officeDocument/2006/relationships/image" Target="../media/image28.png"/><Relationship Id="rId34" Type="http://schemas.openxmlformats.org/officeDocument/2006/relationships/image" Target="../media/image41.png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17" Type="http://schemas.openxmlformats.org/officeDocument/2006/relationships/image" Target="../media/image24.png"/><Relationship Id="rId25" Type="http://schemas.openxmlformats.org/officeDocument/2006/relationships/image" Target="../media/image32.gif"/><Relationship Id="rId33" Type="http://schemas.openxmlformats.org/officeDocument/2006/relationships/image" Target="../media/image40.png"/><Relationship Id="rId2" Type="http://schemas.openxmlformats.org/officeDocument/2006/relationships/image" Target="../media/image9.pn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32" Type="http://schemas.openxmlformats.org/officeDocument/2006/relationships/image" Target="../media/image39.jpe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10" Type="http://schemas.openxmlformats.org/officeDocument/2006/relationships/image" Target="../media/image17.jpeg"/><Relationship Id="rId19" Type="http://schemas.openxmlformats.org/officeDocument/2006/relationships/image" Target="../media/image26.png"/><Relationship Id="rId31" Type="http://schemas.openxmlformats.org/officeDocument/2006/relationships/image" Target="../media/image38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png"/><Relationship Id="rId27" Type="http://schemas.openxmlformats.org/officeDocument/2006/relationships/image" Target="../media/image34.png"/><Relationship Id="rId30" Type="http://schemas.openxmlformats.org/officeDocument/2006/relationships/image" Target="../media/image37.png"/><Relationship Id="rId35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image" Target="../media/image46.png"/><Relationship Id="rId39" Type="http://schemas.openxmlformats.org/officeDocument/2006/relationships/image" Target="../media/image59.png"/><Relationship Id="rId21" Type="http://schemas.openxmlformats.org/officeDocument/2006/relationships/image" Target="../media/image1.emf"/><Relationship Id="rId34" Type="http://schemas.openxmlformats.org/officeDocument/2006/relationships/image" Target="../media/image54.png"/><Relationship Id="rId42" Type="http://schemas.openxmlformats.org/officeDocument/2006/relationships/image" Target="../media/image62.png"/><Relationship Id="rId47" Type="http://schemas.openxmlformats.org/officeDocument/2006/relationships/image" Target="../media/image67.png"/><Relationship Id="rId50" Type="http://schemas.openxmlformats.org/officeDocument/2006/relationships/image" Target="../media/image70.png"/><Relationship Id="rId55" Type="http://schemas.openxmlformats.org/officeDocument/2006/relationships/image" Target="../media/image75.png"/><Relationship Id="rId63" Type="http://schemas.openxmlformats.org/officeDocument/2006/relationships/image" Target="../media/image83.png"/><Relationship Id="rId68" Type="http://schemas.openxmlformats.org/officeDocument/2006/relationships/image" Target="../media/image88.png"/><Relationship Id="rId76" Type="http://schemas.openxmlformats.org/officeDocument/2006/relationships/image" Target="../media/image96.png"/><Relationship Id="rId7" Type="http://schemas.openxmlformats.org/officeDocument/2006/relationships/tags" Target="../tags/tag17.xml"/><Relationship Id="rId71" Type="http://schemas.openxmlformats.org/officeDocument/2006/relationships/image" Target="../media/image91.pn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image" Target="../media/image49.png"/><Relationship Id="rId11" Type="http://schemas.openxmlformats.org/officeDocument/2006/relationships/tags" Target="../tags/tag21.xml"/><Relationship Id="rId24" Type="http://schemas.openxmlformats.org/officeDocument/2006/relationships/image" Target="../media/image44.png"/><Relationship Id="rId32" Type="http://schemas.openxmlformats.org/officeDocument/2006/relationships/image" Target="../media/image52.png"/><Relationship Id="rId37" Type="http://schemas.openxmlformats.org/officeDocument/2006/relationships/image" Target="../media/image57.png"/><Relationship Id="rId40" Type="http://schemas.openxmlformats.org/officeDocument/2006/relationships/image" Target="../media/image60.png"/><Relationship Id="rId45" Type="http://schemas.openxmlformats.org/officeDocument/2006/relationships/image" Target="../media/image65.png"/><Relationship Id="rId53" Type="http://schemas.openxmlformats.org/officeDocument/2006/relationships/image" Target="../media/image73.png"/><Relationship Id="rId58" Type="http://schemas.openxmlformats.org/officeDocument/2006/relationships/image" Target="../media/image78.png"/><Relationship Id="rId66" Type="http://schemas.openxmlformats.org/officeDocument/2006/relationships/image" Target="../media/image86.png"/><Relationship Id="rId74" Type="http://schemas.openxmlformats.org/officeDocument/2006/relationships/image" Target="../media/image94.pn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image" Target="../media/image43.png"/><Relationship Id="rId28" Type="http://schemas.openxmlformats.org/officeDocument/2006/relationships/image" Target="../media/image48.png"/><Relationship Id="rId36" Type="http://schemas.openxmlformats.org/officeDocument/2006/relationships/image" Target="../media/image56.png"/><Relationship Id="rId49" Type="http://schemas.openxmlformats.org/officeDocument/2006/relationships/image" Target="../media/image69.png"/><Relationship Id="rId57" Type="http://schemas.openxmlformats.org/officeDocument/2006/relationships/image" Target="../media/image77.png"/><Relationship Id="rId61" Type="http://schemas.openxmlformats.org/officeDocument/2006/relationships/image" Target="../media/image81.png"/><Relationship Id="rId10" Type="http://schemas.openxmlformats.org/officeDocument/2006/relationships/tags" Target="../tags/tag20.xml"/><Relationship Id="rId19" Type="http://schemas.openxmlformats.org/officeDocument/2006/relationships/slideLayout" Target="../slideLayouts/slideLayout8.xml"/><Relationship Id="rId31" Type="http://schemas.openxmlformats.org/officeDocument/2006/relationships/image" Target="../media/image51.png"/><Relationship Id="rId44" Type="http://schemas.openxmlformats.org/officeDocument/2006/relationships/image" Target="../media/image64.png"/><Relationship Id="rId52" Type="http://schemas.openxmlformats.org/officeDocument/2006/relationships/image" Target="../media/image72.png"/><Relationship Id="rId60" Type="http://schemas.openxmlformats.org/officeDocument/2006/relationships/image" Target="../media/image80.png"/><Relationship Id="rId65" Type="http://schemas.openxmlformats.org/officeDocument/2006/relationships/image" Target="../media/image85.png"/><Relationship Id="rId73" Type="http://schemas.openxmlformats.org/officeDocument/2006/relationships/image" Target="../media/image93.png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chart" Target="../charts/chart1.xml"/><Relationship Id="rId27" Type="http://schemas.openxmlformats.org/officeDocument/2006/relationships/image" Target="../media/image47.png"/><Relationship Id="rId30" Type="http://schemas.openxmlformats.org/officeDocument/2006/relationships/image" Target="../media/image50.png"/><Relationship Id="rId35" Type="http://schemas.openxmlformats.org/officeDocument/2006/relationships/image" Target="../media/image55.png"/><Relationship Id="rId43" Type="http://schemas.openxmlformats.org/officeDocument/2006/relationships/image" Target="../media/image63.png"/><Relationship Id="rId48" Type="http://schemas.openxmlformats.org/officeDocument/2006/relationships/image" Target="../media/image68.png"/><Relationship Id="rId56" Type="http://schemas.openxmlformats.org/officeDocument/2006/relationships/image" Target="../media/image76.png"/><Relationship Id="rId64" Type="http://schemas.openxmlformats.org/officeDocument/2006/relationships/image" Target="../media/image84.png"/><Relationship Id="rId69" Type="http://schemas.openxmlformats.org/officeDocument/2006/relationships/image" Target="../media/image89.png"/><Relationship Id="rId77" Type="http://schemas.openxmlformats.org/officeDocument/2006/relationships/image" Target="../media/image97.png"/><Relationship Id="rId8" Type="http://schemas.openxmlformats.org/officeDocument/2006/relationships/tags" Target="../tags/tag18.xml"/><Relationship Id="rId51" Type="http://schemas.openxmlformats.org/officeDocument/2006/relationships/image" Target="../media/image71.png"/><Relationship Id="rId72" Type="http://schemas.openxmlformats.org/officeDocument/2006/relationships/image" Target="../media/image92.png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45.png"/><Relationship Id="rId33" Type="http://schemas.openxmlformats.org/officeDocument/2006/relationships/image" Target="../media/image53.png"/><Relationship Id="rId38" Type="http://schemas.openxmlformats.org/officeDocument/2006/relationships/image" Target="../media/image58.png"/><Relationship Id="rId46" Type="http://schemas.openxmlformats.org/officeDocument/2006/relationships/image" Target="../media/image66.png"/><Relationship Id="rId59" Type="http://schemas.openxmlformats.org/officeDocument/2006/relationships/image" Target="../media/image79.png"/><Relationship Id="rId67" Type="http://schemas.openxmlformats.org/officeDocument/2006/relationships/image" Target="../media/image87.png"/><Relationship Id="rId20" Type="http://schemas.openxmlformats.org/officeDocument/2006/relationships/oleObject" Target="../embeddings/oleObject8.bin"/><Relationship Id="rId41" Type="http://schemas.openxmlformats.org/officeDocument/2006/relationships/image" Target="../media/image61.png"/><Relationship Id="rId54" Type="http://schemas.openxmlformats.org/officeDocument/2006/relationships/image" Target="../media/image74.png"/><Relationship Id="rId62" Type="http://schemas.openxmlformats.org/officeDocument/2006/relationships/image" Target="../media/image82.png"/><Relationship Id="rId70" Type="http://schemas.openxmlformats.org/officeDocument/2006/relationships/image" Target="../media/image90.png"/><Relationship Id="rId75" Type="http://schemas.openxmlformats.org/officeDocument/2006/relationships/image" Target="../media/image95.png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oleObject" Target="../embeddings/oleObject10.bin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image" Target="../media/image1.emf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image" Target="../media/image99.emf"/><Relationship Id="rId1" Type="http://schemas.openxmlformats.org/officeDocument/2006/relationships/vmlDrawing" Target="../drawings/vmlDrawing9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slideLayout" Target="../slideLayouts/slideLayout8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image" Target="../media/image100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image" Target="../media/image98.emf"/><Relationship Id="rId30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462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66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6600" dirty="0" smtClean="0">
                <a:solidFill>
                  <a:srgbClr val="00338D"/>
                </a:solidFill>
              </a:rPr>
              <a:t>Банк будущего – </a:t>
            </a:r>
            <a:br>
              <a:rPr lang="ru-RU" sz="6600" dirty="0" smtClean="0">
                <a:solidFill>
                  <a:srgbClr val="00338D"/>
                </a:solidFill>
              </a:rPr>
            </a:br>
            <a:r>
              <a:rPr lang="en-US" sz="6600" dirty="0" smtClean="0">
                <a:solidFill>
                  <a:srgbClr val="00338D"/>
                </a:solidFill>
              </a:rPr>
              <a:t>Digital </a:t>
            </a:r>
            <a:r>
              <a:rPr lang="ru-RU" sz="6600" dirty="0" smtClean="0">
                <a:solidFill>
                  <a:srgbClr val="00338D"/>
                </a:solidFill>
              </a:rPr>
              <a:t>тренды в </a:t>
            </a:r>
            <a:br>
              <a:rPr lang="ru-RU" sz="6600" dirty="0" smtClean="0">
                <a:solidFill>
                  <a:srgbClr val="00338D"/>
                </a:solidFill>
              </a:rPr>
            </a:br>
            <a:r>
              <a:rPr lang="ru-RU" sz="6600" dirty="0" smtClean="0">
                <a:solidFill>
                  <a:srgbClr val="00338D"/>
                </a:solidFill>
              </a:rPr>
              <a:t>банковском бизнесе</a:t>
            </a:r>
            <a:endParaRPr lang="en-GB" sz="6600" dirty="0">
              <a:solidFill>
                <a:srgbClr val="00338D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1"/>
            <a:endParaRPr lang="ru-RU" dirty="0" smtClean="0">
              <a:solidFill>
                <a:srgbClr val="00338D"/>
              </a:solidFill>
            </a:endParaRPr>
          </a:p>
          <a:p>
            <a:pPr lvl="1"/>
            <a:endParaRPr lang="ru-RU" dirty="0">
              <a:solidFill>
                <a:srgbClr val="00338D"/>
              </a:solidFill>
            </a:endParaRPr>
          </a:p>
          <a:p>
            <a:pPr lvl="1"/>
            <a:endParaRPr lang="ru-RU" dirty="0" smtClean="0">
              <a:solidFill>
                <a:srgbClr val="00338D"/>
              </a:solidFill>
            </a:endParaRPr>
          </a:p>
          <a:p>
            <a:pPr lvl="1"/>
            <a:r>
              <a:rPr lang="ru-RU" dirty="0" smtClean="0">
                <a:solidFill>
                  <a:srgbClr val="00338D"/>
                </a:solidFill>
              </a:rPr>
              <a:t>Сентябрь </a:t>
            </a:r>
            <a:r>
              <a:rPr lang="ru-RU" dirty="0" smtClean="0">
                <a:solidFill>
                  <a:srgbClr val="00338D"/>
                </a:solidFill>
              </a:rPr>
              <a:t>2018</a:t>
            </a:r>
            <a:endParaRPr lang="en-GB" dirty="0">
              <a:solidFill>
                <a:srgbClr val="00338D"/>
              </a:solidFill>
            </a:endParaRPr>
          </a:p>
        </p:txBody>
      </p:sp>
      <p:sp>
        <p:nvSpPr>
          <p:cNvPr id="8" name="Freeform 19"/>
          <p:cNvSpPr>
            <a:spLocks noEditPoints="1"/>
          </p:cNvSpPr>
          <p:nvPr/>
        </p:nvSpPr>
        <p:spPr bwMode="auto">
          <a:xfrm>
            <a:off x="819500" y="784800"/>
            <a:ext cx="777600" cy="316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00338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82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kern="0" dirty="0"/>
              <a:t>Влияние </a:t>
            </a:r>
            <a:r>
              <a:rPr lang="en-US" sz="2800" kern="0" dirty="0" err="1"/>
              <a:t>FinTech</a:t>
            </a:r>
            <a:r>
              <a:rPr lang="ru-RU" sz="2800" kern="0" dirty="0"/>
              <a:t> трендов является одной из причин появления «банка будущего» с высоким уровнем клиентских, технологических и управленческих компетенций</a:t>
            </a:r>
            <a:endParaRPr lang="en-GB" sz="2800" kern="0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765890" y="1415998"/>
            <a:ext cx="1645920" cy="0"/>
          </a:xfrm>
          <a:prstGeom prst="line">
            <a:avLst/>
          </a:prstGeom>
          <a:ln w="1270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657604" y="1219599"/>
            <a:ext cx="1784250" cy="1828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763551"/>
            <a:r>
              <a:rPr lang="ru-RU" sz="12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ФАКТОРЫ УСПЕХА</a:t>
            </a:r>
            <a:endParaRPr lang="ru-RU" sz="1200" b="1" dirty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>
            <a:off x="2526635" y="1415997"/>
            <a:ext cx="6858000" cy="2"/>
          </a:xfrm>
          <a:prstGeom prst="line">
            <a:avLst/>
          </a:prstGeom>
          <a:ln w="12700">
            <a:solidFill>
              <a:srgbClr val="0033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2191042" y="1219599"/>
            <a:ext cx="7413055" cy="18288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763551"/>
            <a:r>
              <a:rPr lang="ru-RU" sz="12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ЛЮЧЕВЫЕ КОМПЕТЕНЦИИ</a:t>
            </a:r>
            <a:endParaRPr lang="ru-RU" sz="1200" b="1" dirty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Pentagon 28"/>
          <p:cNvSpPr/>
          <p:nvPr/>
        </p:nvSpPr>
        <p:spPr bwMode="auto">
          <a:xfrm>
            <a:off x="698932" y="3632702"/>
            <a:ext cx="1742922" cy="643500"/>
          </a:xfrm>
          <a:prstGeom prst="homePlate">
            <a:avLst>
              <a:gd name="adj" fmla="val 21136"/>
            </a:avLst>
          </a:prstGeom>
          <a:solidFill>
            <a:srgbClr val="0091DA"/>
          </a:solidFill>
          <a:ln>
            <a:solidFill>
              <a:srgbClr val="0091DA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68000" rIns="0"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Управление массивами данных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657161" y="3560113"/>
            <a:ext cx="182880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91D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77776"/>
            <a:r>
              <a:rPr lang="ru-RU" sz="1200" b="1" dirty="0"/>
              <a:t>3</a:t>
            </a:r>
          </a:p>
        </p:txBody>
      </p:sp>
      <p:sp>
        <p:nvSpPr>
          <p:cNvPr id="34" name="Oval 33"/>
          <p:cNvSpPr/>
          <p:nvPr/>
        </p:nvSpPr>
        <p:spPr bwMode="auto">
          <a:xfrm>
            <a:off x="764240" y="3793577"/>
            <a:ext cx="319224" cy="321750"/>
          </a:xfrm>
          <a:prstGeom prst="ellipse">
            <a:avLst/>
          </a:prstGeom>
          <a:solidFill>
            <a:srgbClr val="0091DA"/>
          </a:solidFill>
          <a:ln w="9525" cap="flat" cmpd="sng" algn="ctr">
            <a:solidFill>
              <a:srgbClr val="0091DA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77776"/>
            <a:endParaRPr lang="ru-RU" sz="1200"/>
          </a:p>
        </p:txBody>
      </p:sp>
      <p:sp>
        <p:nvSpPr>
          <p:cNvPr id="36" name="Pentagon 35"/>
          <p:cNvSpPr/>
          <p:nvPr/>
        </p:nvSpPr>
        <p:spPr bwMode="auto">
          <a:xfrm>
            <a:off x="699364" y="1539513"/>
            <a:ext cx="1742490" cy="643500"/>
          </a:xfrm>
          <a:prstGeom prst="homePlate">
            <a:avLst>
              <a:gd name="adj" fmla="val 21136"/>
            </a:avLst>
          </a:prstGeom>
          <a:solidFill>
            <a:srgbClr val="00338D"/>
          </a:solidFill>
          <a:ln>
            <a:solidFill>
              <a:srgbClr val="00338D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68000" rIns="0"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Клиентский опыт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657604" y="1451719"/>
            <a:ext cx="182880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33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77776"/>
            <a:r>
              <a:rPr lang="ru-RU" sz="1200" b="1" dirty="0"/>
              <a:t>1</a:t>
            </a:r>
          </a:p>
        </p:txBody>
      </p:sp>
      <p:sp>
        <p:nvSpPr>
          <p:cNvPr id="38" name="Oval 37"/>
          <p:cNvSpPr/>
          <p:nvPr/>
        </p:nvSpPr>
        <p:spPr bwMode="auto">
          <a:xfrm>
            <a:off x="766247" y="1700388"/>
            <a:ext cx="319145" cy="321750"/>
          </a:xfrm>
          <a:prstGeom prst="ellipse">
            <a:avLst/>
          </a:prstGeom>
          <a:solidFill>
            <a:srgbClr val="00338D"/>
          </a:solidFill>
          <a:ln w="9525" cap="flat" cmpd="sng" algn="ctr">
            <a:solidFill>
              <a:srgbClr val="0033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77776"/>
            <a:endParaRPr lang="ru-RU" sz="1200"/>
          </a:p>
        </p:txBody>
      </p:sp>
      <p:sp>
        <p:nvSpPr>
          <p:cNvPr id="41" name="Pentagon 40"/>
          <p:cNvSpPr/>
          <p:nvPr/>
        </p:nvSpPr>
        <p:spPr bwMode="auto">
          <a:xfrm>
            <a:off x="699364" y="2567723"/>
            <a:ext cx="1742490" cy="643500"/>
          </a:xfrm>
          <a:prstGeom prst="homePlate">
            <a:avLst>
              <a:gd name="adj" fmla="val 21136"/>
            </a:avLst>
          </a:prstGeom>
          <a:solidFill>
            <a:srgbClr val="005EB8"/>
          </a:solidFill>
          <a:ln>
            <a:solidFill>
              <a:srgbClr val="005EB8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68000" rIns="0"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ИТ и технологии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657604" y="2474244"/>
            <a:ext cx="182880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77776"/>
            <a:r>
              <a:rPr lang="ru-RU" sz="1200" b="1" dirty="0"/>
              <a:t>2</a:t>
            </a:r>
          </a:p>
        </p:txBody>
      </p:sp>
      <p:sp>
        <p:nvSpPr>
          <p:cNvPr id="43" name="Oval 42"/>
          <p:cNvSpPr/>
          <p:nvPr/>
        </p:nvSpPr>
        <p:spPr bwMode="auto">
          <a:xfrm>
            <a:off x="764657" y="2728598"/>
            <a:ext cx="319145" cy="245068"/>
          </a:xfrm>
          <a:prstGeom prst="ellipse">
            <a:avLst/>
          </a:prstGeom>
          <a:solidFill>
            <a:srgbClr val="005EB8"/>
          </a:solidFill>
          <a:ln w="9525" cap="flat" cmpd="sng" algn="ctr">
            <a:solidFill>
              <a:srgbClr val="005EB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77776"/>
            <a:endParaRPr lang="ru-RU" sz="1200"/>
          </a:p>
        </p:txBody>
      </p:sp>
      <p:sp>
        <p:nvSpPr>
          <p:cNvPr id="56" name="Pentagon 55"/>
          <p:cNvSpPr/>
          <p:nvPr/>
        </p:nvSpPr>
        <p:spPr bwMode="auto">
          <a:xfrm>
            <a:off x="699364" y="5751769"/>
            <a:ext cx="1742490" cy="643500"/>
          </a:xfrm>
          <a:prstGeom prst="homePlate">
            <a:avLst>
              <a:gd name="adj" fmla="val 21136"/>
            </a:avLst>
          </a:prstGeom>
          <a:solidFill>
            <a:srgbClr val="470A68"/>
          </a:solidFill>
          <a:ln>
            <a:solidFill>
              <a:srgbClr val="470A68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68000" rIns="0"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Корпоративная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dirty="0">
                <a:solidFill>
                  <a:schemeClr val="bg1"/>
                </a:solidFill>
              </a:rPr>
              <a:t>культура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657604" y="5680766"/>
            <a:ext cx="182880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470A6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77776"/>
            <a:r>
              <a:rPr lang="ru-RU" sz="1200" b="1" dirty="0"/>
              <a:t>5</a:t>
            </a:r>
          </a:p>
        </p:txBody>
      </p:sp>
      <p:sp>
        <p:nvSpPr>
          <p:cNvPr id="58" name="Oval 57"/>
          <p:cNvSpPr/>
          <p:nvPr/>
        </p:nvSpPr>
        <p:spPr bwMode="auto">
          <a:xfrm>
            <a:off x="764657" y="5912644"/>
            <a:ext cx="319145" cy="321750"/>
          </a:xfrm>
          <a:prstGeom prst="ellipse">
            <a:avLst/>
          </a:prstGeom>
          <a:solidFill>
            <a:srgbClr val="470A68"/>
          </a:solidFill>
          <a:ln w="9525" cap="flat" cmpd="sng" algn="ctr">
            <a:solidFill>
              <a:srgbClr val="470A6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77776"/>
            <a:endParaRPr lang="ru-RU" sz="1200"/>
          </a:p>
        </p:txBody>
      </p:sp>
      <p:sp>
        <p:nvSpPr>
          <p:cNvPr id="60" name="Pentagon 59"/>
          <p:cNvSpPr/>
          <p:nvPr/>
        </p:nvSpPr>
        <p:spPr bwMode="auto">
          <a:xfrm>
            <a:off x="699364" y="4728794"/>
            <a:ext cx="1742490" cy="643500"/>
          </a:xfrm>
          <a:prstGeom prst="homePlate">
            <a:avLst>
              <a:gd name="adj" fmla="val 21136"/>
            </a:avLst>
          </a:prstGeom>
          <a:solidFill>
            <a:srgbClr val="483698"/>
          </a:solidFill>
          <a:ln>
            <a:solidFill>
              <a:srgbClr val="483698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468000" rIns="0" rtlCol="0" anchor="ctr"/>
          <a:lstStyle/>
          <a:p>
            <a:r>
              <a:rPr lang="ru-RU" sz="1200" b="1" dirty="0">
                <a:solidFill>
                  <a:schemeClr val="bg1"/>
                </a:solidFill>
              </a:rPr>
              <a:t>Управление инновациями</a:t>
            </a:r>
          </a:p>
        </p:txBody>
      </p:sp>
      <p:sp>
        <p:nvSpPr>
          <p:cNvPr id="61" name="Rectangle 60"/>
          <p:cNvSpPr/>
          <p:nvPr/>
        </p:nvSpPr>
        <p:spPr bwMode="auto">
          <a:xfrm>
            <a:off x="657604" y="4659379"/>
            <a:ext cx="182880" cy="182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48369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77776"/>
            <a:r>
              <a:rPr lang="ru-RU" sz="1200" b="1" dirty="0"/>
              <a:t>4</a:t>
            </a:r>
          </a:p>
        </p:txBody>
      </p:sp>
      <p:sp>
        <p:nvSpPr>
          <p:cNvPr id="62" name="Oval 61"/>
          <p:cNvSpPr/>
          <p:nvPr/>
        </p:nvSpPr>
        <p:spPr bwMode="auto">
          <a:xfrm>
            <a:off x="764657" y="4889668"/>
            <a:ext cx="342248" cy="380163"/>
          </a:xfrm>
          <a:prstGeom prst="ellipse">
            <a:avLst/>
          </a:prstGeom>
          <a:solidFill>
            <a:srgbClr val="483698"/>
          </a:solidFill>
          <a:ln w="9525" cap="flat" cmpd="sng" algn="ctr">
            <a:solidFill>
              <a:srgbClr val="48369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77776"/>
            <a:endParaRPr lang="ru-RU" sz="1200"/>
          </a:p>
        </p:txBody>
      </p:sp>
      <p:cxnSp>
        <p:nvCxnSpPr>
          <p:cNvPr id="67" name="Straight Connector 66"/>
          <p:cNvCxnSpPr/>
          <p:nvPr/>
        </p:nvCxnSpPr>
        <p:spPr>
          <a:xfrm flipV="1">
            <a:off x="2526635" y="3407898"/>
            <a:ext cx="6858000" cy="40413"/>
          </a:xfrm>
          <a:prstGeom prst="line">
            <a:avLst/>
          </a:prstGeom>
          <a:ln w="12700">
            <a:solidFill>
              <a:srgbClr val="00338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 flipV="1">
            <a:off x="2526635" y="5784088"/>
            <a:ext cx="6858000" cy="38792"/>
          </a:xfrm>
          <a:prstGeom prst="line">
            <a:avLst/>
          </a:prstGeom>
          <a:ln w="12700">
            <a:solidFill>
              <a:srgbClr val="00338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 flipV="1">
            <a:off x="2526635" y="2321119"/>
            <a:ext cx="6858000" cy="5669"/>
          </a:xfrm>
          <a:prstGeom prst="line">
            <a:avLst/>
          </a:prstGeom>
          <a:ln w="12700">
            <a:solidFill>
              <a:srgbClr val="00338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 69"/>
          <p:cNvSpPr/>
          <p:nvPr/>
        </p:nvSpPr>
        <p:spPr>
          <a:xfrm>
            <a:off x="2565134" y="3759347"/>
            <a:ext cx="6858000" cy="6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выделенного функционального блока по работе с данными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вершен основной этап формирования корпоративного хранилища данных (КХД)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двинутый уровень сбора и использования данных о клиенте (как из внутренних, так и из внешних источников) 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системы сегментации клиентов по </a:t>
            </a:r>
            <a:r>
              <a:rPr lang="ru-RU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сихографическому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профилю и профилям клиентского поведения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565134" y="1549764"/>
            <a:ext cx="6858000" cy="649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ирокий спектр продуктов и услуг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Единый канал доступа ко всем продуктам и услугам компаний группы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финансовые продукты и услуги, а также продукты и услуги других банков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инергия при одновременном использовании нескольких продуктов/сервисов Банка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565134" y="2567723"/>
            <a:ext cx="6858000" cy="6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необходимых классов ИТ-систем для обеспечения текущей деятельности Банка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редний уровень удобства и функциональности цифровых каналов продаж и обслуживания 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сокий уровень цифровизации и автоматизации бэк-офиса 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двинутая ИТ-платформа, поддерживающая инновационную политику Банка и оперативное внедрение требуемых решений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565134" y="5844187"/>
            <a:ext cx="6858000" cy="6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Лояльный персонал, с высокой степенью готовности меняться вместе с Банком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зрачная система коммуникаций между всеми уровнями </a:t>
            </a:r>
            <a:r>
              <a:rPr lang="ru-RU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правления</a:t>
            </a:r>
            <a:endParaRPr lang="en-US" sz="1200" dirty="0" smtClean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en-US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gile</a:t>
            </a:r>
            <a:endParaRPr lang="ru-RU" sz="1200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74" name="Straight Connector 73"/>
          <p:cNvCxnSpPr/>
          <p:nvPr/>
        </p:nvCxnSpPr>
        <p:spPr>
          <a:xfrm flipV="1">
            <a:off x="2526635" y="4694963"/>
            <a:ext cx="6858000" cy="19805"/>
          </a:xfrm>
          <a:prstGeom prst="line">
            <a:avLst/>
          </a:prstGeom>
          <a:ln w="12700">
            <a:solidFill>
              <a:srgbClr val="00338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 74"/>
          <p:cNvSpPr/>
          <p:nvPr/>
        </p:nvSpPr>
        <p:spPr>
          <a:xfrm>
            <a:off x="2565134" y="4928964"/>
            <a:ext cx="6858000" cy="643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компетенций по сбору/разработке, анализу и пилотированию инновационных идей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выделенного организационно-функционального блока с фокусом на разработке и пилотировании инновационных идей 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сокий уровень взаимодействия с </a:t>
            </a:r>
            <a:r>
              <a:rPr lang="ru-RU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компаниями с целью трансфера технологий</a:t>
            </a:r>
          </a:p>
          <a:p>
            <a:pPr marL="171450" lvl="1" indent="-171450" defTabSz="737977">
              <a:spcAft>
                <a:spcPts val="325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личие системы </a:t>
            </a:r>
            <a:r>
              <a:rPr lang="ru-RU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раудсорсинга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инноваций с участием клиентов и сотрудников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760706" y="1740941"/>
            <a:ext cx="303983" cy="261132"/>
            <a:chOff x="5180012" y="3885607"/>
            <a:chExt cx="562374" cy="576561"/>
          </a:xfrm>
          <a:solidFill>
            <a:schemeClr val="bg1"/>
          </a:solidFill>
        </p:grpSpPr>
        <p:sp>
          <p:nvSpPr>
            <p:cNvPr id="77" name="Freeform 7"/>
            <p:cNvSpPr>
              <a:spLocks noEditPoints="1"/>
            </p:cNvSpPr>
            <p:nvPr/>
          </p:nvSpPr>
          <p:spPr bwMode="auto">
            <a:xfrm>
              <a:off x="5180012" y="3885607"/>
              <a:ext cx="314722" cy="576561"/>
            </a:xfrm>
            <a:custGeom>
              <a:avLst/>
              <a:gdLst>
                <a:gd name="T0" fmla="*/ 30 w 103"/>
                <a:gd name="T1" fmla="*/ 1 h 189"/>
                <a:gd name="T2" fmla="*/ 42 w 103"/>
                <a:gd name="T3" fmla="*/ 12 h 189"/>
                <a:gd name="T4" fmla="*/ 33 w 103"/>
                <a:gd name="T5" fmla="*/ 32 h 189"/>
                <a:gd name="T6" fmla="*/ 18 w 103"/>
                <a:gd name="T7" fmla="*/ 13 h 189"/>
                <a:gd name="T8" fmla="*/ 30 w 103"/>
                <a:gd name="T9" fmla="*/ 1 h 189"/>
                <a:gd name="T10" fmla="*/ 20 w 103"/>
                <a:gd name="T11" fmla="*/ 114 h 189"/>
                <a:gd name="T12" fmla="*/ 21 w 103"/>
                <a:gd name="T13" fmla="*/ 82 h 189"/>
                <a:gd name="T14" fmla="*/ 20 w 103"/>
                <a:gd name="T15" fmla="*/ 66 h 189"/>
                <a:gd name="T16" fmla="*/ 15 w 103"/>
                <a:gd name="T17" fmla="*/ 76 h 189"/>
                <a:gd name="T18" fmla="*/ 16 w 103"/>
                <a:gd name="T19" fmla="*/ 108 h 189"/>
                <a:gd name="T20" fmla="*/ 5 w 103"/>
                <a:gd name="T21" fmla="*/ 109 h 189"/>
                <a:gd name="T22" fmla="*/ 2 w 103"/>
                <a:gd name="T23" fmla="*/ 72 h 189"/>
                <a:gd name="T24" fmla="*/ 18 w 103"/>
                <a:gd name="T25" fmla="*/ 42 h 189"/>
                <a:gd name="T26" fmla="*/ 19 w 103"/>
                <a:gd name="T27" fmla="*/ 40 h 189"/>
                <a:gd name="T28" fmla="*/ 28 w 103"/>
                <a:gd name="T29" fmla="*/ 36 h 189"/>
                <a:gd name="T30" fmla="*/ 39 w 103"/>
                <a:gd name="T31" fmla="*/ 36 h 189"/>
                <a:gd name="T32" fmla="*/ 52 w 103"/>
                <a:gd name="T33" fmla="*/ 42 h 189"/>
                <a:gd name="T34" fmla="*/ 67 w 103"/>
                <a:gd name="T35" fmla="*/ 71 h 189"/>
                <a:gd name="T36" fmla="*/ 98 w 103"/>
                <a:gd name="T37" fmla="*/ 89 h 189"/>
                <a:gd name="T38" fmla="*/ 93 w 103"/>
                <a:gd name="T39" fmla="*/ 97 h 189"/>
                <a:gd name="T40" fmla="*/ 84 w 103"/>
                <a:gd name="T41" fmla="*/ 94 h 189"/>
                <a:gd name="T42" fmla="*/ 59 w 103"/>
                <a:gd name="T43" fmla="*/ 82 h 189"/>
                <a:gd name="T44" fmla="*/ 54 w 103"/>
                <a:gd name="T45" fmla="*/ 76 h 189"/>
                <a:gd name="T46" fmla="*/ 50 w 103"/>
                <a:gd name="T47" fmla="*/ 70 h 189"/>
                <a:gd name="T48" fmla="*/ 55 w 103"/>
                <a:gd name="T49" fmla="*/ 91 h 189"/>
                <a:gd name="T50" fmla="*/ 54 w 103"/>
                <a:gd name="T51" fmla="*/ 187 h 189"/>
                <a:gd name="T52" fmla="*/ 51 w 103"/>
                <a:gd name="T53" fmla="*/ 189 h 189"/>
                <a:gd name="T54" fmla="*/ 43 w 103"/>
                <a:gd name="T55" fmla="*/ 189 h 189"/>
                <a:gd name="T56" fmla="*/ 41 w 103"/>
                <a:gd name="T57" fmla="*/ 187 h 189"/>
                <a:gd name="T58" fmla="*/ 40 w 103"/>
                <a:gd name="T59" fmla="*/ 127 h 189"/>
                <a:gd name="T60" fmla="*/ 39 w 103"/>
                <a:gd name="T61" fmla="*/ 128 h 189"/>
                <a:gd name="T62" fmla="*/ 35 w 103"/>
                <a:gd name="T63" fmla="*/ 187 h 189"/>
                <a:gd name="T64" fmla="*/ 33 w 103"/>
                <a:gd name="T65" fmla="*/ 189 h 189"/>
                <a:gd name="T66" fmla="*/ 24 w 103"/>
                <a:gd name="T67" fmla="*/ 189 h 189"/>
                <a:gd name="T68" fmla="*/ 22 w 103"/>
                <a:gd name="T69" fmla="*/ 187 h 189"/>
                <a:gd name="T70" fmla="*/ 23 w 103"/>
                <a:gd name="T71" fmla="*/ 114 h 189"/>
                <a:gd name="T72" fmla="*/ 20 w 103"/>
                <a:gd name="T73" fmla="*/ 11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89">
                  <a:moveTo>
                    <a:pt x="30" y="1"/>
                  </a:moveTo>
                  <a:cubicBezTo>
                    <a:pt x="36" y="0"/>
                    <a:pt x="42" y="5"/>
                    <a:pt x="42" y="12"/>
                  </a:cubicBezTo>
                  <a:cubicBezTo>
                    <a:pt x="43" y="18"/>
                    <a:pt x="41" y="31"/>
                    <a:pt x="33" y="32"/>
                  </a:cubicBezTo>
                  <a:cubicBezTo>
                    <a:pt x="26" y="32"/>
                    <a:pt x="19" y="19"/>
                    <a:pt x="18" y="13"/>
                  </a:cubicBezTo>
                  <a:cubicBezTo>
                    <a:pt x="18" y="7"/>
                    <a:pt x="23" y="1"/>
                    <a:pt x="30" y="1"/>
                  </a:cubicBezTo>
                  <a:close/>
                  <a:moveTo>
                    <a:pt x="20" y="114"/>
                  </a:moveTo>
                  <a:cubicBezTo>
                    <a:pt x="21" y="103"/>
                    <a:pt x="21" y="93"/>
                    <a:pt x="21" y="82"/>
                  </a:cubicBezTo>
                  <a:cubicBezTo>
                    <a:pt x="21" y="77"/>
                    <a:pt x="20" y="72"/>
                    <a:pt x="20" y="66"/>
                  </a:cubicBezTo>
                  <a:cubicBezTo>
                    <a:pt x="18" y="69"/>
                    <a:pt x="16" y="73"/>
                    <a:pt x="15" y="76"/>
                  </a:cubicBezTo>
                  <a:cubicBezTo>
                    <a:pt x="15" y="88"/>
                    <a:pt x="14" y="96"/>
                    <a:pt x="16" y="108"/>
                  </a:cubicBezTo>
                  <a:cubicBezTo>
                    <a:pt x="17" y="117"/>
                    <a:pt x="6" y="118"/>
                    <a:pt x="5" y="109"/>
                  </a:cubicBezTo>
                  <a:cubicBezTo>
                    <a:pt x="4" y="103"/>
                    <a:pt x="0" y="77"/>
                    <a:pt x="2" y="72"/>
                  </a:cubicBezTo>
                  <a:cubicBezTo>
                    <a:pt x="6" y="62"/>
                    <a:pt x="12" y="52"/>
                    <a:pt x="18" y="42"/>
                  </a:cubicBezTo>
                  <a:cubicBezTo>
                    <a:pt x="18" y="41"/>
                    <a:pt x="18" y="40"/>
                    <a:pt x="19" y="40"/>
                  </a:cubicBezTo>
                  <a:cubicBezTo>
                    <a:pt x="21" y="38"/>
                    <a:pt x="25" y="37"/>
                    <a:pt x="28" y="36"/>
                  </a:cubicBezTo>
                  <a:cubicBezTo>
                    <a:pt x="28" y="37"/>
                    <a:pt x="35" y="38"/>
                    <a:pt x="39" y="36"/>
                  </a:cubicBezTo>
                  <a:cubicBezTo>
                    <a:pt x="44" y="37"/>
                    <a:pt x="50" y="38"/>
                    <a:pt x="52" y="42"/>
                  </a:cubicBezTo>
                  <a:cubicBezTo>
                    <a:pt x="57" y="51"/>
                    <a:pt x="61" y="62"/>
                    <a:pt x="67" y="71"/>
                  </a:cubicBezTo>
                  <a:cubicBezTo>
                    <a:pt x="72" y="75"/>
                    <a:pt x="94" y="85"/>
                    <a:pt x="98" y="89"/>
                  </a:cubicBezTo>
                  <a:cubicBezTo>
                    <a:pt x="103" y="94"/>
                    <a:pt x="97" y="99"/>
                    <a:pt x="93" y="97"/>
                  </a:cubicBezTo>
                  <a:cubicBezTo>
                    <a:pt x="89" y="98"/>
                    <a:pt x="84" y="97"/>
                    <a:pt x="84" y="94"/>
                  </a:cubicBezTo>
                  <a:cubicBezTo>
                    <a:pt x="75" y="90"/>
                    <a:pt x="67" y="87"/>
                    <a:pt x="59" y="82"/>
                  </a:cubicBezTo>
                  <a:cubicBezTo>
                    <a:pt x="57" y="80"/>
                    <a:pt x="55" y="78"/>
                    <a:pt x="54" y="76"/>
                  </a:cubicBezTo>
                  <a:cubicBezTo>
                    <a:pt x="53" y="73"/>
                    <a:pt x="50" y="69"/>
                    <a:pt x="50" y="70"/>
                  </a:cubicBezTo>
                  <a:cubicBezTo>
                    <a:pt x="51" y="73"/>
                    <a:pt x="54" y="82"/>
                    <a:pt x="55" y="91"/>
                  </a:cubicBezTo>
                  <a:cubicBezTo>
                    <a:pt x="56" y="124"/>
                    <a:pt x="56" y="151"/>
                    <a:pt x="54" y="187"/>
                  </a:cubicBezTo>
                  <a:cubicBezTo>
                    <a:pt x="54" y="188"/>
                    <a:pt x="53" y="189"/>
                    <a:pt x="51" y="189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42" y="189"/>
                    <a:pt x="41" y="188"/>
                    <a:pt x="41" y="187"/>
                  </a:cubicBezTo>
                  <a:cubicBezTo>
                    <a:pt x="41" y="164"/>
                    <a:pt x="41" y="150"/>
                    <a:pt x="40" y="127"/>
                  </a:cubicBezTo>
                  <a:cubicBezTo>
                    <a:pt x="40" y="127"/>
                    <a:pt x="39" y="127"/>
                    <a:pt x="39" y="128"/>
                  </a:cubicBezTo>
                  <a:cubicBezTo>
                    <a:pt x="37" y="149"/>
                    <a:pt x="38" y="166"/>
                    <a:pt x="35" y="187"/>
                  </a:cubicBezTo>
                  <a:cubicBezTo>
                    <a:pt x="35" y="188"/>
                    <a:pt x="34" y="189"/>
                    <a:pt x="33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23" y="189"/>
                    <a:pt x="22" y="188"/>
                    <a:pt x="22" y="187"/>
                  </a:cubicBezTo>
                  <a:cubicBezTo>
                    <a:pt x="23" y="159"/>
                    <a:pt x="24" y="142"/>
                    <a:pt x="23" y="114"/>
                  </a:cubicBezTo>
                  <a:cubicBezTo>
                    <a:pt x="20" y="114"/>
                    <a:pt x="20" y="114"/>
                    <a:pt x="20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prstClr val="black"/>
                </a:solidFill>
              </a:endParaRPr>
            </a:p>
          </p:txBody>
        </p:sp>
        <p:sp>
          <p:nvSpPr>
            <p:cNvPr id="78" name="Freeform 8"/>
            <p:cNvSpPr>
              <a:spLocks noEditPoints="1"/>
            </p:cNvSpPr>
            <p:nvPr/>
          </p:nvSpPr>
          <p:spPr bwMode="auto">
            <a:xfrm>
              <a:off x="5470229" y="3885607"/>
              <a:ext cx="272157" cy="576561"/>
            </a:xfrm>
            <a:custGeom>
              <a:avLst/>
              <a:gdLst>
                <a:gd name="T0" fmla="*/ 53 w 89"/>
                <a:gd name="T1" fmla="*/ 1 h 189"/>
                <a:gd name="T2" fmla="*/ 40 w 89"/>
                <a:gd name="T3" fmla="*/ 12 h 189"/>
                <a:gd name="T4" fmla="*/ 49 w 89"/>
                <a:gd name="T5" fmla="*/ 32 h 189"/>
                <a:gd name="T6" fmla="*/ 64 w 89"/>
                <a:gd name="T7" fmla="*/ 13 h 189"/>
                <a:gd name="T8" fmla="*/ 53 w 89"/>
                <a:gd name="T9" fmla="*/ 1 h 189"/>
                <a:gd name="T10" fmla="*/ 67 w 89"/>
                <a:gd name="T11" fmla="*/ 101 h 189"/>
                <a:gd name="T12" fmla="*/ 68 w 89"/>
                <a:gd name="T13" fmla="*/ 66 h 189"/>
                <a:gd name="T14" fmla="*/ 68 w 89"/>
                <a:gd name="T15" fmla="*/ 64 h 189"/>
                <a:gd name="T16" fmla="*/ 70 w 89"/>
                <a:gd name="T17" fmla="*/ 66 h 189"/>
                <a:gd name="T18" fmla="*/ 75 w 89"/>
                <a:gd name="T19" fmla="*/ 74 h 189"/>
                <a:gd name="T20" fmla="*/ 67 w 89"/>
                <a:gd name="T21" fmla="*/ 101 h 189"/>
                <a:gd name="T22" fmla="*/ 0 w 89"/>
                <a:gd name="T23" fmla="*/ 84 h 189"/>
                <a:gd name="T24" fmla="*/ 22 w 89"/>
                <a:gd name="T25" fmla="*/ 71 h 189"/>
                <a:gd name="T26" fmla="*/ 35 w 89"/>
                <a:gd name="T27" fmla="*/ 42 h 189"/>
                <a:gd name="T28" fmla="*/ 35 w 89"/>
                <a:gd name="T29" fmla="*/ 41 h 189"/>
                <a:gd name="T30" fmla="*/ 44 w 89"/>
                <a:gd name="T31" fmla="*/ 36 h 189"/>
                <a:gd name="T32" fmla="*/ 41 w 89"/>
                <a:gd name="T33" fmla="*/ 54 h 189"/>
                <a:gd name="T34" fmla="*/ 47 w 89"/>
                <a:gd name="T35" fmla="*/ 39 h 189"/>
                <a:gd name="T36" fmla="*/ 49 w 89"/>
                <a:gd name="T37" fmla="*/ 39 h 189"/>
                <a:gd name="T38" fmla="*/ 45 w 89"/>
                <a:gd name="T39" fmla="*/ 57 h 189"/>
                <a:gd name="T40" fmla="*/ 56 w 89"/>
                <a:gd name="T41" fmla="*/ 36 h 189"/>
                <a:gd name="T42" fmla="*/ 68 w 89"/>
                <a:gd name="T43" fmla="*/ 40 h 189"/>
                <a:gd name="T44" fmla="*/ 70 w 89"/>
                <a:gd name="T45" fmla="*/ 42 h 189"/>
                <a:gd name="T46" fmla="*/ 70 w 89"/>
                <a:gd name="T47" fmla="*/ 42 h 189"/>
                <a:gd name="T48" fmla="*/ 89 w 89"/>
                <a:gd name="T49" fmla="*/ 72 h 189"/>
                <a:gd name="T50" fmla="*/ 77 w 89"/>
                <a:gd name="T51" fmla="*/ 108 h 189"/>
                <a:gd name="T52" fmla="*/ 67 w 89"/>
                <a:gd name="T53" fmla="*/ 110 h 189"/>
                <a:gd name="T54" fmla="*/ 68 w 89"/>
                <a:gd name="T55" fmla="*/ 114 h 189"/>
                <a:gd name="T56" fmla="*/ 65 w 89"/>
                <a:gd name="T57" fmla="*/ 114 h 189"/>
                <a:gd name="T58" fmla="*/ 65 w 89"/>
                <a:gd name="T59" fmla="*/ 114 h 189"/>
                <a:gd name="T60" fmla="*/ 65 w 89"/>
                <a:gd name="T61" fmla="*/ 187 h 189"/>
                <a:gd name="T62" fmla="*/ 62 w 89"/>
                <a:gd name="T63" fmla="*/ 189 h 189"/>
                <a:gd name="T64" fmla="*/ 54 w 89"/>
                <a:gd name="T65" fmla="*/ 189 h 189"/>
                <a:gd name="T66" fmla="*/ 51 w 89"/>
                <a:gd name="T67" fmla="*/ 187 h 189"/>
                <a:gd name="T68" fmla="*/ 48 w 89"/>
                <a:gd name="T69" fmla="*/ 137 h 189"/>
                <a:gd name="T70" fmla="*/ 47 w 89"/>
                <a:gd name="T71" fmla="*/ 138 h 189"/>
                <a:gd name="T72" fmla="*/ 42 w 89"/>
                <a:gd name="T73" fmla="*/ 187 h 189"/>
                <a:gd name="T74" fmla="*/ 40 w 89"/>
                <a:gd name="T75" fmla="*/ 189 h 189"/>
                <a:gd name="T76" fmla="*/ 31 w 89"/>
                <a:gd name="T77" fmla="*/ 189 h 189"/>
                <a:gd name="T78" fmla="*/ 29 w 89"/>
                <a:gd name="T79" fmla="*/ 187 h 189"/>
                <a:gd name="T80" fmla="*/ 33 w 89"/>
                <a:gd name="T81" fmla="*/ 114 h 189"/>
                <a:gd name="T82" fmla="*/ 30 w 89"/>
                <a:gd name="T83" fmla="*/ 114 h 189"/>
                <a:gd name="T84" fmla="*/ 31 w 89"/>
                <a:gd name="T85" fmla="*/ 80 h 189"/>
                <a:gd name="T86" fmla="*/ 29 w 89"/>
                <a:gd name="T87" fmla="*/ 81 h 189"/>
                <a:gd name="T88" fmla="*/ 8 w 89"/>
                <a:gd name="T89" fmla="*/ 93 h 189"/>
                <a:gd name="T90" fmla="*/ 0 w 89"/>
                <a:gd name="T91" fmla="*/ 8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89">
                  <a:moveTo>
                    <a:pt x="53" y="1"/>
                  </a:moveTo>
                  <a:cubicBezTo>
                    <a:pt x="46" y="0"/>
                    <a:pt x="40" y="5"/>
                    <a:pt x="40" y="12"/>
                  </a:cubicBezTo>
                  <a:cubicBezTo>
                    <a:pt x="40" y="18"/>
                    <a:pt x="42" y="31"/>
                    <a:pt x="49" y="32"/>
                  </a:cubicBezTo>
                  <a:cubicBezTo>
                    <a:pt x="57" y="32"/>
                    <a:pt x="64" y="19"/>
                    <a:pt x="64" y="13"/>
                  </a:cubicBezTo>
                  <a:cubicBezTo>
                    <a:pt x="64" y="7"/>
                    <a:pt x="59" y="1"/>
                    <a:pt x="53" y="1"/>
                  </a:cubicBezTo>
                  <a:close/>
                  <a:moveTo>
                    <a:pt x="67" y="101"/>
                  </a:moveTo>
                  <a:cubicBezTo>
                    <a:pt x="67" y="89"/>
                    <a:pt x="68" y="78"/>
                    <a:pt x="68" y="6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2" y="68"/>
                    <a:pt x="74" y="71"/>
                    <a:pt x="75" y="74"/>
                  </a:cubicBezTo>
                  <a:cubicBezTo>
                    <a:pt x="73" y="84"/>
                    <a:pt x="71" y="91"/>
                    <a:pt x="67" y="101"/>
                  </a:cubicBezTo>
                  <a:close/>
                  <a:moveTo>
                    <a:pt x="0" y="84"/>
                  </a:moveTo>
                  <a:cubicBezTo>
                    <a:pt x="8" y="79"/>
                    <a:pt x="14" y="76"/>
                    <a:pt x="22" y="71"/>
                  </a:cubicBezTo>
                  <a:cubicBezTo>
                    <a:pt x="27" y="62"/>
                    <a:pt x="32" y="52"/>
                    <a:pt x="35" y="42"/>
                  </a:cubicBezTo>
                  <a:cubicBezTo>
                    <a:pt x="35" y="42"/>
                    <a:pt x="35" y="42"/>
                    <a:pt x="35" y="41"/>
                  </a:cubicBezTo>
                  <a:cubicBezTo>
                    <a:pt x="37" y="39"/>
                    <a:pt x="41" y="37"/>
                    <a:pt x="44" y="36"/>
                  </a:cubicBezTo>
                  <a:cubicBezTo>
                    <a:pt x="42" y="40"/>
                    <a:pt x="41" y="48"/>
                    <a:pt x="41" y="54"/>
                  </a:cubicBezTo>
                  <a:cubicBezTo>
                    <a:pt x="42" y="51"/>
                    <a:pt x="45" y="42"/>
                    <a:pt x="47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7" y="45"/>
                    <a:pt x="46" y="52"/>
                    <a:pt x="45" y="57"/>
                  </a:cubicBezTo>
                  <a:cubicBezTo>
                    <a:pt x="49" y="49"/>
                    <a:pt x="52" y="41"/>
                    <a:pt x="56" y="36"/>
                  </a:cubicBezTo>
                  <a:cubicBezTo>
                    <a:pt x="59" y="36"/>
                    <a:pt x="67" y="38"/>
                    <a:pt x="68" y="40"/>
                  </a:cubicBezTo>
                  <a:cubicBezTo>
                    <a:pt x="69" y="40"/>
                    <a:pt x="70" y="41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4" y="48"/>
                    <a:pt x="88" y="66"/>
                    <a:pt x="89" y="72"/>
                  </a:cubicBezTo>
                  <a:cubicBezTo>
                    <a:pt x="89" y="77"/>
                    <a:pt x="79" y="102"/>
                    <a:pt x="77" y="108"/>
                  </a:cubicBezTo>
                  <a:cubicBezTo>
                    <a:pt x="75" y="113"/>
                    <a:pt x="70" y="113"/>
                    <a:pt x="67" y="110"/>
                  </a:cubicBezTo>
                  <a:cubicBezTo>
                    <a:pt x="67" y="112"/>
                    <a:pt x="68" y="113"/>
                    <a:pt x="68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3" y="135"/>
                    <a:pt x="65" y="164"/>
                    <a:pt x="65" y="187"/>
                  </a:cubicBezTo>
                  <a:cubicBezTo>
                    <a:pt x="65" y="188"/>
                    <a:pt x="64" y="189"/>
                    <a:pt x="62" y="189"/>
                  </a:cubicBezTo>
                  <a:cubicBezTo>
                    <a:pt x="54" y="189"/>
                    <a:pt x="54" y="189"/>
                    <a:pt x="54" y="189"/>
                  </a:cubicBezTo>
                  <a:cubicBezTo>
                    <a:pt x="53" y="189"/>
                    <a:pt x="52" y="188"/>
                    <a:pt x="51" y="187"/>
                  </a:cubicBezTo>
                  <a:cubicBezTo>
                    <a:pt x="50" y="173"/>
                    <a:pt x="49" y="155"/>
                    <a:pt x="48" y="137"/>
                  </a:cubicBezTo>
                  <a:cubicBezTo>
                    <a:pt x="48" y="137"/>
                    <a:pt x="47" y="138"/>
                    <a:pt x="47" y="138"/>
                  </a:cubicBezTo>
                  <a:cubicBezTo>
                    <a:pt x="45" y="154"/>
                    <a:pt x="43" y="171"/>
                    <a:pt x="42" y="187"/>
                  </a:cubicBezTo>
                  <a:cubicBezTo>
                    <a:pt x="42" y="188"/>
                    <a:pt x="41" y="189"/>
                    <a:pt x="40" y="189"/>
                  </a:cubicBezTo>
                  <a:cubicBezTo>
                    <a:pt x="31" y="189"/>
                    <a:pt x="31" y="189"/>
                    <a:pt x="31" y="189"/>
                  </a:cubicBezTo>
                  <a:cubicBezTo>
                    <a:pt x="30" y="189"/>
                    <a:pt x="29" y="188"/>
                    <a:pt x="29" y="187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32" y="114"/>
                    <a:pt x="31" y="114"/>
                    <a:pt x="30" y="114"/>
                  </a:cubicBezTo>
                  <a:cubicBezTo>
                    <a:pt x="30" y="109"/>
                    <a:pt x="30" y="94"/>
                    <a:pt x="31" y="80"/>
                  </a:cubicBezTo>
                  <a:cubicBezTo>
                    <a:pt x="31" y="80"/>
                    <a:pt x="30" y="81"/>
                    <a:pt x="29" y="81"/>
                  </a:cubicBezTo>
                  <a:cubicBezTo>
                    <a:pt x="21" y="87"/>
                    <a:pt x="17" y="89"/>
                    <a:pt x="8" y="93"/>
                  </a:cubicBezTo>
                  <a:cubicBezTo>
                    <a:pt x="8" y="88"/>
                    <a:pt x="4" y="86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200">
                <a:solidFill>
                  <a:prstClr val="black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759221" y="2759756"/>
            <a:ext cx="257825" cy="249246"/>
            <a:chOff x="3511550" y="2828925"/>
            <a:chExt cx="577850" cy="457201"/>
          </a:xfrm>
          <a:solidFill>
            <a:schemeClr val="bg1"/>
          </a:solidFill>
        </p:grpSpPr>
        <p:sp>
          <p:nvSpPr>
            <p:cNvPr id="80" name="Freeform 232"/>
            <p:cNvSpPr>
              <a:spLocks noEditPoints="1"/>
            </p:cNvSpPr>
            <p:nvPr/>
          </p:nvSpPr>
          <p:spPr bwMode="auto">
            <a:xfrm>
              <a:off x="3841751" y="2943224"/>
              <a:ext cx="136526" cy="136524"/>
            </a:xfrm>
            <a:custGeom>
              <a:avLst/>
              <a:gdLst>
                <a:gd name="T0" fmla="*/ 79 w 79"/>
                <a:gd name="T1" fmla="*/ 44 h 79"/>
                <a:gd name="T2" fmla="*/ 79 w 79"/>
                <a:gd name="T3" fmla="*/ 35 h 79"/>
                <a:gd name="T4" fmla="*/ 71 w 79"/>
                <a:gd name="T5" fmla="*/ 32 h 79"/>
                <a:gd name="T6" fmla="*/ 67 w 79"/>
                <a:gd name="T7" fmla="*/ 22 h 79"/>
                <a:gd name="T8" fmla="*/ 70 w 79"/>
                <a:gd name="T9" fmla="*/ 15 h 79"/>
                <a:gd name="T10" fmla="*/ 64 w 79"/>
                <a:gd name="T11" fmla="*/ 8 h 79"/>
                <a:gd name="T12" fmla="*/ 57 w 79"/>
                <a:gd name="T13" fmla="*/ 12 h 79"/>
                <a:gd name="T14" fmla="*/ 47 w 79"/>
                <a:gd name="T15" fmla="*/ 8 h 79"/>
                <a:gd name="T16" fmla="*/ 44 w 79"/>
                <a:gd name="T17" fmla="*/ 0 h 79"/>
                <a:gd name="T18" fmla="*/ 35 w 79"/>
                <a:gd name="T19" fmla="*/ 0 h 79"/>
                <a:gd name="T20" fmla="*/ 32 w 79"/>
                <a:gd name="T21" fmla="*/ 8 h 79"/>
                <a:gd name="T22" fmla="*/ 22 w 79"/>
                <a:gd name="T23" fmla="*/ 12 h 79"/>
                <a:gd name="T24" fmla="*/ 15 w 79"/>
                <a:gd name="T25" fmla="*/ 8 h 79"/>
                <a:gd name="T26" fmla="*/ 8 w 79"/>
                <a:gd name="T27" fmla="*/ 15 h 79"/>
                <a:gd name="T28" fmla="*/ 12 w 79"/>
                <a:gd name="T29" fmla="*/ 22 h 79"/>
                <a:gd name="T30" fmla="*/ 8 w 79"/>
                <a:gd name="T31" fmla="*/ 32 h 79"/>
                <a:gd name="T32" fmla="*/ 0 w 79"/>
                <a:gd name="T33" fmla="*/ 35 h 79"/>
                <a:gd name="T34" fmla="*/ 0 w 79"/>
                <a:gd name="T35" fmla="*/ 44 h 79"/>
                <a:gd name="T36" fmla="*/ 8 w 79"/>
                <a:gd name="T37" fmla="*/ 47 h 79"/>
                <a:gd name="T38" fmla="*/ 12 w 79"/>
                <a:gd name="T39" fmla="*/ 57 h 79"/>
                <a:gd name="T40" fmla="*/ 8 w 79"/>
                <a:gd name="T41" fmla="*/ 64 h 79"/>
                <a:gd name="T42" fmla="*/ 15 w 79"/>
                <a:gd name="T43" fmla="*/ 70 h 79"/>
                <a:gd name="T44" fmla="*/ 22 w 79"/>
                <a:gd name="T45" fmla="*/ 67 h 79"/>
                <a:gd name="T46" fmla="*/ 32 w 79"/>
                <a:gd name="T47" fmla="*/ 71 h 79"/>
                <a:gd name="T48" fmla="*/ 35 w 79"/>
                <a:gd name="T49" fmla="*/ 79 h 79"/>
                <a:gd name="T50" fmla="*/ 44 w 79"/>
                <a:gd name="T51" fmla="*/ 79 h 79"/>
                <a:gd name="T52" fmla="*/ 47 w 79"/>
                <a:gd name="T53" fmla="*/ 71 h 79"/>
                <a:gd name="T54" fmla="*/ 57 w 79"/>
                <a:gd name="T55" fmla="*/ 67 h 79"/>
                <a:gd name="T56" fmla="*/ 64 w 79"/>
                <a:gd name="T57" fmla="*/ 70 h 79"/>
                <a:gd name="T58" fmla="*/ 70 w 79"/>
                <a:gd name="T59" fmla="*/ 64 h 79"/>
                <a:gd name="T60" fmla="*/ 67 w 79"/>
                <a:gd name="T61" fmla="*/ 57 h 79"/>
                <a:gd name="T62" fmla="*/ 71 w 79"/>
                <a:gd name="T63" fmla="*/ 47 h 79"/>
                <a:gd name="T64" fmla="*/ 79 w 79"/>
                <a:gd name="T65" fmla="*/ 44 h 79"/>
                <a:gd name="T66" fmla="*/ 39 w 79"/>
                <a:gd name="T67" fmla="*/ 57 h 79"/>
                <a:gd name="T68" fmla="*/ 22 w 79"/>
                <a:gd name="T69" fmla="*/ 39 h 79"/>
                <a:gd name="T70" fmla="*/ 39 w 79"/>
                <a:gd name="T71" fmla="*/ 22 h 79"/>
                <a:gd name="T72" fmla="*/ 57 w 79"/>
                <a:gd name="T73" fmla="*/ 39 h 79"/>
                <a:gd name="T74" fmla="*/ 39 w 79"/>
                <a:gd name="T75" fmla="*/ 5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" h="79">
                  <a:moveTo>
                    <a:pt x="79" y="44"/>
                  </a:moveTo>
                  <a:cubicBezTo>
                    <a:pt x="79" y="35"/>
                    <a:pt x="79" y="35"/>
                    <a:pt x="79" y="35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0" y="29"/>
                    <a:pt x="69" y="25"/>
                    <a:pt x="67" y="22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4" y="10"/>
                    <a:pt x="50" y="9"/>
                    <a:pt x="47" y="8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9" y="9"/>
                    <a:pt x="25" y="10"/>
                    <a:pt x="22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0" y="25"/>
                    <a:pt x="9" y="29"/>
                    <a:pt x="8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50"/>
                    <a:pt x="10" y="54"/>
                    <a:pt x="12" y="57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5" y="69"/>
                    <a:pt x="29" y="70"/>
                    <a:pt x="32" y="71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50" y="70"/>
                    <a:pt x="54" y="69"/>
                    <a:pt x="57" y="67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9" y="54"/>
                    <a:pt x="70" y="50"/>
                    <a:pt x="71" y="47"/>
                  </a:cubicBezTo>
                  <a:lnTo>
                    <a:pt x="79" y="44"/>
                  </a:lnTo>
                  <a:close/>
                  <a:moveTo>
                    <a:pt x="39" y="57"/>
                  </a:moveTo>
                  <a:cubicBezTo>
                    <a:pt x="30" y="57"/>
                    <a:pt x="22" y="49"/>
                    <a:pt x="22" y="39"/>
                  </a:cubicBezTo>
                  <a:cubicBezTo>
                    <a:pt x="22" y="30"/>
                    <a:pt x="30" y="22"/>
                    <a:pt x="39" y="22"/>
                  </a:cubicBezTo>
                  <a:cubicBezTo>
                    <a:pt x="49" y="22"/>
                    <a:pt x="57" y="30"/>
                    <a:pt x="57" y="39"/>
                  </a:cubicBezTo>
                  <a:cubicBezTo>
                    <a:pt x="57" y="49"/>
                    <a:pt x="49" y="57"/>
                    <a:pt x="39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81" name="Freeform 233"/>
            <p:cNvSpPr>
              <a:spLocks noEditPoints="1"/>
            </p:cNvSpPr>
            <p:nvPr/>
          </p:nvSpPr>
          <p:spPr bwMode="auto">
            <a:xfrm>
              <a:off x="3632200" y="2905125"/>
              <a:ext cx="212725" cy="214313"/>
            </a:xfrm>
            <a:custGeom>
              <a:avLst/>
              <a:gdLst>
                <a:gd name="T0" fmla="*/ 118 w 124"/>
                <a:gd name="T1" fmla="*/ 92 h 124"/>
                <a:gd name="T2" fmla="*/ 124 w 124"/>
                <a:gd name="T3" fmla="*/ 78 h 124"/>
                <a:gd name="T4" fmla="*/ 113 w 124"/>
                <a:gd name="T5" fmla="*/ 70 h 124"/>
                <a:gd name="T6" fmla="*/ 113 w 124"/>
                <a:gd name="T7" fmla="*/ 52 h 124"/>
                <a:gd name="T8" fmla="*/ 123 w 124"/>
                <a:gd name="T9" fmla="*/ 43 h 124"/>
                <a:gd name="T10" fmla="*/ 117 w 124"/>
                <a:gd name="T11" fmla="*/ 30 h 124"/>
                <a:gd name="T12" fmla="*/ 103 w 124"/>
                <a:gd name="T13" fmla="*/ 31 h 124"/>
                <a:gd name="T14" fmla="*/ 91 w 124"/>
                <a:gd name="T15" fmla="*/ 19 h 124"/>
                <a:gd name="T16" fmla="*/ 91 w 124"/>
                <a:gd name="T17" fmla="*/ 6 h 124"/>
                <a:gd name="T18" fmla="*/ 78 w 124"/>
                <a:gd name="T19" fmla="*/ 0 h 124"/>
                <a:gd name="T20" fmla="*/ 69 w 124"/>
                <a:gd name="T21" fmla="*/ 11 h 124"/>
                <a:gd name="T22" fmla="*/ 52 w 124"/>
                <a:gd name="T23" fmla="*/ 11 h 124"/>
                <a:gd name="T24" fmla="*/ 43 w 124"/>
                <a:gd name="T25" fmla="*/ 1 h 124"/>
                <a:gd name="T26" fmla="*/ 29 w 124"/>
                <a:gd name="T27" fmla="*/ 7 h 124"/>
                <a:gd name="T28" fmla="*/ 30 w 124"/>
                <a:gd name="T29" fmla="*/ 21 h 124"/>
                <a:gd name="T30" fmla="*/ 18 w 124"/>
                <a:gd name="T31" fmla="*/ 33 h 124"/>
                <a:gd name="T32" fmla="*/ 5 w 124"/>
                <a:gd name="T33" fmla="*/ 33 h 124"/>
                <a:gd name="T34" fmla="*/ 0 w 124"/>
                <a:gd name="T35" fmla="*/ 46 h 124"/>
                <a:gd name="T36" fmla="*/ 10 w 124"/>
                <a:gd name="T37" fmla="*/ 55 h 124"/>
                <a:gd name="T38" fmla="*/ 10 w 124"/>
                <a:gd name="T39" fmla="*/ 72 h 124"/>
                <a:gd name="T40" fmla="*/ 1 w 124"/>
                <a:gd name="T41" fmla="*/ 81 h 124"/>
                <a:gd name="T42" fmla="*/ 7 w 124"/>
                <a:gd name="T43" fmla="*/ 95 h 124"/>
                <a:gd name="T44" fmla="*/ 20 w 124"/>
                <a:gd name="T45" fmla="*/ 94 h 124"/>
                <a:gd name="T46" fmla="*/ 33 w 124"/>
                <a:gd name="T47" fmla="*/ 106 h 124"/>
                <a:gd name="T48" fmla="*/ 32 w 124"/>
                <a:gd name="T49" fmla="*/ 119 h 124"/>
                <a:gd name="T50" fmla="*/ 46 w 124"/>
                <a:gd name="T51" fmla="*/ 124 h 124"/>
                <a:gd name="T52" fmla="*/ 54 w 124"/>
                <a:gd name="T53" fmla="*/ 114 h 124"/>
                <a:gd name="T54" fmla="*/ 72 w 124"/>
                <a:gd name="T55" fmla="*/ 114 h 124"/>
                <a:gd name="T56" fmla="*/ 81 w 124"/>
                <a:gd name="T57" fmla="*/ 123 h 124"/>
                <a:gd name="T58" fmla="*/ 94 w 124"/>
                <a:gd name="T59" fmla="*/ 117 h 124"/>
                <a:gd name="T60" fmla="*/ 93 w 124"/>
                <a:gd name="T61" fmla="*/ 104 h 124"/>
                <a:gd name="T62" fmla="*/ 105 w 124"/>
                <a:gd name="T63" fmla="*/ 91 h 124"/>
                <a:gd name="T64" fmla="*/ 118 w 124"/>
                <a:gd name="T65" fmla="*/ 92 h 124"/>
                <a:gd name="T66" fmla="*/ 48 w 124"/>
                <a:gd name="T67" fmla="*/ 97 h 124"/>
                <a:gd name="T68" fmla="*/ 27 w 124"/>
                <a:gd name="T69" fmla="*/ 49 h 124"/>
                <a:gd name="T70" fmla="*/ 75 w 124"/>
                <a:gd name="T71" fmla="*/ 28 h 124"/>
                <a:gd name="T72" fmla="*/ 96 w 124"/>
                <a:gd name="T73" fmla="*/ 76 h 124"/>
                <a:gd name="T74" fmla="*/ 48 w 124"/>
                <a:gd name="T75" fmla="*/ 9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124">
                  <a:moveTo>
                    <a:pt x="118" y="92"/>
                  </a:moveTo>
                  <a:cubicBezTo>
                    <a:pt x="124" y="78"/>
                    <a:pt x="124" y="78"/>
                    <a:pt x="124" y="78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4" y="64"/>
                    <a:pt x="114" y="58"/>
                    <a:pt x="113" y="52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0" y="26"/>
                    <a:pt x="96" y="22"/>
                    <a:pt x="91" y="19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3" y="10"/>
                    <a:pt x="57" y="10"/>
                    <a:pt x="52" y="1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24"/>
                    <a:pt x="22" y="28"/>
                    <a:pt x="18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61"/>
                    <a:pt x="9" y="67"/>
                    <a:pt x="10" y="72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3" y="98"/>
                    <a:pt x="28" y="102"/>
                    <a:pt x="33" y="106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60" y="115"/>
                    <a:pt x="66" y="115"/>
                    <a:pt x="72" y="114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8" y="101"/>
                    <a:pt x="102" y="96"/>
                    <a:pt x="105" y="91"/>
                  </a:cubicBezTo>
                  <a:lnTo>
                    <a:pt x="118" y="92"/>
                  </a:lnTo>
                  <a:close/>
                  <a:moveTo>
                    <a:pt x="48" y="97"/>
                  </a:moveTo>
                  <a:cubicBezTo>
                    <a:pt x="29" y="90"/>
                    <a:pt x="20" y="68"/>
                    <a:pt x="27" y="49"/>
                  </a:cubicBezTo>
                  <a:cubicBezTo>
                    <a:pt x="34" y="30"/>
                    <a:pt x="56" y="20"/>
                    <a:pt x="75" y="28"/>
                  </a:cubicBezTo>
                  <a:cubicBezTo>
                    <a:pt x="94" y="35"/>
                    <a:pt x="104" y="57"/>
                    <a:pt x="96" y="76"/>
                  </a:cubicBezTo>
                  <a:cubicBezTo>
                    <a:pt x="89" y="95"/>
                    <a:pt x="67" y="104"/>
                    <a:pt x="48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82" name="Freeform 234"/>
            <p:cNvSpPr>
              <a:spLocks noEditPoints="1"/>
            </p:cNvSpPr>
            <p:nvPr/>
          </p:nvSpPr>
          <p:spPr bwMode="auto">
            <a:xfrm>
              <a:off x="3530600" y="2828925"/>
              <a:ext cx="541338" cy="366713"/>
            </a:xfrm>
            <a:custGeom>
              <a:avLst/>
              <a:gdLst>
                <a:gd name="T0" fmla="*/ 41 w 313"/>
                <a:gd name="T1" fmla="*/ 212 h 212"/>
                <a:gd name="T2" fmla="*/ 272 w 313"/>
                <a:gd name="T3" fmla="*/ 212 h 212"/>
                <a:gd name="T4" fmla="*/ 313 w 313"/>
                <a:gd name="T5" fmla="*/ 175 h 212"/>
                <a:gd name="T6" fmla="*/ 313 w 313"/>
                <a:gd name="T7" fmla="*/ 171 h 212"/>
                <a:gd name="T8" fmla="*/ 313 w 313"/>
                <a:gd name="T9" fmla="*/ 41 h 212"/>
                <a:gd name="T10" fmla="*/ 272 w 313"/>
                <a:gd name="T11" fmla="*/ 0 h 212"/>
                <a:gd name="T12" fmla="*/ 245 w 313"/>
                <a:gd name="T13" fmla="*/ 0 h 212"/>
                <a:gd name="T14" fmla="*/ 229 w 313"/>
                <a:gd name="T15" fmla="*/ 0 h 212"/>
                <a:gd name="T16" fmla="*/ 41 w 313"/>
                <a:gd name="T17" fmla="*/ 0 h 212"/>
                <a:gd name="T18" fmla="*/ 0 w 313"/>
                <a:gd name="T19" fmla="*/ 41 h 212"/>
                <a:gd name="T20" fmla="*/ 0 w 313"/>
                <a:gd name="T21" fmla="*/ 171 h 212"/>
                <a:gd name="T22" fmla="*/ 0 w 313"/>
                <a:gd name="T23" fmla="*/ 175 h 212"/>
                <a:gd name="T24" fmla="*/ 41 w 313"/>
                <a:gd name="T25" fmla="*/ 212 h 212"/>
                <a:gd name="T26" fmla="*/ 35 w 313"/>
                <a:gd name="T27" fmla="*/ 30 h 212"/>
                <a:gd name="T28" fmla="*/ 245 w 313"/>
                <a:gd name="T29" fmla="*/ 30 h 212"/>
                <a:gd name="T30" fmla="*/ 269 w 313"/>
                <a:gd name="T31" fmla="*/ 30 h 212"/>
                <a:gd name="T32" fmla="*/ 278 w 313"/>
                <a:gd name="T33" fmla="*/ 30 h 212"/>
                <a:gd name="T34" fmla="*/ 278 w 313"/>
                <a:gd name="T35" fmla="*/ 128 h 212"/>
                <a:gd name="T36" fmla="*/ 278 w 313"/>
                <a:gd name="T37" fmla="*/ 128 h 212"/>
                <a:gd name="T38" fmla="*/ 278 w 313"/>
                <a:gd name="T39" fmla="*/ 182 h 212"/>
                <a:gd name="T40" fmla="*/ 35 w 313"/>
                <a:gd name="T41" fmla="*/ 182 h 212"/>
                <a:gd name="T42" fmla="*/ 35 w 313"/>
                <a:gd name="T43" fmla="*/ 128 h 212"/>
                <a:gd name="T44" fmla="*/ 35 w 313"/>
                <a:gd name="T45" fmla="*/ 128 h 212"/>
                <a:gd name="T46" fmla="*/ 35 w 313"/>
                <a:gd name="T47" fmla="*/ 3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3" h="212">
                  <a:moveTo>
                    <a:pt x="41" y="212"/>
                  </a:moveTo>
                  <a:cubicBezTo>
                    <a:pt x="272" y="212"/>
                    <a:pt x="272" y="212"/>
                    <a:pt x="272" y="212"/>
                  </a:cubicBezTo>
                  <a:cubicBezTo>
                    <a:pt x="293" y="212"/>
                    <a:pt x="311" y="196"/>
                    <a:pt x="313" y="175"/>
                  </a:cubicBezTo>
                  <a:cubicBezTo>
                    <a:pt x="313" y="174"/>
                    <a:pt x="313" y="173"/>
                    <a:pt x="313" y="171"/>
                  </a:cubicBezTo>
                  <a:cubicBezTo>
                    <a:pt x="313" y="41"/>
                    <a:pt x="313" y="41"/>
                    <a:pt x="313" y="41"/>
                  </a:cubicBezTo>
                  <a:cubicBezTo>
                    <a:pt x="313" y="18"/>
                    <a:pt x="295" y="0"/>
                    <a:pt x="272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3"/>
                    <a:pt x="0" y="174"/>
                    <a:pt x="0" y="175"/>
                  </a:cubicBezTo>
                  <a:cubicBezTo>
                    <a:pt x="2" y="196"/>
                    <a:pt x="20" y="212"/>
                    <a:pt x="41" y="212"/>
                  </a:cubicBezTo>
                  <a:close/>
                  <a:moveTo>
                    <a:pt x="35" y="30"/>
                  </a:moveTo>
                  <a:cubicBezTo>
                    <a:pt x="245" y="30"/>
                    <a:pt x="245" y="30"/>
                    <a:pt x="245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82"/>
                    <a:pt x="278" y="182"/>
                    <a:pt x="278" y="182"/>
                  </a:cubicBezTo>
                  <a:cubicBezTo>
                    <a:pt x="35" y="182"/>
                    <a:pt x="35" y="182"/>
                    <a:pt x="35" y="182"/>
                  </a:cubicBezTo>
                  <a:cubicBezTo>
                    <a:pt x="35" y="128"/>
                    <a:pt x="35" y="128"/>
                    <a:pt x="35" y="128"/>
                  </a:cubicBezTo>
                  <a:cubicBezTo>
                    <a:pt x="35" y="128"/>
                    <a:pt x="35" y="128"/>
                    <a:pt x="35" y="128"/>
                  </a:cubicBezTo>
                  <a:lnTo>
                    <a:pt x="3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83" name="Freeform 235"/>
            <p:cNvSpPr>
              <a:spLocks noEditPoints="1"/>
            </p:cNvSpPr>
            <p:nvPr/>
          </p:nvSpPr>
          <p:spPr bwMode="auto">
            <a:xfrm>
              <a:off x="3511550" y="3221038"/>
              <a:ext cx="577850" cy="65088"/>
            </a:xfrm>
            <a:custGeom>
              <a:avLst/>
              <a:gdLst>
                <a:gd name="T0" fmla="*/ 197 w 334"/>
                <a:gd name="T1" fmla="*/ 0 h 37"/>
                <a:gd name="T2" fmla="*/ 197 w 334"/>
                <a:gd name="T3" fmla="*/ 11 h 37"/>
                <a:gd name="T4" fmla="*/ 131 w 334"/>
                <a:gd name="T5" fmla="*/ 11 h 37"/>
                <a:gd name="T6" fmla="*/ 131 w 334"/>
                <a:gd name="T7" fmla="*/ 0 h 37"/>
                <a:gd name="T8" fmla="*/ 0 w 334"/>
                <a:gd name="T9" fmla="*/ 0 h 37"/>
                <a:gd name="T10" fmla="*/ 29 w 334"/>
                <a:gd name="T11" fmla="*/ 37 h 37"/>
                <a:gd name="T12" fmla="*/ 305 w 334"/>
                <a:gd name="T13" fmla="*/ 37 h 37"/>
                <a:gd name="T14" fmla="*/ 334 w 334"/>
                <a:gd name="T15" fmla="*/ 0 h 37"/>
                <a:gd name="T16" fmla="*/ 197 w 334"/>
                <a:gd name="T17" fmla="*/ 0 h 37"/>
                <a:gd name="T18" fmla="*/ 270 w 334"/>
                <a:gd name="T19" fmla="*/ 24 h 37"/>
                <a:gd name="T20" fmla="*/ 240 w 334"/>
                <a:gd name="T21" fmla="*/ 24 h 37"/>
                <a:gd name="T22" fmla="*/ 240 w 334"/>
                <a:gd name="T23" fmla="*/ 14 h 37"/>
                <a:gd name="T24" fmla="*/ 270 w 334"/>
                <a:gd name="T25" fmla="*/ 14 h 37"/>
                <a:gd name="T26" fmla="*/ 270 w 334"/>
                <a:gd name="T27" fmla="*/ 24 h 37"/>
                <a:gd name="T28" fmla="*/ 311 w 334"/>
                <a:gd name="T29" fmla="*/ 24 h 37"/>
                <a:gd name="T30" fmla="*/ 281 w 334"/>
                <a:gd name="T31" fmla="*/ 24 h 37"/>
                <a:gd name="T32" fmla="*/ 281 w 334"/>
                <a:gd name="T33" fmla="*/ 14 h 37"/>
                <a:gd name="T34" fmla="*/ 311 w 334"/>
                <a:gd name="T35" fmla="*/ 14 h 37"/>
                <a:gd name="T36" fmla="*/ 311 w 334"/>
                <a:gd name="T3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4" h="37">
                  <a:moveTo>
                    <a:pt x="197" y="0"/>
                  </a:moveTo>
                  <a:cubicBezTo>
                    <a:pt x="197" y="11"/>
                    <a:pt x="197" y="11"/>
                    <a:pt x="197" y="11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13" y="37"/>
                    <a:pt x="29" y="37"/>
                  </a:cubicBezTo>
                  <a:cubicBezTo>
                    <a:pt x="305" y="37"/>
                    <a:pt x="305" y="37"/>
                    <a:pt x="305" y="37"/>
                  </a:cubicBezTo>
                  <a:cubicBezTo>
                    <a:pt x="321" y="37"/>
                    <a:pt x="333" y="19"/>
                    <a:pt x="334" y="0"/>
                  </a:cubicBezTo>
                  <a:lnTo>
                    <a:pt x="197" y="0"/>
                  </a:lnTo>
                  <a:close/>
                  <a:moveTo>
                    <a:pt x="270" y="24"/>
                  </a:moveTo>
                  <a:cubicBezTo>
                    <a:pt x="240" y="24"/>
                    <a:pt x="240" y="24"/>
                    <a:pt x="240" y="24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70" y="14"/>
                    <a:pt x="270" y="14"/>
                    <a:pt x="270" y="14"/>
                  </a:cubicBezTo>
                  <a:lnTo>
                    <a:pt x="270" y="24"/>
                  </a:lnTo>
                  <a:close/>
                  <a:moveTo>
                    <a:pt x="311" y="24"/>
                  </a:moveTo>
                  <a:cubicBezTo>
                    <a:pt x="281" y="24"/>
                    <a:pt x="281" y="24"/>
                    <a:pt x="281" y="24"/>
                  </a:cubicBezTo>
                  <a:cubicBezTo>
                    <a:pt x="281" y="14"/>
                    <a:pt x="281" y="14"/>
                    <a:pt x="281" y="14"/>
                  </a:cubicBezTo>
                  <a:cubicBezTo>
                    <a:pt x="311" y="14"/>
                    <a:pt x="311" y="14"/>
                    <a:pt x="311" y="14"/>
                  </a:cubicBezTo>
                  <a:lnTo>
                    <a:pt x="3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  <p:grpSp>
        <p:nvGrpSpPr>
          <p:cNvPr id="84" name="Group 83"/>
          <p:cNvGrpSpPr/>
          <p:nvPr/>
        </p:nvGrpSpPr>
        <p:grpSpPr>
          <a:xfrm>
            <a:off x="767721" y="3860049"/>
            <a:ext cx="260302" cy="185667"/>
            <a:chOff x="6691313" y="3119438"/>
            <a:chExt cx="652462" cy="461962"/>
          </a:xfrm>
          <a:solidFill>
            <a:schemeClr val="bg1"/>
          </a:solidFill>
        </p:grpSpPr>
        <p:sp>
          <p:nvSpPr>
            <p:cNvPr id="85" name="Freeform 61"/>
            <p:cNvSpPr>
              <a:spLocks/>
            </p:cNvSpPr>
            <p:nvPr/>
          </p:nvSpPr>
          <p:spPr bwMode="auto">
            <a:xfrm>
              <a:off x="6934200" y="3227388"/>
              <a:ext cx="409575" cy="269875"/>
            </a:xfrm>
            <a:custGeom>
              <a:avLst/>
              <a:gdLst/>
              <a:ahLst/>
              <a:cxnLst>
                <a:cxn ang="0">
                  <a:pos x="9" y="126"/>
                </a:cxn>
                <a:cxn ang="0">
                  <a:pos x="10" y="127"/>
                </a:cxn>
                <a:cxn ang="0">
                  <a:pos x="29" y="122"/>
                </a:cxn>
                <a:cxn ang="0">
                  <a:pos x="51" y="85"/>
                </a:cxn>
                <a:cxn ang="0">
                  <a:pos x="51" y="85"/>
                </a:cxn>
                <a:cxn ang="0">
                  <a:pos x="56" y="77"/>
                </a:cxn>
                <a:cxn ang="0">
                  <a:pos x="57" y="74"/>
                </a:cxn>
                <a:cxn ang="0">
                  <a:pos x="80" y="71"/>
                </a:cxn>
                <a:cxn ang="0">
                  <a:pos x="86" y="102"/>
                </a:cxn>
                <a:cxn ang="0">
                  <a:pos x="82" y="107"/>
                </a:cxn>
                <a:cxn ang="0">
                  <a:pos x="61" y="127"/>
                </a:cxn>
                <a:cxn ang="0">
                  <a:pos x="60" y="146"/>
                </a:cxn>
                <a:cxn ang="0">
                  <a:pos x="61" y="146"/>
                </a:cxn>
                <a:cxn ang="0">
                  <a:pos x="80" y="147"/>
                </a:cxn>
                <a:cxn ang="0">
                  <a:pos x="109" y="120"/>
                </a:cxn>
                <a:cxn ang="0">
                  <a:pos x="129" y="113"/>
                </a:cxn>
                <a:cxn ang="0">
                  <a:pos x="201" y="74"/>
                </a:cxn>
                <a:cxn ang="0">
                  <a:pos x="226" y="38"/>
                </a:cxn>
                <a:cxn ang="0">
                  <a:pos x="202" y="0"/>
                </a:cxn>
                <a:cxn ang="0">
                  <a:pos x="89" y="21"/>
                </a:cxn>
                <a:cxn ang="0">
                  <a:pos x="29" y="65"/>
                </a:cxn>
                <a:cxn ang="0">
                  <a:pos x="4" y="107"/>
                </a:cxn>
                <a:cxn ang="0">
                  <a:pos x="9" y="126"/>
                </a:cxn>
              </a:cxnLst>
              <a:rect l="0" t="0" r="r" b="b"/>
              <a:pathLst>
                <a:path w="230" h="152">
                  <a:moveTo>
                    <a:pt x="9" y="126"/>
                  </a:moveTo>
                  <a:cubicBezTo>
                    <a:pt x="10" y="127"/>
                    <a:pt x="10" y="127"/>
                    <a:pt x="10" y="127"/>
                  </a:cubicBezTo>
                  <a:cubicBezTo>
                    <a:pt x="16" y="131"/>
                    <a:pt x="25" y="129"/>
                    <a:pt x="29" y="122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6"/>
                    <a:pt x="57" y="75"/>
                    <a:pt x="57" y="74"/>
                  </a:cubicBezTo>
                  <a:cubicBezTo>
                    <a:pt x="63" y="72"/>
                    <a:pt x="71" y="73"/>
                    <a:pt x="80" y="71"/>
                  </a:cubicBezTo>
                  <a:cubicBezTo>
                    <a:pt x="80" y="71"/>
                    <a:pt x="111" y="69"/>
                    <a:pt x="86" y="102"/>
                  </a:cubicBezTo>
                  <a:cubicBezTo>
                    <a:pt x="84" y="104"/>
                    <a:pt x="83" y="106"/>
                    <a:pt x="82" y="107"/>
                  </a:cubicBezTo>
                  <a:cubicBezTo>
                    <a:pt x="61" y="127"/>
                    <a:pt x="61" y="127"/>
                    <a:pt x="61" y="127"/>
                  </a:cubicBezTo>
                  <a:cubicBezTo>
                    <a:pt x="55" y="132"/>
                    <a:pt x="55" y="140"/>
                    <a:pt x="60" y="146"/>
                  </a:cubicBezTo>
                  <a:cubicBezTo>
                    <a:pt x="61" y="146"/>
                    <a:pt x="61" y="146"/>
                    <a:pt x="61" y="146"/>
                  </a:cubicBezTo>
                  <a:cubicBezTo>
                    <a:pt x="66" y="152"/>
                    <a:pt x="74" y="152"/>
                    <a:pt x="80" y="147"/>
                  </a:cubicBezTo>
                  <a:cubicBezTo>
                    <a:pt x="109" y="120"/>
                    <a:pt x="109" y="120"/>
                    <a:pt x="109" y="120"/>
                  </a:cubicBezTo>
                  <a:cubicBezTo>
                    <a:pt x="114" y="118"/>
                    <a:pt x="121" y="115"/>
                    <a:pt x="129" y="113"/>
                  </a:cubicBezTo>
                  <a:cubicBezTo>
                    <a:pt x="155" y="106"/>
                    <a:pt x="189" y="88"/>
                    <a:pt x="201" y="74"/>
                  </a:cubicBezTo>
                  <a:cubicBezTo>
                    <a:pt x="214" y="61"/>
                    <a:pt x="230" y="49"/>
                    <a:pt x="226" y="38"/>
                  </a:cubicBezTo>
                  <a:cubicBezTo>
                    <a:pt x="222" y="26"/>
                    <a:pt x="202" y="0"/>
                    <a:pt x="202" y="0"/>
                  </a:cubicBezTo>
                  <a:cubicBezTo>
                    <a:pt x="202" y="0"/>
                    <a:pt x="132" y="8"/>
                    <a:pt x="89" y="21"/>
                  </a:cubicBezTo>
                  <a:cubicBezTo>
                    <a:pt x="71" y="26"/>
                    <a:pt x="46" y="34"/>
                    <a:pt x="29" y="65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0" y="114"/>
                    <a:pt x="2" y="122"/>
                    <a:pt x="9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prstClr val="black"/>
                </a:solidFill>
              </a:endParaRPr>
            </a:p>
          </p:txBody>
        </p:sp>
        <p:sp>
          <p:nvSpPr>
            <p:cNvPr id="86" name="Freeform 62"/>
            <p:cNvSpPr>
              <a:spLocks/>
            </p:cNvSpPr>
            <p:nvPr/>
          </p:nvSpPr>
          <p:spPr bwMode="auto">
            <a:xfrm>
              <a:off x="7000875" y="3359150"/>
              <a:ext cx="82550" cy="87312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5" y="0"/>
                </a:cxn>
                <a:cxn ang="0">
                  <a:pos x="35" y="1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3" y="4"/>
                </a:cxn>
                <a:cxn ang="0">
                  <a:pos x="23" y="4"/>
                </a:cxn>
                <a:cxn ang="0">
                  <a:pos x="0" y="43"/>
                </a:cxn>
                <a:cxn ang="0">
                  <a:pos x="2" y="45"/>
                </a:cxn>
                <a:cxn ang="0">
                  <a:pos x="3" y="45"/>
                </a:cxn>
                <a:cxn ang="0">
                  <a:pos x="22" y="40"/>
                </a:cxn>
                <a:cxn ang="0">
                  <a:pos x="47" y="0"/>
                </a:cxn>
              </a:cxnLst>
              <a:rect l="0" t="0" r="r" b="b"/>
              <a:pathLst>
                <a:path w="47" h="49">
                  <a:moveTo>
                    <a:pt x="47" y="0"/>
                  </a:moveTo>
                  <a:cubicBezTo>
                    <a:pt x="47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2" y="0"/>
                    <a:pt x="38" y="1"/>
                    <a:pt x="35" y="1"/>
                  </a:cubicBezTo>
                  <a:cubicBezTo>
                    <a:pt x="32" y="1"/>
                    <a:pt x="28" y="1"/>
                    <a:pt x="26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" y="43"/>
                    <a:pt x="2" y="44"/>
                    <a:pt x="2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10" y="49"/>
                    <a:pt x="18" y="47"/>
                    <a:pt x="22" y="40"/>
                  </a:cubicBezTo>
                  <a:lnTo>
                    <a:pt x="4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prstClr val="black"/>
                </a:solidFill>
              </a:endParaRPr>
            </a:p>
          </p:txBody>
        </p:sp>
        <p:sp>
          <p:nvSpPr>
            <p:cNvPr id="87" name="Freeform 63"/>
            <p:cNvSpPr>
              <a:spLocks noEditPoints="1"/>
            </p:cNvSpPr>
            <p:nvPr/>
          </p:nvSpPr>
          <p:spPr bwMode="auto">
            <a:xfrm>
              <a:off x="6691313" y="3119438"/>
              <a:ext cx="638175" cy="461962"/>
            </a:xfrm>
            <a:custGeom>
              <a:avLst/>
              <a:gdLst/>
              <a:ahLst/>
              <a:cxnLst>
                <a:cxn ang="0">
                  <a:pos x="343" y="228"/>
                </a:cxn>
                <a:cxn ang="0">
                  <a:pos x="87" y="228"/>
                </a:cxn>
                <a:cxn ang="0">
                  <a:pos x="32" y="16"/>
                </a:cxn>
                <a:cxn ang="0">
                  <a:pos x="16" y="0"/>
                </a:cxn>
                <a:cxn ang="0">
                  <a:pos x="0" y="16"/>
                </a:cxn>
                <a:cxn ang="0">
                  <a:pos x="55" y="244"/>
                </a:cxn>
                <a:cxn ang="0">
                  <a:pos x="71" y="260"/>
                </a:cxn>
                <a:cxn ang="0">
                  <a:pos x="343" y="260"/>
                </a:cxn>
                <a:cxn ang="0">
                  <a:pos x="359" y="244"/>
                </a:cxn>
                <a:cxn ang="0">
                  <a:pos x="343" y="228"/>
                </a:cxn>
                <a:cxn ang="0">
                  <a:pos x="320" y="250"/>
                </a:cxn>
                <a:cxn ang="0">
                  <a:pos x="245" y="250"/>
                </a:cxn>
                <a:cxn ang="0">
                  <a:pos x="245" y="239"/>
                </a:cxn>
                <a:cxn ang="0">
                  <a:pos x="320" y="239"/>
                </a:cxn>
                <a:cxn ang="0">
                  <a:pos x="320" y="250"/>
                </a:cxn>
              </a:cxnLst>
              <a:rect l="0" t="0" r="r" b="b"/>
              <a:pathLst>
                <a:path w="359" h="260">
                  <a:moveTo>
                    <a:pt x="343" y="228"/>
                  </a:moveTo>
                  <a:cubicBezTo>
                    <a:pt x="87" y="228"/>
                    <a:pt x="87" y="228"/>
                    <a:pt x="87" y="228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55" y="244"/>
                    <a:pt x="55" y="244"/>
                    <a:pt x="55" y="244"/>
                  </a:cubicBezTo>
                  <a:cubicBezTo>
                    <a:pt x="55" y="253"/>
                    <a:pt x="62" y="260"/>
                    <a:pt x="71" y="260"/>
                  </a:cubicBezTo>
                  <a:cubicBezTo>
                    <a:pt x="343" y="260"/>
                    <a:pt x="343" y="260"/>
                    <a:pt x="343" y="260"/>
                  </a:cubicBezTo>
                  <a:cubicBezTo>
                    <a:pt x="352" y="260"/>
                    <a:pt x="359" y="253"/>
                    <a:pt x="359" y="244"/>
                  </a:cubicBezTo>
                  <a:cubicBezTo>
                    <a:pt x="359" y="236"/>
                    <a:pt x="352" y="228"/>
                    <a:pt x="343" y="228"/>
                  </a:cubicBezTo>
                  <a:close/>
                  <a:moveTo>
                    <a:pt x="320" y="250"/>
                  </a:moveTo>
                  <a:cubicBezTo>
                    <a:pt x="245" y="250"/>
                    <a:pt x="245" y="250"/>
                    <a:pt x="245" y="250"/>
                  </a:cubicBezTo>
                  <a:cubicBezTo>
                    <a:pt x="245" y="239"/>
                    <a:pt x="245" y="239"/>
                    <a:pt x="245" y="239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5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200">
                <a:solidFill>
                  <a:prstClr val="black"/>
                </a:solidFill>
              </a:endParaRPr>
            </a:p>
          </p:txBody>
        </p:sp>
      </p:grpSp>
      <p:sp>
        <p:nvSpPr>
          <p:cNvPr id="88" name="Freeform 5"/>
          <p:cNvSpPr>
            <a:spLocks noEditPoints="1"/>
          </p:cNvSpPr>
          <p:nvPr/>
        </p:nvSpPr>
        <p:spPr bwMode="auto">
          <a:xfrm>
            <a:off x="792161" y="4903289"/>
            <a:ext cx="259806" cy="292913"/>
          </a:xfrm>
          <a:custGeom>
            <a:avLst/>
            <a:gdLst/>
            <a:ahLst/>
            <a:cxnLst>
              <a:cxn ang="0">
                <a:pos x="109" y="245"/>
              </a:cxn>
              <a:cxn ang="0">
                <a:pos x="112" y="262"/>
              </a:cxn>
              <a:cxn ang="0">
                <a:pos x="160" y="246"/>
              </a:cxn>
              <a:cxn ang="0">
                <a:pos x="148" y="158"/>
              </a:cxn>
              <a:cxn ang="0">
                <a:pos x="138" y="162"/>
              </a:cxn>
              <a:cxn ang="0">
                <a:pos x="111" y="152"/>
              </a:cxn>
              <a:cxn ang="0">
                <a:pos x="116" y="162"/>
              </a:cxn>
              <a:cxn ang="0">
                <a:pos x="129" y="162"/>
              </a:cxn>
              <a:cxn ang="0">
                <a:pos x="138" y="171"/>
              </a:cxn>
              <a:cxn ang="0">
                <a:pos x="133" y="207"/>
              </a:cxn>
              <a:cxn ang="0">
                <a:pos x="127" y="171"/>
              </a:cxn>
              <a:cxn ang="0">
                <a:pos x="121" y="207"/>
              </a:cxn>
              <a:cxn ang="0">
                <a:pos x="116" y="171"/>
              </a:cxn>
              <a:cxn ang="0">
                <a:pos x="126" y="162"/>
              </a:cxn>
              <a:cxn ang="0">
                <a:pos x="158" y="266"/>
              </a:cxn>
              <a:cxn ang="0">
                <a:pos x="104" y="275"/>
              </a:cxn>
              <a:cxn ang="0">
                <a:pos x="149" y="259"/>
              </a:cxn>
              <a:cxn ang="0">
                <a:pos x="116" y="286"/>
              </a:cxn>
              <a:cxn ang="0">
                <a:pos x="148" y="280"/>
              </a:cxn>
              <a:cxn ang="0">
                <a:pos x="138" y="10"/>
              </a:cxn>
              <a:cxn ang="0">
                <a:pos x="128" y="47"/>
              </a:cxn>
              <a:cxn ang="0">
                <a:pos x="128" y="0"/>
              </a:cxn>
              <a:cxn ang="0">
                <a:pos x="37" y="52"/>
              </a:cxn>
              <a:cxn ang="0">
                <a:pos x="71" y="71"/>
              </a:cxn>
              <a:cxn ang="0">
                <a:pos x="37" y="37"/>
              </a:cxn>
              <a:cxn ang="0">
                <a:pos x="0" y="128"/>
              </a:cxn>
              <a:cxn ang="0">
                <a:pos x="47" y="128"/>
              </a:cxn>
              <a:cxn ang="0">
                <a:pos x="10" y="138"/>
              </a:cxn>
              <a:cxn ang="0">
                <a:pos x="255" y="128"/>
              </a:cxn>
              <a:cxn ang="0">
                <a:pos x="218" y="138"/>
              </a:cxn>
              <a:cxn ang="0">
                <a:pos x="218" y="118"/>
              </a:cxn>
              <a:cxn ang="0">
                <a:pos x="255" y="128"/>
              </a:cxn>
              <a:cxn ang="0">
                <a:pos x="185" y="56"/>
              </a:cxn>
              <a:cxn ang="0">
                <a:pos x="199" y="71"/>
              </a:cxn>
              <a:cxn ang="0">
                <a:pos x="218" y="37"/>
              </a:cxn>
              <a:cxn ang="0">
                <a:pos x="174" y="209"/>
              </a:cxn>
              <a:cxn ang="0">
                <a:pos x="142" y="236"/>
              </a:cxn>
              <a:cxn ang="0">
                <a:pos x="135" y="237"/>
              </a:cxn>
              <a:cxn ang="0">
                <a:pos x="108" y="241"/>
              </a:cxn>
              <a:cxn ang="0">
                <a:pos x="106" y="225"/>
              </a:cxn>
              <a:cxn ang="0">
                <a:pos x="126" y="222"/>
              </a:cxn>
              <a:cxn ang="0">
                <a:pos x="158" y="209"/>
              </a:cxn>
              <a:cxn ang="0">
                <a:pos x="181" y="131"/>
              </a:cxn>
              <a:cxn ang="0">
                <a:pos x="128" y="74"/>
              </a:cxn>
              <a:cxn ang="0">
                <a:pos x="81" y="159"/>
              </a:cxn>
              <a:cxn ang="0">
                <a:pos x="96" y="192"/>
              </a:cxn>
              <a:cxn ang="0">
                <a:pos x="98" y="211"/>
              </a:cxn>
              <a:cxn ang="0">
                <a:pos x="81" y="213"/>
              </a:cxn>
              <a:cxn ang="0">
                <a:pos x="71" y="175"/>
              </a:cxn>
              <a:cxn ang="0">
                <a:pos x="67" y="168"/>
              </a:cxn>
              <a:cxn ang="0">
                <a:pos x="128" y="58"/>
              </a:cxn>
              <a:cxn ang="0">
                <a:pos x="189" y="167"/>
              </a:cxn>
              <a:cxn ang="0">
                <a:pos x="186" y="171"/>
              </a:cxn>
            </a:cxnLst>
            <a:rect l="0" t="0" r="r" b="b"/>
            <a:pathLst>
              <a:path w="255" h="296">
                <a:moveTo>
                  <a:pt x="160" y="246"/>
                </a:moveTo>
                <a:cubicBezTo>
                  <a:pt x="160" y="241"/>
                  <a:pt x="155" y="238"/>
                  <a:pt x="150" y="239"/>
                </a:cubicBezTo>
                <a:cubicBezTo>
                  <a:pt x="109" y="245"/>
                  <a:pt x="109" y="245"/>
                  <a:pt x="109" y="245"/>
                </a:cubicBezTo>
                <a:cubicBezTo>
                  <a:pt x="105" y="246"/>
                  <a:pt x="102" y="250"/>
                  <a:pt x="102" y="255"/>
                </a:cubicBezTo>
                <a:cubicBezTo>
                  <a:pt x="102" y="255"/>
                  <a:pt x="102" y="255"/>
                  <a:pt x="102" y="255"/>
                </a:cubicBezTo>
                <a:cubicBezTo>
                  <a:pt x="102" y="259"/>
                  <a:pt x="107" y="262"/>
                  <a:pt x="112" y="262"/>
                </a:cubicBezTo>
                <a:cubicBezTo>
                  <a:pt x="153" y="255"/>
                  <a:pt x="153" y="255"/>
                  <a:pt x="153" y="255"/>
                </a:cubicBezTo>
                <a:cubicBezTo>
                  <a:pt x="157" y="254"/>
                  <a:pt x="160" y="250"/>
                  <a:pt x="160" y="246"/>
                </a:cubicBezTo>
                <a:cubicBezTo>
                  <a:pt x="160" y="246"/>
                  <a:pt x="160" y="246"/>
                  <a:pt x="160" y="246"/>
                </a:cubicBezTo>
                <a:close/>
                <a:moveTo>
                  <a:pt x="138" y="162"/>
                </a:moveTo>
                <a:cubicBezTo>
                  <a:pt x="138" y="162"/>
                  <a:pt x="138" y="162"/>
                  <a:pt x="138" y="162"/>
                </a:cubicBezTo>
                <a:cubicBezTo>
                  <a:pt x="142" y="162"/>
                  <a:pt x="145" y="161"/>
                  <a:pt x="148" y="158"/>
                </a:cubicBezTo>
                <a:cubicBezTo>
                  <a:pt x="149" y="158"/>
                  <a:pt x="150" y="157"/>
                  <a:pt x="150" y="156"/>
                </a:cubicBezTo>
                <a:cubicBezTo>
                  <a:pt x="155" y="148"/>
                  <a:pt x="147" y="149"/>
                  <a:pt x="143" y="152"/>
                </a:cubicBezTo>
                <a:cubicBezTo>
                  <a:pt x="140" y="155"/>
                  <a:pt x="138" y="158"/>
                  <a:pt x="138" y="162"/>
                </a:cubicBezTo>
                <a:cubicBezTo>
                  <a:pt x="138" y="162"/>
                  <a:pt x="138" y="162"/>
                  <a:pt x="138" y="162"/>
                </a:cubicBezTo>
                <a:close/>
                <a:moveTo>
                  <a:pt x="117" y="162"/>
                </a:moveTo>
                <a:cubicBezTo>
                  <a:pt x="116" y="158"/>
                  <a:pt x="114" y="155"/>
                  <a:pt x="111" y="152"/>
                </a:cubicBezTo>
                <a:cubicBezTo>
                  <a:pt x="108" y="149"/>
                  <a:pt x="99" y="148"/>
                  <a:pt x="104" y="156"/>
                </a:cubicBezTo>
                <a:cubicBezTo>
                  <a:pt x="105" y="157"/>
                  <a:pt x="105" y="158"/>
                  <a:pt x="106" y="158"/>
                </a:cubicBezTo>
                <a:cubicBezTo>
                  <a:pt x="110" y="161"/>
                  <a:pt x="112" y="162"/>
                  <a:pt x="116" y="162"/>
                </a:cubicBezTo>
                <a:cubicBezTo>
                  <a:pt x="117" y="162"/>
                  <a:pt x="117" y="162"/>
                  <a:pt x="117" y="162"/>
                </a:cubicBezTo>
                <a:close/>
                <a:moveTo>
                  <a:pt x="127" y="162"/>
                </a:moveTo>
                <a:cubicBezTo>
                  <a:pt x="129" y="162"/>
                  <a:pt x="129" y="162"/>
                  <a:pt x="129" y="162"/>
                </a:cubicBezTo>
                <a:cubicBezTo>
                  <a:pt x="129" y="155"/>
                  <a:pt x="132" y="150"/>
                  <a:pt x="137" y="145"/>
                </a:cubicBezTo>
                <a:cubicBezTo>
                  <a:pt x="154" y="131"/>
                  <a:pt x="171" y="152"/>
                  <a:pt x="154" y="166"/>
                </a:cubicBezTo>
                <a:cubicBezTo>
                  <a:pt x="149" y="170"/>
                  <a:pt x="144" y="171"/>
                  <a:pt x="138" y="171"/>
                </a:cubicBezTo>
                <a:cubicBezTo>
                  <a:pt x="138" y="171"/>
                  <a:pt x="138" y="171"/>
                  <a:pt x="138" y="171"/>
                </a:cubicBezTo>
                <a:cubicBezTo>
                  <a:pt x="138" y="202"/>
                  <a:pt x="138" y="202"/>
                  <a:pt x="138" y="202"/>
                </a:cubicBezTo>
                <a:cubicBezTo>
                  <a:pt x="138" y="205"/>
                  <a:pt x="136" y="207"/>
                  <a:pt x="133" y="207"/>
                </a:cubicBezTo>
                <a:cubicBezTo>
                  <a:pt x="131" y="207"/>
                  <a:pt x="128" y="205"/>
                  <a:pt x="128" y="202"/>
                </a:cubicBezTo>
                <a:cubicBezTo>
                  <a:pt x="128" y="171"/>
                  <a:pt x="128" y="171"/>
                  <a:pt x="128" y="171"/>
                </a:cubicBezTo>
                <a:cubicBezTo>
                  <a:pt x="127" y="171"/>
                  <a:pt x="127" y="171"/>
                  <a:pt x="127" y="171"/>
                </a:cubicBezTo>
                <a:cubicBezTo>
                  <a:pt x="126" y="171"/>
                  <a:pt x="126" y="171"/>
                  <a:pt x="126" y="171"/>
                </a:cubicBezTo>
                <a:cubicBezTo>
                  <a:pt x="126" y="202"/>
                  <a:pt x="126" y="202"/>
                  <a:pt x="126" y="202"/>
                </a:cubicBezTo>
                <a:cubicBezTo>
                  <a:pt x="126" y="205"/>
                  <a:pt x="124" y="207"/>
                  <a:pt x="121" y="207"/>
                </a:cubicBezTo>
                <a:cubicBezTo>
                  <a:pt x="119" y="207"/>
                  <a:pt x="117" y="205"/>
                  <a:pt x="117" y="202"/>
                </a:cubicBezTo>
                <a:cubicBezTo>
                  <a:pt x="117" y="171"/>
                  <a:pt x="117" y="171"/>
                  <a:pt x="117" y="171"/>
                </a:cubicBezTo>
                <a:cubicBezTo>
                  <a:pt x="116" y="171"/>
                  <a:pt x="116" y="171"/>
                  <a:pt x="116" y="171"/>
                </a:cubicBezTo>
                <a:cubicBezTo>
                  <a:pt x="110" y="171"/>
                  <a:pt x="105" y="170"/>
                  <a:pt x="100" y="166"/>
                </a:cubicBezTo>
                <a:cubicBezTo>
                  <a:pt x="83" y="152"/>
                  <a:pt x="101" y="131"/>
                  <a:pt x="117" y="145"/>
                </a:cubicBezTo>
                <a:cubicBezTo>
                  <a:pt x="123" y="150"/>
                  <a:pt x="125" y="155"/>
                  <a:pt x="126" y="162"/>
                </a:cubicBezTo>
                <a:cubicBezTo>
                  <a:pt x="127" y="162"/>
                  <a:pt x="127" y="162"/>
                  <a:pt x="127" y="162"/>
                </a:cubicBezTo>
                <a:close/>
                <a:moveTo>
                  <a:pt x="158" y="266"/>
                </a:moveTo>
                <a:cubicBezTo>
                  <a:pt x="158" y="266"/>
                  <a:pt x="158" y="266"/>
                  <a:pt x="158" y="266"/>
                </a:cubicBezTo>
                <a:cubicBezTo>
                  <a:pt x="158" y="271"/>
                  <a:pt x="156" y="275"/>
                  <a:pt x="151" y="276"/>
                </a:cubicBezTo>
                <a:cubicBezTo>
                  <a:pt x="113" y="282"/>
                  <a:pt x="113" y="282"/>
                  <a:pt x="113" y="282"/>
                </a:cubicBezTo>
                <a:cubicBezTo>
                  <a:pt x="109" y="283"/>
                  <a:pt x="104" y="280"/>
                  <a:pt x="104" y="275"/>
                </a:cubicBezTo>
                <a:cubicBezTo>
                  <a:pt x="104" y="275"/>
                  <a:pt x="104" y="275"/>
                  <a:pt x="104" y="275"/>
                </a:cubicBezTo>
                <a:cubicBezTo>
                  <a:pt x="104" y="271"/>
                  <a:pt x="107" y="267"/>
                  <a:pt x="111" y="266"/>
                </a:cubicBezTo>
                <a:cubicBezTo>
                  <a:pt x="149" y="259"/>
                  <a:pt x="149" y="259"/>
                  <a:pt x="149" y="259"/>
                </a:cubicBezTo>
                <a:cubicBezTo>
                  <a:pt x="153" y="259"/>
                  <a:pt x="158" y="262"/>
                  <a:pt x="158" y="266"/>
                </a:cubicBezTo>
                <a:close/>
                <a:moveTo>
                  <a:pt x="148" y="280"/>
                </a:moveTo>
                <a:cubicBezTo>
                  <a:pt x="116" y="286"/>
                  <a:pt x="116" y="286"/>
                  <a:pt x="116" y="286"/>
                </a:cubicBezTo>
                <a:cubicBezTo>
                  <a:pt x="119" y="292"/>
                  <a:pt x="125" y="296"/>
                  <a:pt x="132" y="296"/>
                </a:cubicBezTo>
                <a:cubicBezTo>
                  <a:pt x="132" y="296"/>
                  <a:pt x="132" y="296"/>
                  <a:pt x="132" y="296"/>
                </a:cubicBezTo>
                <a:cubicBezTo>
                  <a:pt x="140" y="296"/>
                  <a:pt x="148" y="289"/>
                  <a:pt x="148" y="280"/>
                </a:cubicBezTo>
                <a:close/>
                <a:moveTo>
                  <a:pt x="128" y="0"/>
                </a:moveTo>
                <a:cubicBezTo>
                  <a:pt x="128" y="0"/>
                  <a:pt x="128" y="0"/>
                  <a:pt x="128" y="0"/>
                </a:cubicBezTo>
                <a:cubicBezTo>
                  <a:pt x="133" y="0"/>
                  <a:pt x="138" y="5"/>
                  <a:pt x="138" y="10"/>
                </a:cubicBezTo>
                <a:cubicBezTo>
                  <a:pt x="138" y="37"/>
                  <a:pt x="138" y="37"/>
                  <a:pt x="138" y="37"/>
                </a:cubicBezTo>
                <a:cubicBezTo>
                  <a:pt x="138" y="42"/>
                  <a:pt x="133" y="47"/>
                  <a:pt x="128" y="47"/>
                </a:cubicBezTo>
                <a:cubicBezTo>
                  <a:pt x="128" y="47"/>
                  <a:pt x="128" y="47"/>
                  <a:pt x="128" y="47"/>
                </a:cubicBezTo>
                <a:cubicBezTo>
                  <a:pt x="122" y="47"/>
                  <a:pt x="117" y="42"/>
                  <a:pt x="117" y="37"/>
                </a:cubicBezTo>
                <a:cubicBezTo>
                  <a:pt x="117" y="10"/>
                  <a:pt x="117" y="10"/>
                  <a:pt x="117" y="10"/>
                </a:cubicBezTo>
                <a:cubicBezTo>
                  <a:pt x="117" y="5"/>
                  <a:pt x="122" y="0"/>
                  <a:pt x="128" y="0"/>
                </a:cubicBezTo>
                <a:cubicBezTo>
                  <a:pt x="128" y="0"/>
                  <a:pt x="128" y="0"/>
                  <a:pt x="128" y="0"/>
                </a:cubicBezTo>
                <a:close/>
                <a:moveTo>
                  <a:pt x="37" y="37"/>
                </a:moveTo>
                <a:cubicBezTo>
                  <a:pt x="33" y="41"/>
                  <a:pt x="33" y="48"/>
                  <a:pt x="37" y="52"/>
                </a:cubicBezTo>
                <a:cubicBezTo>
                  <a:pt x="56" y="71"/>
                  <a:pt x="56" y="71"/>
                  <a:pt x="56" y="71"/>
                </a:cubicBezTo>
                <a:cubicBezTo>
                  <a:pt x="60" y="75"/>
                  <a:pt x="67" y="75"/>
                  <a:pt x="71" y="71"/>
                </a:cubicBezTo>
                <a:cubicBezTo>
                  <a:pt x="71" y="71"/>
                  <a:pt x="71" y="71"/>
                  <a:pt x="71" y="71"/>
                </a:cubicBezTo>
                <a:cubicBezTo>
                  <a:pt x="75" y="67"/>
                  <a:pt x="75" y="60"/>
                  <a:pt x="71" y="56"/>
                </a:cubicBezTo>
                <a:cubicBezTo>
                  <a:pt x="52" y="37"/>
                  <a:pt x="52" y="37"/>
                  <a:pt x="52" y="37"/>
                </a:cubicBezTo>
                <a:cubicBezTo>
                  <a:pt x="48" y="33"/>
                  <a:pt x="41" y="33"/>
                  <a:pt x="37" y="37"/>
                </a:cubicBezTo>
                <a:cubicBezTo>
                  <a:pt x="37" y="37"/>
                  <a:pt x="37" y="37"/>
                  <a:pt x="37" y="37"/>
                </a:cubicBezTo>
                <a:close/>
                <a:moveTo>
                  <a:pt x="0" y="128"/>
                </a:moveTo>
                <a:cubicBezTo>
                  <a:pt x="0" y="128"/>
                  <a:pt x="0" y="128"/>
                  <a:pt x="0" y="128"/>
                </a:cubicBezTo>
                <a:cubicBezTo>
                  <a:pt x="0" y="122"/>
                  <a:pt x="5" y="117"/>
                  <a:pt x="10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42" y="117"/>
                  <a:pt x="47" y="122"/>
                  <a:pt x="47" y="128"/>
                </a:cubicBezTo>
                <a:cubicBezTo>
                  <a:pt x="47" y="128"/>
                  <a:pt x="47" y="128"/>
                  <a:pt x="47" y="128"/>
                </a:cubicBezTo>
                <a:cubicBezTo>
                  <a:pt x="47" y="133"/>
                  <a:pt x="42" y="138"/>
                  <a:pt x="37" y="138"/>
                </a:cubicBezTo>
                <a:cubicBezTo>
                  <a:pt x="10" y="138"/>
                  <a:pt x="10" y="138"/>
                  <a:pt x="10" y="138"/>
                </a:cubicBezTo>
                <a:cubicBezTo>
                  <a:pt x="5" y="138"/>
                  <a:pt x="0" y="133"/>
                  <a:pt x="0" y="128"/>
                </a:cubicBezTo>
                <a:cubicBezTo>
                  <a:pt x="0" y="128"/>
                  <a:pt x="0" y="128"/>
                  <a:pt x="0" y="128"/>
                </a:cubicBezTo>
                <a:close/>
                <a:moveTo>
                  <a:pt x="255" y="128"/>
                </a:moveTo>
                <a:cubicBezTo>
                  <a:pt x="255" y="128"/>
                  <a:pt x="255" y="128"/>
                  <a:pt x="255" y="128"/>
                </a:cubicBezTo>
                <a:cubicBezTo>
                  <a:pt x="255" y="133"/>
                  <a:pt x="251" y="138"/>
                  <a:pt x="245" y="138"/>
                </a:cubicBezTo>
                <a:cubicBezTo>
                  <a:pt x="218" y="138"/>
                  <a:pt x="218" y="138"/>
                  <a:pt x="218" y="138"/>
                </a:cubicBezTo>
                <a:cubicBezTo>
                  <a:pt x="213" y="138"/>
                  <a:pt x="208" y="133"/>
                  <a:pt x="208" y="128"/>
                </a:cubicBezTo>
                <a:cubicBezTo>
                  <a:pt x="208" y="128"/>
                  <a:pt x="208" y="128"/>
                  <a:pt x="208" y="128"/>
                </a:cubicBezTo>
                <a:cubicBezTo>
                  <a:pt x="208" y="122"/>
                  <a:pt x="213" y="118"/>
                  <a:pt x="218" y="118"/>
                </a:cubicBezTo>
                <a:cubicBezTo>
                  <a:pt x="245" y="118"/>
                  <a:pt x="245" y="118"/>
                  <a:pt x="245" y="118"/>
                </a:cubicBezTo>
                <a:cubicBezTo>
                  <a:pt x="251" y="118"/>
                  <a:pt x="255" y="122"/>
                  <a:pt x="255" y="128"/>
                </a:cubicBezTo>
                <a:cubicBezTo>
                  <a:pt x="255" y="128"/>
                  <a:pt x="255" y="128"/>
                  <a:pt x="255" y="128"/>
                </a:cubicBezTo>
                <a:close/>
                <a:moveTo>
                  <a:pt x="218" y="37"/>
                </a:moveTo>
                <a:cubicBezTo>
                  <a:pt x="214" y="33"/>
                  <a:pt x="207" y="33"/>
                  <a:pt x="203" y="37"/>
                </a:cubicBezTo>
                <a:cubicBezTo>
                  <a:pt x="185" y="56"/>
                  <a:pt x="185" y="56"/>
                  <a:pt x="185" y="56"/>
                </a:cubicBezTo>
                <a:cubicBezTo>
                  <a:pt x="181" y="60"/>
                  <a:pt x="181" y="67"/>
                  <a:pt x="185" y="71"/>
                </a:cubicBezTo>
                <a:cubicBezTo>
                  <a:pt x="185" y="71"/>
                  <a:pt x="185" y="71"/>
                  <a:pt x="185" y="71"/>
                </a:cubicBezTo>
                <a:cubicBezTo>
                  <a:pt x="189" y="75"/>
                  <a:pt x="195" y="75"/>
                  <a:pt x="199" y="71"/>
                </a:cubicBezTo>
                <a:cubicBezTo>
                  <a:pt x="218" y="52"/>
                  <a:pt x="218" y="52"/>
                  <a:pt x="218" y="52"/>
                </a:cubicBezTo>
                <a:cubicBezTo>
                  <a:pt x="222" y="48"/>
                  <a:pt x="222" y="41"/>
                  <a:pt x="218" y="37"/>
                </a:cubicBezTo>
                <a:cubicBezTo>
                  <a:pt x="218" y="37"/>
                  <a:pt x="218" y="37"/>
                  <a:pt x="218" y="37"/>
                </a:cubicBezTo>
                <a:close/>
                <a:moveTo>
                  <a:pt x="184" y="175"/>
                </a:moveTo>
                <a:cubicBezTo>
                  <a:pt x="177" y="186"/>
                  <a:pt x="174" y="195"/>
                  <a:pt x="174" y="208"/>
                </a:cubicBezTo>
                <a:cubicBezTo>
                  <a:pt x="174" y="209"/>
                  <a:pt x="174" y="209"/>
                  <a:pt x="174" y="209"/>
                </a:cubicBezTo>
                <a:cubicBezTo>
                  <a:pt x="174" y="210"/>
                  <a:pt x="174" y="210"/>
                  <a:pt x="174" y="210"/>
                </a:cubicBezTo>
                <a:cubicBezTo>
                  <a:pt x="174" y="214"/>
                  <a:pt x="173" y="217"/>
                  <a:pt x="171" y="221"/>
                </a:cubicBezTo>
                <a:cubicBezTo>
                  <a:pt x="165" y="231"/>
                  <a:pt x="153" y="234"/>
                  <a:pt x="142" y="236"/>
                </a:cubicBezTo>
                <a:cubicBezTo>
                  <a:pt x="140" y="236"/>
                  <a:pt x="138" y="237"/>
                  <a:pt x="136" y="237"/>
                </a:cubicBezTo>
                <a:cubicBezTo>
                  <a:pt x="135" y="237"/>
                  <a:pt x="135" y="237"/>
                  <a:pt x="135" y="237"/>
                </a:cubicBezTo>
                <a:cubicBezTo>
                  <a:pt x="135" y="237"/>
                  <a:pt x="135" y="237"/>
                  <a:pt x="135" y="237"/>
                </a:cubicBezTo>
                <a:cubicBezTo>
                  <a:pt x="132" y="238"/>
                  <a:pt x="128" y="238"/>
                  <a:pt x="125" y="239"/>
                </a:cubicBezTo>
                <a:cubicBezTo>
                  <a:pt x="125" y="239"/>
                  <a:pt x="125" y="239"/>
                  <a:pt x="125" y="239"/>
                </a:cubicBezTo>
                <a:cubicBezTo>
                  <a:pt x="108" y="241"/>
                  <a:pt x="108" y="241"/>
                  <a:pt x="108" y="241"/>
                </a:cubicBezTo>
                <a:cubicBezTo>
                  <a:pt x="104" y="242"/>
                  <a:pt x="100" y="239"/>
                  <a:pt x="99" y="234"/>
                </a:cubicBezTo>
                <a:cubicBezTo>
                  <a:pt x="99" y="234"/>
                  <a:pt x="99" y="234"/>
                  <a:pt x="99" y="234"/>
                </a:cubicBezTo>
                <a:cubicBezTo>
                  <a:pt x="98" y="230"/>
                  <a:pt x="101" y="225"/>
                  <a:pt x="106" y="225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5" y="222"/>
                  <a:pt x="125" y="222"/>
                  <a:pt x="125" y="222"/>
                </a:cubicBezTo>
                <a:cubicBezTo>
                  <a:pt x="126" y="222"/>
                  <a:pt x="126" y="222"/>
                  <a:pt x="126" y="222"/>
                </a:cubicBezTo>
                <a:cubicBezTo>
                  <a:pt x="133" y="221"/>
                  <a:pt x="133" y="221"/>
                  <a:pt x="133" y="221"/>
                </a:cubicBezTo>
                <a:cubicBezTo>
                  <a:pt x="133" y="221"/>
                  <a:pt x="133" y="221"/>
                  <a:pt x="134" y="221"/>
                </a:cubicBezTo>
                <a:cubicBezTo>
                  <a:pt x="150" y="218"/>
                  <a:pt x="157" y="216"/>
                  <a:pt x="158" y="209"/>
                </a:cubicBezTo>
                <a:cubicBezTo>
                  <a:pt x="157" y="196"/>
                  <a:pt x="159" y="184"/>
                  <a:pt x="170" y="166"/>
                </a:cubicBezTo>
                <a:cubicBezTo>
                  <a:pt x="171" y="165"/>
                  <a:pt x="174" y="159"/>
                  <a:pt x="174" y="159"/>
                </a:cubicBezTo>
                <a:cubicBezTo>
                  <a:pt x="179" y="151"/>
                  <a:pt x="181" y="141"/>
                  <a:pt x="181" y="131"/>
                </a:cubicBezTo>
                <a:cubicBezTo>
                  <a:pt x="181" y="100"/>
                  <a:pt x="157" y="74"/>
                  <a:pt x="128" y="74"/>
                </a:cubicBezTo>
                <a:cubicBezTo>
                  <a:pt x="128" y="74"/>
                  <a:pt x="128" y="74"/>
                  <a:pt x="128" y="74"/>
                </a:cubicBezTo>
                <a:cubicBezTo>
                  <a:pt x="128" y="74"/>
                  <a:pt x="128" y="74"/>
                  <a:pt x="128" y="74"/>
                </a:cubicBezTo>
                <a:cubicBezTo>
                  <a:pt x="128" y="74"/>
                  <a:pt x="128" y="74"/>
                  <a:pt x="128" y="74"/>
                </a:cubicBezTo>
                <a:cubicBezTo>
                  <a:pt x="98" y="74"/>
                  <a:pt x="74" y="100"/>
                  <a:pt x="74" y="131"/>
                </a:cubicBezTo>
                <a:cubicBezTo>
                  <a:pt x="74" y="141"/>
                  <a:pt x="76" y="151"/>
                  <a:pt x="81" y="159"/>
                </a:cubicBezTo>
                <a:cubicBezTo>
                  <a:pt x="81" y="159"/>
                  <a:pt x="85" y="165"/>
                  <a:pt x="85" y="166"/>
                </a:cubicBezTo>
                <a:cubicBezTo>
                  <a:pt x="91" y="176"/>
                  <a:pt x="95" y="184"/>
                  <a:pt x="96" y="192"/>
                </a:cubicBezTo>
                <a:cubicBezTo>
                  <a:pt x="96" y="192"/>
                  <a:pt x="96" y="192"/>
                  <a:pt x="96" y="192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6" y="193"/>
                  <a:pt x="96" y="194"/>
                  <a:pt x="96" y="194"/>
                </a:cubicBezTo>
                <a:cubicBezTo>
                  <a:pt x="98" y="211"/>
                  <a:pt x="98" y="211"/>
                  <a:pt x="98" y="211"/>
                </a:cubicBezTo>
                <a:cubicBezTo>
                  <a:pt x="98" y="216"/>
                  <a:pt x="95" y="220"/>
                  <a:pt x="90" y="220"/>
                </a:cubicBezTo>
                <a:cubicBezTo>
                  <a:pt x="90" y="220"/>
                  <a:pt x="90" y="220"/>
                  <a:pt x="90" y="220"/>
                </a:cubicBezTo>
                <a:cubicBezTo>
                  <a:pt x="86" y="220"/>
                  <a:pt x="82" y="217"/>
                  <a:pt x="81" y="213"/>
                </a:cubicBezTo>
                <a:cubicBezTo>
                  <a:pt x="80" y="194"/>
                  <a:pt x="80" y="194"/>
                  <a:pt x="80" y="194"/>
                </a:cubicBezTo>
                <a:cubicBezTo>
                  <a:pt x="79" y="192"/>
                  <a:pt x="79" y="192"/>
                  <a:pt x="79" y="192"/>
                </a:cubicBezTo>
                <a:cubicBezTo>
                  <a:pt x="78" y="186"/>
                  <a:pt x="75" y="181"/>
                  <a:pt x="71" y="175"/>
                </a:cubicBezTo>
                <a:cubicBezTo>
                  <a:pt x="71" y="174"/>
                  <a:pt x="70" y="172"/>
                  <a:pt x="69" y="171"/>
                </a:cubicBezTo>
                <a:cubicBezTo>
                  <a:pt x="69" y="170"/>
                  <a:pt x="68" y="170"/>
                  <a:pt x="67" y="169"/>
                </a:cubicBezTo>
                <a:cubicBezTo>
                  <a:pt x="67" y="168"/>
                  <a:pt x="67" y="168"/>
                  <a:pt x="67" y="168"/>
                </a:cubicBezTo>
                <a:cubicBezTo>
                  <a:pt x="67" y="167"/>
                  <a:pt x="67" y="167"/>
                  <a:pt x="66" y="167"/>
                </a:cubicBezTo>
                <a:cubicBezTo>
                  <a:pt x="60" y="156"/>
                  <a:pt x="57" y="143"/>
                  <a:pt x="57" y="131"/>
                </a:cubicBezTo>
                <a:cubicBezTo>
                  <a:pt x="57" y="92"/>
                  <a:pt x="88" y="58"/>
                  <a:pt x="128" y="58"/>
                </a:cubicBezTo>
                <a:cubicBezTo>
                  <a:pt x="128" y="58"/>
                  <a:pt x="128" y="58"/>
                  <a:pt x="128" y="58"/>
                </a:cubicBezTo>
                <a:cubicBezTo>
                  <a:pt x="167" y="58"/>
                  <a:pt x="198" y="92"/>
                  <a:pt x="198" y="131"/>
                </a:cubicBezTo>
                <a:cubicBezTo>
                  <a:pt x="198" y="143"/>
                  <a:pt x="195" y="156"/>
                  <a:pt x="189" y="167"/>
                </a:cubicBezTo>
                <a:cubicBezTo>
                  <a:pt x="189" y="167"/>
                  <a:pt x="189" y="167"/>
                  <a:pt x="188" y="168"/>
                </a:cubicBezTo>
                <a:cubicBezTo>
                  <a:pt x="188" y="168"/>
                  <a:pt x="188" y="168"/>
                  <a:pt x="188" y="169"/>
                </a:cubicBezTo>
                <a:cubicBezTo>
                  <a:pt x="187" y="170"/>
                  <a:pt x="187" y="170"/>
                  <a:pt x="186" y="171"/>
                </a:cubicBezTo>
                <a:cubicBezTo>
                  <a:pt x="185" y="172"/>
                  <a:pt x="185" y="174"/>
                  <a:pt x="184" y="17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200">
              <a:solidFill>
                <a:prstClr val="black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>
            <a:off x="791604" y="5968178"/>
            <a:ext cx="297863" cy="210682"/>
            <a:chOff x="6210300" y="2060576"/>
            <a:chExt cx="660400" cy="420688"/>
          </a:xfrm>
          <a:solidFill>
            <a:schemeClr val="bg1"/>
          </a:solidFill>
        </p:grpSpPr>
        <p:sp>
          <p:nvSpPr>
            <p:cNvPr id="90" name="Freeform 92"/>
            <p:cNvSpPr>
              <a:spLocks noEditPoints="1"/>
            </p:cNvSpPr>
            <p:nvPr/>
          </p:nvSpPr>
          <p:spPr bwMode="auto">
            <a:xfrm>
              <a:off x="6210300" y="2100264"/>
              <a:ext cx="660400" cy="352425"/>
            </a:xfrm>
            <a:custGeom>
              <a:avLst/>
              <a:gdLst/>
              <a:ahLst/>
              <a:cxnLst>
                <a:cxn ang="0">
                  <a:pos x="152" y="38"/>
                </a:cxn>
                <a:cxn ang="0">
                  <a:pos x="156" y="8"/>
                </a:cxn>
                <a:cxn ang="0">
                  <a:pos x="123" y="0"/>
                </a:cxn>
                <a:cxn ang="0">
                  <a:pos x="59" y="64"/>
                </a:cxn>
                <a:cxn ang="0">
                  <a:pos x="102" y="139"/>
                </a:cxn>
                <a:cxn ang="0">
                  <a:pos x="102" y="164"/>
                </a:cxn>
                <a:cxn ang="0">
                  <a:pos x="0" y="246"/>
                </a:cxn>
                <a:cxn ang="0">
                  <a:pos x="83" y="258"/>
                </a:cxn>
                <a:cxn ang="0">
                  <a:pos x="84" y="245"/>
                </a:cxn>
                <a:cxn ang="0">
                  <a:pos x="113" y="170"/>
                </a:cxn>
                <a:cxn ang="0">
                  <a:pos x="201" y="134"/>
                </a:cxn>
                <a:cxn ang="0">
                  <a:pos x="201" y="134"/>
                </a:cxn>
                <a:cxn ang="0">
                  <a:pos x="152" y="38"/>
                </a:cxn>
                <a:cxn ang="0">
                  <a:pos x="481" y="228"/>
                </a:cxn>
                <a:cxn ang="0">
                  <a:pos x="382" y="164"/>
                </a:cxn>
                <a:cxn ang="0">
                  <a:pos x="382" y="139"/>
                </a:cxn>
                <a:cxn ang="0">
                  <a:pos x="425" y="64"/>
                </a:cxn>
                <a:cxn ang="0">
                  <a:pos x="361" y="0"/>
                </a:cxn>
                <a:cxn ang="0">
                  <a:pos x="328" y="8"/>
                </a:cxn>
                <a:cxn ang="0">
                  <a:pos x="332" y="38"/>
                </a:cxn>
                <a:cxn ang="0">
                  <a:pos x="283" y="134"/>
                </a:cxn>
                <a:cxn ang="0">
                  <a:pos x="283" y="134"/>
                </a:cxn>
                <a:cxn ang="0">
                  <a:pos x="369" y="167"/>
                </a:cxn>
                <a:cxn ang="0">
                  <a:pos x="401" y="245"/>
                </a:cxn>
                <a:cxn ang="0">
                  <a:pos x="401" y="258"/>
                </a:cxn>
                <a:cxn ang="0">
                  <a:pos x="485" y="246"/>
                </a:cxn>
                <a:cxn ang="0">
                  <a:pos x="481" y="228"/>
                </a:cxn>
              </a:cxnLst>
              <a:rect l="0" t="0" r="r" b="b"/>
              <a:pathLst>
                <a:path w="485" h="258">
                  <a:moveTo>
                    <a:pt x="152" y="38"/>
                  </a:moveTo>
                  <a:cubicBezTo>
                    <a:pt x="152" y="28"/>
                    <a:pt x="154" y="18"/>
                    <a:pt x="156" y="8"/>
                  </a:cubicBezTo>
                  <a:cubicBezTo>
                    <a:pt x="147" y="3"/>
                    <a:pt x="135" y="0"/>
                    <a:pt x="123" y="0"/>
                  </a:cubicBezTo>
                  <a:cubicBezTo>
                    <a:pt x="88" y="0"/>
                    <a:pt x="59" y="25"/>
                    <a:pt x="59" y="64"/>
                  </a:cubicBezTo>
                  <a:cubicBezTo>
                    <a:pt x="59" y="96"/>
                    <a:pt x="77" y="127"/>
                    <a:pt x="102" y="139"/>
                  </a:cubicBezTo>
                  <a:cubicBezTo>
                    <a:pt x="102" y="164"/>
                    <a:pt x="102" y="164"/>
                    <a:pt x="102" y="164"/>
                  </a:cubicBezTo>
                  <a:cubicBezTo>
                    <a:pt x="22" y="169"/>
                    <a:pt x="6" y="203"/>
                    <a:pt x="0" y="246"/>
                  </a:cubicBezTo>
                  <a:cubicBezTo>
                    <a:pt x="83" y="258"/>
                    <a:pt x="83" y="258"/>
                    <a:pt x="83" y="258"/>
                  </a:cubicBezTo>
                  <a:cubicBezTo>
                    <a:pt x="84" y="245"/>
                    <a:pt x="84" y="245"/>
                    <a:pt x="84" y="245"/>
                  </a:cubicBezTo>
                  <a:cubicBezTo>
                    <a:pt x="88" y="218"/>
                    <a:pt x="94" y="191"/>
                    <a:pt x="113" y="170"/>
                  </a:cubicBezTo>
                  <a:cubicBezTo>
                    <a:pt x="131" y="152"/>
                    <a:pt x="159" y="139"/>
                    <a:pt x="201" y="134"/>
                  </a:cubicBezTo>
                  <a:cubicBezTo>
                    <a:pt x="201" y="134"/>
                    <a:pt x="201" y="134"/>
                    <a:pt x="201" y="134"/>
                  </a:cubicBezTo>
                  <a:cubicBezTo>
                    <a:pt x="173" y="116"/>
                    <a:pt x="152" y="79"/>
                    <a:pt x="152" y="38"/>
                  </a:cubicBezTo>
                  <a:close/>
                  <a:moveTo>
                    <a:pt x="481" y="228"/>
                  </a:moveTo>
                  <a:cubicBezTo>
                    <a:pt x="472" y="194"/>
                    <a:pt x="450" y="168"/>
                    <a:pt x="382" y="164"/>
                  </a:cubicBezTo>
                  <a:cubicBezTo>
                    <a:pt x="382" y="139"/>
                    <a:pt x="382" y="139"/>
                    <a:pt x="382" y="139"/>
                  </a:cubicBezTo>
                  <a:cubicBezTo>
                    <a:pt x="407" y="127"/>
                    <a:pt x="425" y="96"/>
                    <a:pt x="425" y="64"/>
                  </a:cubicBezTo>
                  <a:cubicBezTo>
                    <a:pt x="425" y="25"/>
                    <a:pt x="396" y="0"/>
                    <a:pt x="361" y="0"/>
                  </a:cubicBezTo>
                  <a:cubicBezTo>
                    <a:pt x="349" y="0"/>
                    <a:pt x="338" y="3"/>
                    <a:pt x="328" y="8"/>
                  </a:cubicBezTo>
                  <a:cubicBezTo>
                    <a:pt x="331" y="18"/>
                    <a:pt x="332" y="28"/>
                    <a:pt x="332" y="38"/>
                  </a:cubicBezTo>
                  <a:cubicBezTo>
                    <a:pt x="332" y="79"/>
                    <a:pt x="312" y="116"/>
                    <a:pt x="283" y="134"/>
                  </a:cubicBezTo>
                  <a:cubicBezTo>
                    <a:pt x="283" y="134"/>
                    <a:pt x="283" y="134"/>
                    <a:pt x="283" y="134"/>
                  </a:cubicBezTo>
                  <a:cubicBezTo>
                    <a:pt x="324" y="139"/>
                    <a:pt x="352" y="150"/>
                    <a:pt x="369" y="167"/>
                  </a:cubicBezTo>
                  <a:cubicBezTo>
                    <a:pt x="390" y="188"/>
                    <a:pt x="397" y="217"/>
                    <a:pt x="401" y="245"/>
                  </a:cubicBezTo>
                  <a:cubicBezTo>
                    <a:pt x="401" y="258"/>
                    <a:pt x="401" y="258"/>
                    <a:pt x="401" y="258"/>
                  </a:cubicBezTo>
                  <a:cubicBezTo>
                    <a:pt x="485" y="246"/>
                    <a:pt x="485" y="246"/>
                    <a:pt x="485" y="246"/>
                  </a:cubicBezTo>
                  <a:cubicBezTo>
                    <a:pt x="484" y="240"/>
                    <a:pt x="483" y="234"/>
                    <a:pt x="481" y="2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1" name="Freeform 93"/>
            <p:cNvSpPr>
              <a:spLocks/>
            </p:cNvSpPr>
            <p:nvPr/>
          </p:nvSpPr>
          <p:spPr bwMode="auto">
            <a:xfrm>
              <a:off x="6440488" y="2060576"/>
              <a:ext cx="198438" cy="223838"/>
            </a:xfrm>
            <a:custGeom>
              <a:avLst/>
              <a:gdLst/>
              <a:ahLst/>
              <a:cxnLst>
                <a:cxn ang="0">
                  <a:pos x="73" y="165"/>
                </a:cxn>
                <a:cxn ang="0">
                  <a:pos x="97" y="159"/>
                </a:cxn>
                <a:cxn ang="0">
                  <a:pos x="146" y="74"/>
                </a:cxn>
                <a:cxn ang="0">
                  <a:pos x="73" y="0"/>
                </a:cxn>
                <a:cxn ang="0">
                  <a:pos x="0" y="74"/>
                </a:cxn>
                <a:cxn ang="0">
                  <a:pos x="49" y="159"/>
                </a:cxn>
                <a:cxn ang="0">
                  <a:pos x="73" y="165"/>
                </a:cxn>
              </a:cxnLst>
              <a:rect l="0" t="0" r="r" b="b"/>
              <a:pathLst>
                <a:path w="146" h="165">
                  <a:moveTo>
                    <a:pt x="73" y="165"/>
                  </a:moveTo>
                  <a:cubicBezTo>
                    <a:pt x="86" y="165"/>
                    <a:pt x="97" y="159"/>
                    <a:pt x="97" y="159"/>
                  </a:cubicBezTo>
                  <a:cubicBezTo>
                    <a:pt x="126" y="146"/>
                    <a:pt x="146" y="110"/>
                    <a:pt x="146" y="74"/>
                  </a:cubicBezTo>
                  <a:cubicBezTo>
                    <a:pt x="146" y="28"/>
                    <a:pt x="114" y="0"/>
                    <a:pt x="73" y="0"/>
                  </a:cubicBezTo>
                  <a:cubicBezTo>
                    <a:pt x="33" y="0"/>
                    <a:pt x="0" y="28"/>
                    <a:pt x="0" y="74"/>
                  </a:cubicBezTo>
                  <a:cubicBezTo>
                    <a:pt x="0" y="110"/>
                    <a:pt x="21" y="146"/>
                    <a:pt x="49" y="159"/>
                  </a:cubicBezTo>
                  <a:cubicBezTo>
                    <a:pt x="49" y="159"/>
                    <a:pt x="61" y="165"/>
                    <a:pt x="73" y="16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2" name="Freeform 94"/>
            <p:cNvSpPr>
              <a:spLocks/>
            </p:cNvSpPr>
            <p:nvPr/>
          </p:nvSpPr>
          <p:spPr bwMode="auto">
            <a:xfrm>
              <a:off x="6557963" y="2303464"/>
              <a:ext cx="174625" cy="177800"/>
            </a:xfrm>
            <a:custGeom>
              <a:avLst/>
              <a:gdLst/>
              <a:ahLst/>
              <a:cxnLst>
                <a:cxn ang="0">
                  <a:pos x="126" y="81"/>
                </a:cxn>
                <a:cxn ang="0">
                  <a:pos x="29" y="0"/>
                </a:cxn>
                <a:cxn ang="0">
                  <a:pos x="0" y="131"/>
                </a:cxn>
                <a:cxn ang="0">
                  <a:pos x="129" y="118"/>
                </a:cxn>
                <a:cxn ang="0">
                  <a:pos x="126" y="81"/>
                </a:cxn>
              </a:cxnLst>
              <a:rect l="0" t="0" r="r" b="b"/>
              <a:pathLst>
                <a:path w="129" h="131">
                  <a:moveTo>
                    <a:pt x="126" y="81"/>
                  </a:moveTo>
                  <a:cubicBezTo>
                    <a:pt x="118" y="39"/>
                    <a:pt x="104" y="7"/>
                    <a:pt x="29" y="0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90" y="130"/>
                    <a:pt x="129" y="118"/>
                    <a:pt x="129" y="118"/>
                  </a:cubicBezTo>
                  <a:cubicBezTo>
                    <a:pt x="128" y="114"/>
                    <a:pt x="127" y="85"/>
                    <a:pt x="126" y="8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3" name="Freeform 95"/>
            <p:cNvSpPr>
              <a:spLocks/>
            </p:cNvSpPr>
            <p:nvPr/>
          </p:nvSpPr>
          <p:spPr bwMode="auto">
            <a:xfrm>
              <a:off x="6348413" y="2303464"/>
              <a:ext cx="174625" cy="177800"/>
            </a:xfrm>
            <a:custGeom>
              <a:avLst/>
              <a:gdLst/>
              <a:ahLst/>
              <a:cxnLst>
                <a:cxn ang="0">
                  <a:pos x="1" y="83"/>
                </a:cxn>
                <a:cxn ang="0">
                  <a:pos x="0" y="118"/>
                </a:cxn>
                <a:cxn ang="0">
                  <a:pos x="129" y="131"/>
                </a:cxn>
                <a:cxn ang="0">
                  <a:pos x="99" y="0"/>
                </a:cxn>
                <a:cxn ang="0">
                  <a:pos x="1" y="83"/>
                </a:cxn>
              </a:cxnLst>
              <a:rect l="0" t="0" r="r" b="b"/>
              <a:pathLst>
                <a:path w="129" h="131">
                  <a:moveTo>
                    <a:pt x="1" y="83"/>
                  </a:moveTo>
                  <a:cubicBezTo>
                    <a:pt x="1" y="86"/>
                    <a:pt x="0" y="114"/>
                    <a:pt x="0" y="118"/>
                  </a:cubicBezTo>
                  <a:cubicBezTo>
                    <a:pt x="0" y="118"/>
                    <a:pt x="33" y="130"/>
                    <a:pt x="129" y="13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22" y="7"/>
                    <a:pt x="10" y="40"/>
                    <a:pt x="1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4" name="Freeform 96"/>
            <p:cNvSpPr>
              <a:spLocks/>
            </p:cNvSpPr>
            <p:nvPr/>
          </p:nvSpPr>
          <p:spPr bwMode="auto">
            <a:xfrm>
              <a:off x="6519863" y="2305051"/>
              <a:ext cx="41275" cy="22225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0" y="0"/>
                </a:cxn>
                <a:cxn ang="0">
                  <a:pos x="7" y="17"/>
                </a:cxn>
                <a:cxn ang="0">
                  <a:pos x="24" y="17"/>
                </a:cxn>
                <a:cxn ang="0">
                  <a:pos x="31" y="0"/>
                </a:cxn>
                <a:cxn ang="0">
                  <a:pos x="15" y="2"/>
                </a:cxn>
              </a:cxnLst>
              <a:rect l="0" t="0" r="r" b="b"/>
              <a:pathLst>
                <a:path w="31" h="17">
                  <a:moveTo>
                    <a:pt x="15" y="2"/>
                  </a:moveTo>
                  <a:cubicBezTo>
                    <a:pt x="7" y="2"/>
                    <a:pt x="0" y="0"/>
                    <a:pt x="0" y="0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25" y="2"/>
                    <a:pt x="15" y="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5" name="Freeform 97"/>
            <p:cNvSpPr>
              <a:spLocks/>
            </p:cNvSpPr>
            <p:nvPr/>
          </p:nvSpPr>
          <p:spPr bwMode="auto">
            <a:xfrm>
              <a:off x="6519863" y="2343151"/>
              <a:ext cx="41275" cy="134938"/>
            </a:xfrm>
            <a:custGeom>
              <a:avLst/>
              <a:gdLst/>
              <a:ahLst/>
              <a:cxnLst>
                <a:cxn ang="0">
                  <a:pos x="26" y="25"/>
                </a:cxn>
                <a:cxn ang="0">
                  <a:pos x="20" y="0"/>
                </a:cxn>
                <a:cxn ang="0">
                  <a:pos x="6" y="0"/>
                </a:cxn>
                <a:cxn ang="0">
                  <a:pos x="0" y="26"/>
                </a:cxn>
                <a:cxn ang="0">
                  <a:pos x="13" y="85"/>
                </a:cxn>
                <a:cxn ang="0">
                  <a:pos x="26" y="25"/>
                </a:cxn>
              </a:cxnLst>
              <a:rect l="0" t="0" r="r" b="b"/>
              <a:pathLst>
                <a:path w="26" h="85">
                  <a:moveTo>
                    <a:pt x="26" y="25"/>
                  </a:moveTo>
                  <a:lnTo>
                    <a:pt x="20" y="0"/>
                  </a:lnTo>
                  <a:lnTo>
                    <a:pt x="6" y="0"/>
                  </a:lnTo>
                  <a:lnTo>
                    <a:pt x="0" y="26"/>
                  </a:lnTo>
                  <a:lnTo>
                    <a:pt x="13" y="85"/>
                  </a:lnTo>
                  <a:lnTo>
                    <a:pt x="26" y="2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  <p:sp>
          <p:nvSpPr>
            <p:cNvPr id="96" name="Freeform 98"/>
            <p:cNvSpPr>
              <a:spLocks/>
            </p:cNvSpPr>
            <p:nvPr/>
          </p:nvSpPr>
          <p:spPr bwMode="auto">
            <a:xfrm>
              <a:off x="6604000" y="2400301"/>
              <a:ext cx="68263" cy="17463"/>
            </a:xfrm>
            <a:custGeom>
              <a:avLst/>
              <a:gdLst/>
              <a:ahLst/>
              <a:cxnLst>
                <a:cxn ang="0">
                  <a:pos x="43" y="11"/>
                </a:cxn>
                <a:cxn ang="0">
                  <a:pos x="0" y="11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43" y="0"/>
                </a:cxn>
                <a:cxn ang="0">
                  <a:pos x="43" y="11"/>
                </a:cxn>
              </a:cxnLst>
              <a:rect l="0" t="0" r="r" b="b"/>
              <a:pathLst>
                <a:path w="43" h="11">
                  <a:moveTo>
                    <a:pt x="43" y="11"/>
                  </a:moveTo>
                  <a:lnTo>
                    <a:pt x="0" y="11"/>
                  </a:lnTo>
                  <a:lnTo>
                    <a:pt x="0" y="0"/>
                  </a:lnTo>
                  <a:lnTo>
                    <a:pt x="26" y="0"/>
                  </a:lnTo>
                  <a:lnTo>
                    <a:pt x="43" y="0"/>
                  </a:lnTo>
                  <a:lnTo>
                    <a:pt x="43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/>
            </a:p>
          </p:txBody>
        </p:sp>
      </p:grpSp>
    </p:spTree>
    <p:extLst>
      <p:ext uri="{BB962C8B-B14F-4D97-AF65-F5344CB8AC3E}">
        <p14:creationId xmlns:p14="http://schemas.microsoft.com/office/powerpoint/2010/main" val="3565480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188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4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800" dirty="0" smtClean="0"/>
              <a:t>Цифровой банк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3228528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При создании цифрового банка, необходимо уделять внимание не только функционалу фронт, </a:t>
            </a:r>
            <a:r>
              <a:rPr lang="ru-RU" sz="2800" dirty="0" err="1"/>
              <a:t>мидл</a:t>
            </a:r>
            <a:r>
              <a:rPr lang="ru-RU" sz="2800" dirty="0"/>
              <a:t> и </a:t>
            </a:r>
            <a:r>
              <a:rPr lang="ru-RU" sz="2800" dirty="0" err="1"/>
              <a:t>бэк</a:t>
            </a:r>
            <a:r>
              <a:rPr lang="ru-RU" sz="2800" dirty="0"/>
              <a:t>-офиса, но и культуре Банка в целом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Rectangle 3"/>
          <p:cNvSpPr/>
          <p:nvPr/>
        </p:nvSpPr>
        <p:spPr bwMode="ltGray">
          <a:xfrm>
            <a:off x="655466" y="1444859"/>
            <a:ext cx="4130623" cy="2286000"/>
          </a:xfrm>
          <a:prstGeom prst="rect">
            <a:avLst/>
          </a:prstGeom>
          <a:solidFill>
            <a:schemeClr val="bg2">
              <a:alpha val="60000"/>
            </a:schemeClr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Удобство «прихода</a:t>
            </a:r>
            <a:r>
              <a:rPr kumimoji="0" lang="ru-RU" sz="1200" b="1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 в Банк» 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– возможность стать клиентом 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Банка без физического посещения отделения (за счет идентификации посредством камеры мобильного телефона, или выезда курьера)</a:t>
            </a:r>
          </a:p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Удобство</a:t>
            </a:r>
            <a:r>
              <a:rPr kumimoji="0" lang="ru-RU" sz="1200" b="1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 регулярного взаимодействия с Банком 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– возможность осуществления полного спектра операций и получения консультаций удобным для клиента способом (через социальные сети, мессенджеры, контакт-центр,</a:t>
            </a:r>
            <a:b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</a:b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интернет-банк, мобильное приложение)</a:t>
            </a:r>
          </a:p>
        </p:txBody>
      </p:sp>
      <p:sp>
        <p:nvSpPr>
          <p:cNvPr id="5" name="Rectangle 4"/>
          <p:cNvSpPr/>
          <p:nvPr/>
        </p:nvSpPr>
        <p:spPr bwMode="ltGray">
          <a:xfrm>
            <a:off x="655466" y="3974416"/>
            <a:ext cx="4130623" cy="2194560"/>
          </a:xfrm>
          <a:prstGeom prst="rect">
            <a:avLst/>
          </a:prstGeom>
          <a:solidFill>
            <a:schemeClr val="bg2">
              <a:alpha val="60000"/>
            </a:schemeClr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ru-RU" sz="1200" b="1" kern="0" dirty="0" smtClean="0">
                <a:solidFill>
                  <a:srgbClr val="000000"/>
                </a:solidFill>
                <a:cs typeface="+mn-cs"/>
              </a:rPr>
              <a:t>Культура инноваций 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– открытость к             инновациям и готовность постоянно меняться являются основой корпоративной культуры Банка</a:t>
            </a:r>
          </a:p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Гибкость внедрения инноваций 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cs"/>
              </a:rPr>
              <a:t>– инновационные решения (как разработанные Банком, так и сторонних компаний), </a:t>
            </a:r>
            <a:r>
              <a:rPr lang="ru-RU" sz="1200" b="0" kern="0" dirty="0">
                <a:solidFill>
                  <a:srgbClr val="000000"/>
                </a:solidFill>
                <a:cs typeface="+mn-cs"/>
              </a:rPr>
              <a:t>анализируются, 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и, </a:t>
            </a:r>
            <a:r>
              <a:rPr lang="ru-RU" sz="1200" b="0" kern="0" dirty="0">
                <a:solidFill>
                  <a:srgbClr val="000000"/>
                </a:solidFill>
                <a:cs typeface="+mn-cs"/>
              </a:rPr>
              <a:t>в случае их высокого 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потенциала, </a:t>
            </a:r>
            <a:r>
              <a:rPr lang="ru-RU" sz="1200" b="0" kern="0" dirty="0">
                <a:solidFill>
                  <a:srgbClr val="000000"/>
                </a:solidFill>
                <a:cs typeface="+mn-cs"/>
              </a:rPr>
              <a:t>оперативно внедряются Банком (использование методологии </a:t>
            </a:r>
            <a:r>
              <a:rPr lang="en-US" sz="1200" b="0" kern="0" dirty="0">
                <a:solidFill>
                  <a:srgbClr val="000000"/>
                </a:solidFill>
                <a:cs typeface="+mn-cs"/>
              </a:rPr>
              <a:t>Agile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)</a:t>
            </a:r>
            <a:endParaRPr lang="en-GB" sz="1200" b="0" kern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Rectangle 5"/>
          <p:cNvSpPr/>
          <p:nvPr/>
        </p:nvSpPr>
        <p:spPr bwMode="ltGray">
          <a:xfrm>
            <a:off x="5058372" y="1444859"/>
            <a:ext cx="4133318" cy="2286000"/>
          </a:xfrm>
          <a:prstGeom prst="rect">
            <a:avLst/>
          </a:prstGeom>
          <a:solidFill>
            <a:schemeClr val="bg2">
              <a:alpha val="60000"/>
            </a:schemeClr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algn="r" defTabSz="1018824" fontAlgn="auto">
              <a:spcBef>
                <a:spcPts val="0"/>
              </a:spcBef>
              <a:spcAft>
                <a:spcPts val="600"/>
              </a:spcAft>
            </a:pPr>
            <a:r>
              <a:rPr lang="ru-RU" sz="1200" b="1" kern="0" dirty="0" smtClean="0">
                <a:solidFill>
                  <a:srgbClr val="000000"/>
                </a:solidFill>
                <a:cs typeface="+mn-cs"/>
              </a:rPr>
              <a:t>Автоматизированные и стандартизированные процессы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, позволяющие максимально устранить человеческий фактор из процесса обслуживания клиента</a:t>
            </a:r>
          </a:p>
          <a:p>
            <a:pPr algn="r" defTabSz="1018824">
              <a:spcAft>
                <a:spcPts val="600"/>
              </a:spcAft>
            </a:pPr>
            <a:r>
              <a:rPr lang="ru-RU" sz="1200" b="1" kern="0" dirty="0">
                <a:solidFill>
                  <a:srgbClr val="000000"/>
                </a:solidFill>
              </a:rPr>
              <a:t>Продвинутая </a:t>
            </a:r>
            <a:r>
              <a:rPr lang="en-US" sz="1200" b="1" kern="0" dirty="0">
                <a:solidFill>
                  <a:srgbClr val="000000"/>
                </a:solidFill>
              </a:rPr>
              <a:t>CRM </a:t>
            </a:r>
            <a:r>
              <a:rPr lang="ru-RU" sz="1200" b="1" kern="0" dirty="0">
                <a:solidFill>
                  <a:srgbClr val="000000"/>
                </a:solidFill>
              </a:rPr>
              <a:t>система</a:t>
            </a:r>
            <a:r>
              <a:rPr lang="ru-RU" sz="1200" kern="0" dirty="0">
                <a:solidFill>
                  <a:srgbClr val="000000"/>
                </a:solidFill>
              </a:rPr>
              <a:t>, хранящая                               информацию о клиенте и его активности в различных каналах и автоматически принимающая решения о ее использовании при обслуживании </a:t>
            </a:r>
            <a:r>
              <a:rPr lang="ru-RU" sz="1200" kern="0" dirty="0" smtClean="0">
                <a:solidFill>
                  <a:srgbClr val="000000"/>
                </a:solidFill>
              </a:rPr>
              <a:t>клиента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  </a:t>
            </a:r>
            <a:endParaRPr lang="ru-RU" sz="1200" b="0" kern="0" dirty="0">
              <a:solidFill>
                <a:srgbClr val="000000"/>
              </a:solidFill>
              <a:cs typeface="+mn-cs"/>
            </a:endParaRPr>
          </a:p>
          <a:p>
            <a:pPr lvl="2" algn="r" defTabSz="1018824">
              <a:spcAft>
                <a:spcPts val="600"/>
              </a:spcAft>
            </a:pPr>
            <a:r>
              <a:rPr lang="ru-RU" sz="1200" i="1" kern="0" dirty="0" smtClean="0">
                <a:solidFill>
                  <a:srgbClr val="000000"/>
                </a:solidFill>
                <a:cs typeface="+mn-cs"/>
              </a:rPr>
              <a:t>    </a:t>
            </a:r>
            <a:r>
              <a:rPr lang="ru-RU" sz="1200" b="1" kern="0" dirty="0" smtClean="0">
                <a:solidFill>
                  <a:srgbClr val="000000"/>
                </a:solidFill>
                <a:cs typeface="+mn-cs"/>
              </a:rPr>
              <a:t>Гибкая ИТ- платформа</a:t>
            </a:r>
            <a:r>
              <a:rPr lang="ru-RU" sz="1200" b="0" kern="0" dirty="0" smtClean="0">
                <a:solidFill>
                  <a:srgbClr val="000000"/>
                </a:solidFill>
                <a:cs typeface="+mn-cs"/>
              </a:rPr>
              <a:t>, позволяющая максимально быстро внедрять новые продукты и инновационные решения</a:t>
            </a:r>
            <a:r>
              <a:rPr lang="ru-RU" sz="1200" i="1" kern="0" dirty="0" smtClean="0">
                <a:solidFill>
                  <a:srgbClr val="000000"/>
                </a:solidFill>
              </a:rPr>
              <a:t>          </a:t>
            </a:r>
            <a:endParaRPr lang="en-GB" sz="1200" i="1" kern="0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5061067" y="3974416"/>
            <a:ext cx="4130623" cy="2194560"/>
          </a:xfrm>
          <a:prstGeom prst="rect">
            <a:avLst/>
          </a:prstGeom>
          <a:solidFill>
            <a:schemeClr val="bg2">
              <a:alpha val="60000"/>
            </a:schemeClr>
          </a:solidFill>
          <a:ln w="12700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lvl="0" algn="r" defTabSz="1018824" fontAlgn="auto">
              <a:spcBef>
                <a:spcPts val="0"/>
              </a:spcBef>
              <a:spcAft>
                <a:spcPts val="600"/>
              </a:spcAft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                   </a:t>
            </a:r>
            <a:r>
              <a:rPr lang="ru-RU" sz="1200" b="1" kern="0" dirty="0" smtClean="0">
                <a:solidFill>
                  <a:schemeClr val="tx1"/>
                </a:solidFill>
              </a:rPr>
              <a:t>Психографическое  профилирование</a:t>
            </a:r>
            <a:r>
              <a:rPr lang="ru-RU" sz="1200" b="0" kern="0" dirty="0" smtClean="0">
                <a:solidFill>
                  <a:schemeClr val="tx1"/>
                </a:solidFill>
              </a:rPr>
              <a:t/>
            </a:r>
            <a:br>
              <a:rPr lang="ru-RU" sz="1200" b="0" kern="0" dirty="0" smtClean="0">
                <a:solidFill>
                  <a:schemeClr val="tx1"/>
                </a:solidFill>
              </a:rPr>
            </a:br>
            <a:r>
              <a:rPr lang="ru-RU" sz="1200" b="0" kern="0" dirty="0" smtClean="0">
                <a:solidFill>
                  <a:schemeClr val="tx1"/>
                </a:solidFill>
              </a:rPr>
              <a:t>                клиента на основе внутренних </a:t>
            </a:r>
            <a:r>
              <a:rPr lang="ru-RU" sz="1200" b="0" kern="0" dirty="0">
                <a:solidFill>
                  <a:schemeClr val="tx1"/>
                </a:solidFill>
              </a:rPr>
              <a:t>(банковские </a:t>
            </a:r>
            <a:r>
              <a:rPr lang="ru-RU" sz="1200" b="0" kern="0" dirty="0" smtClean="0">
                <a:solidFill>
                  <a:schemeClr val="tx1"/>
                </a:solidFill>
              </a:rPr>
              <a:t>                  </a:t>
            </a:r>
            <a:br>
              <a:rPr lang="ru-RU" sz="1200" b="0" kern="0" dirty="0" smtClean="0">
                <a:solidFill>
                  <a:schemeClr val="tx1"/>
                </a:solidFill>
              </a:rPr>
            </a:br>
            <a:r>
              <a:rPr lang="ru-RU" sz="1200" b="0" kern="0" dirty="0" smtClean="0">
                <a:solidFill>
                  <a:schemeClr val="tx1"/>
                </a:solidFill>
              </a:rPr>
              <a:t>           транзакции </a:t>
            </a:r>
            <a:r>
              <a:rPr lang="ru-RU" sz="1200" b="0" kern="0" dirty="0">
                <a:solidFill>
                  <a:schemeClr val="tx1"/>
                </a:solidFill>
              </a:rPr>
              <a:t>клиента) и внешних (активность в </a:t>
            </a:r>
            <a:r>
              <a:rPr lang="ru-RU" sz="1200" b="0" kern="0" dirty="0" smtClean="0">
                <a:solidFill>
                  <a:schemeClr val="tx1"/>
                </a:solidFill>
              </a:rPr>
              <a:t/>
            </a:r>
            <a:br>
              <a:rPr lang="ru-RU" sz="1200" b="0" kern="0" dirty="0" smtClean="0">
                <a:solidFill>
                  <a:schemeClr val="tx1"/>
                </a:solidFill>
              </a:rPr>
            </a:br>
            <a:r>
              <a:rPr lang="ru-RU" sz="1200" b="0" kern="0" dirty="0" smtClean="0">
                <a:solidFill>
                  <a:schemeClr val="tx1"/>
                </a:solidFill>
              </a:rPr>
              <a:t>     социальных </a:t>
            </a:r>
            <a:r>
              <a:rPr lang="ru-RU" sz="1200" b="0" kern="0" dirty="0">
                <a:solidFill>
                  <a:schemeClr val="tx1"/>
                </a:solidFill>
              </a:rPr>
              <a:t>сетях) источников </a:t>
            </a:r>
            <a:r>
              <a:rPr lang="ru-RU" sz="1200" b="0" kern="0" dirty="0" smtClean="0">
                <a:solidFill>
                  <a:schemeClr val="tx1"/>
                </a:solidFill>
              </a:rPr>
              <a:t>информации, для дальнейшего использования Банком (в том числе в процессе обслуживания клиента)</a:t>
            </a:r>
          </a:p>
          <a:p>
            <a:pPr lvl="0" algn="r" defTabSz="1018824" fontAlgn="auto">
              <a:spcBef>
                <a:spcPts val="0"/>
              </a:spcBef>
              <a:spcAft>
                <a:spcPts val="600"/>
              </a:spcAft>
            </a:pPr>
            <a:r>
              <a:rPr kumimoji="0" lang="ru-RU" sz="1200" b="1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Автоматизированное</a:t>
            </a:r>
            <a:r>
              <a:rPr kumimoji="0" lang="ru-RU" sz="1200" b="1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формирование </a:t>
            </a:r>
            <a:r>
              <a:rPr kumimoji="0" lang="ru-RU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таргетированных предложений, определение наиболее предпочтительного канала клиентского обслуживания</a:t>
            </a:r>
            <a:r>
              <a:rPr lang="ru-RU" sz="1200" b="0" kern="0" dirty="0" smtClean="0">
                <a:solidFill>
                  <a:schemeClr val="tx1"/>
                </a:solidFill>
              </a:rPr>
              <a:t> и </a:t>
            </a:r>
            <a:r>
              <a:rPr kumimoji="0" lang="ru-RU" sz="1200" b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принятие решений</a:t>
            </a:r>
            <a:r>
              <a:rPr kumimoji="0" lang="ru-RU" sz="1200" b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 по </a:t>
            </a:r>
            <a:r>
              <a:rPr lang="ru-RU" sz="1200" b="0" kern="0" dirty="0" smtClean="0">
                <a:solidFill>
                  <a:schemeClr val="tx1"/>
                </a:solidFill>
              </a:rPr>
              <a:t>выдаче кредита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4153270" y="2483845"/>
            <a:ext cx="95536" cy="230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992" tIns="53992" rIns="53992" bIns="53992">
            <a:spAutoFit/>
          </a:bodyPr>
          <a:lstStyle/>
          <a:p>
            <a:pPr marL="0" marR="0" lvl="0" indent="0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smtClean="0">
              <a:ln>
                <a:noFill/>
              </a:ln>
              <a:solidFill>
                <a:srgbClr val="B1DCEE"/>
              </a:solidFill>
              <a:effectLst/>
              <a:uLnTx/>
              <a:uFillTx/>
              <a:latin typeface="Georgia"/>
              <a:cs typeface="+mn-cs"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 bwMode="auto">
          <a:xfrm>
            <a:off x="3802319" y="2692732"/>
            <a:ext cx="2239822" cy="2239822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19" name="Oval 7"/>
          <p:cNvSpPr/>
          <p:nvPr/>
        </p:nvSpPr>
        <p:spPr bwMode="auto">
          <a:xfrm>
            <a:off x="4315633" y="3210907"/>
            <a:ext cx="1213194" cy="1203472"/>
          </a:xfrm>
          <a:prstGeom prst="ellipse">
            <a:avLst/>
          </a:prstGeom>
          <a:solidFill>
            <a:srgbClr val="FFFFFF"/>
          </a:solidFill>
          <a:ln w="50800">
            <a:solidFill>
              <a:schemeClr val="bg2">
                <a:lumMod val="90000"/>
              </a:schemeClr>
            </a:solidFill>
          </a:ln>
          <a:effectLst/>
        </p:spPr>
        <p:txBody>
          <a:bodyPr lIns="0" tIns="0" rIns="0" bIns="36000" spcCol="1270" anchor="b"/>
          <a:lstStyle/>
          <a:p>
            <a:pPr marL="0" marR="0" lvl="0" indent="0" algn="ctr" defTabSz="850986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Цифровой Банк</a:t>
            </a:r>
            <a:endParaRPr kumimoji="0" lang="en-GB" sz="120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78297" y="3355217"/>
            <a:ext cx="482792" cy="481877"/>
          </a:xfrm>
          <a:prstGeom prst="rect">
            <a:avLst/>
          </a:prstGeom>
        </p:spPr>
      </p:pic>
      <p:grpSp>
        <p:nvGrpSpPr>
          <p:cNvPr id="14" name="Group 13"/>
          <p:cNvGrpSpPr>
            <a:grpSpLocks noChangeAspect="1"/>
          </p:cNvGrpSpPr>
          <p:nvPr/>
        </p:nvGrpSpPr>
        <p:grpSpPr>
          <a:xfrm>
            <a:off x="3880811" y="2786479"/>
            <a:ext cx="2082839" cy="2052328"/>
            <a:chOff x="8584940" y="2052439"/>
            <a:chExt cx="1461268" cy="1439862"/>
          </a:xfrm>
        </p:grpSpPr>
        <p:sp>
          <p:nvSpPr>
            <p:cNvPr id="15" name="Freeform 2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8587913" y="2733476"/>
              <a:ext cx="750702" cy="758825"/>
            </a:xfrm>
            <a:custGeom>
              <a:avLst/>
              <a:gdLst>
                <a:gd name="T0" fmla="*/ 2121034554 w 301"/>
                <a:gd name="T1" fmla="*/ 1296596275 h 309"/>
                <a:gd name="T2" fmla="*/ 1362002072 w 301"/>
                <a:gd name="T3" fmla="*/ 1133767904 h 309"/>
                <a:gd name="T4" fmla="*/ 673907041 w 301"/>
                <a:gd name="T5" fmla="*/ 247259053 h 309"/>
                <a:gd name="T6" fmla="*/ 333405857 w 301"/>
                <a:gd name="T7" fmla="*/ 0 h 309"/>
                <a:gd name="T8" fmla="*/ 0 w 301"/>
                <a:gd name="T9" fmla="*/ 253287903 h 309"/>
                <a:gd name="T10" fmla="*/ 2064285259 w 301"/>
                <a:gd name="T11" fmla="*/ 1863480074 h 309"/>
                <a:gd name="T12" fmla="*/ 2135222544 w 301"/>
                <a:gd name="T13" fmla="*/ 1863480074 h 309"/>
                <a:gd name="T14" fmla="*/ 1830190086 w 301"/>
                <a:gd name="T15" fmla="*/ 1574006869 h 309"/>
                <a:gd name="T16" fmla="*/ 2121034554 w 301"/>
                <a:gd name="T17" fmla="*/ 1296596275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1"/>
                <a:gd name="T28" fmla="*/ 0 h 309"/>
                <a:gd name="T29" fmla="*/ 301 w 301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1" h="309">
                  <a:moveTo>
                    <a:pt x="299" y="215"/>
                  </a:moveTo>
                  <a:cubicBezTo>
                    <a:pt x="263" y="216"/>
                    <a:pt x="226" y="208"/>
                    <a:pt x="192" y="188"/>
                  </a:cubicBezTo>
                  <a:cubicBezTo>
                    <a:pt x="136" y="156"/>
                    <a:pt x="102" y="101"/>
                    <a:pt x="95" y="41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13" y="191"/>
                    <a:pt x="138" y="309"/>
                    <a:pt x="291" y="309"/>
                  </a:cubicBezTo>
                  <a:cubicBezTo>
                    <a:pt x="295" y="309"/>
                    <a:pt x="298" y="309"/>
                    <a:pt x="301" y="309"/>
                  </a:cubicBezTo>
                  <a:cubicBezTo>
                    <a:pt x="258" y="261"/>
                    <a:pt x="258" y="261"/>
                    <a:pt x="258" y="261"/>
                  </a:cubicBezTo>
                  <a:lnTo>
                    <a:pt x="299" y="215"/>
                  </a:lnTo>
                  <a:close/>
                </a:path>
              </a:pathLst>
            </a:custGeom>
            <a:solidFill>
              <a:srgbClr val="0091DA"/>
            </a:solidFill>
            <a:ln w="317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30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8584940" y="2057201"/>
              <a:ext cx="771514" cy="736600"/>
            </a:xfrm>
            <a:custGeom>
              <a:avLst/>
              <a:gdLst>
                <a:gd name="T0" fmla="*/ 668301856 w 309"/>
                <a:gd name="T1" fmla="*/ 1790512433 h 300"/>
                <a:gd name="T2" fmla="*/ 860260111 w 309"/>
                <a:gd name="T3" fmla="*/ 1157502897 h 300"/>
                <a:gd name="T4" fmla="*/ 1898261168 w 309"/>
                <a:gd name="T5" fmla="*/ 572723608 h 300"/>
                <a:gd name="T6" fmla="*/ 2147483647 w 309"/>
                <a:gd name="T7" fmla="*/ 277317587 h 300"/>
                <a:gd name="T8" fmla="*/ 1905369739 w 309"/>
                <a:gd name="T9" fmla="*/ 0 h 300"/>
                <a:gd name="T10" fmla="*/ 0 w 309"/>
                <a:gd name="T11" fmla="*/ 1754340477 h 300"/>
                <a:gd name="T12" fmla="*/ 0 w 309"/>
                <a:gd name="T13" fmla="*/ 1808598411 h 300"/>
                <a:gd name="T14" fmla="*/ 341259499 w 309"/>
                <a:gd name="T15" fmla="*/ 1549366879 h 300"/>
                <a:gd name="T16" fmla="*/ 668301856 w 309"/>
                <a:gd name="T17" fmla="*/ 1790512433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9"/>
                <a:gd name="T28" fmla="*/ 0 h 300"/>
                <a:gd name="T29" fmla="*/ 309 w 309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9" h="300">
                  <a:moveTo>
                    <a:pt x="94" y="297"/>
                  </a:moveTo>
                  <a:cubicBezTo>
                    <a:pt x="93" y="262"/>
                    <a:pt x="101" y="225"/>
                    <a:pt x="121" y="192"/>
                  </a:cubicBezTo>
                  <a:cubicBezTo>
                    <a:pt x="153" y="136"/>
                    <a:pt x="208" y="102"/>
                    <a:pt x="267" y="95"/>
                  </a:cubicBezTo>
                  <a:cubicBezTo>
                    <a:pt x="309" y="46"/>
                    <a:pt x="309" y="46"/>
                    <a:pt x="309" y="46"/>
                  </a:cubicBezTo>
                  <a:cubicBezTo>
                    <a:pt x="268" y="0"/>
                    <a:pt x="268" y="0"/>
                    <a:pt x="268" y="0"/>
                  </a:cubicBezTo>
                  <a:cubicBezTo>
                    <a:pt x="118" y="12"/>
                    <a:pt x="0" y="138"/>
                    <a:pt x="0" y="291"/>
                  </a:cubicBezTo>
                  <a:cubicBezTo>
                    <a:pt x="0" y="294"/>
                    <a:pt x="0" y="297"/>
                    <a:pt x="0" y="300"/>
                  </a:cubicBezTo>
                  <a:cubicBezTo>
                    <a:pt x="48" y="257"/>
                    <a:pt x="48" y="257"/>
                    <a:pt x="48" y="257"/>
                  </a:cubicBezTo>
                  <a:lnTo>
                    <a:pt x="94" y="297"/>
                  </a:lnTo>
                  <a:close/>
                </a:path>
              </a:pathLst>
            </a:custGeom>
            <a:solidFill>
              <a:srgbClr val="00338D"/>
            </a:solidFill>
            <a:ln w="317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31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9276181" y="2752526"/>
              <a:ext cx="770027" cy="736600"/>
            </a:xfrm>
            <a:custGeom>
              <a:avLst/>
              <a:gdLst>
                <a:gd name="T0" fmla="*/ 1525455656 w 308"/>
                <a:gd name="T1" fmla="*/ 0 h 300"/>
                <a:gd name="T2" fmla="*/ 1332991300 w 308"/>
                <a:gd name="T3" fmla="*/ 645067673 h 300"/>
                <a:gd name="T4" fmla="*/ 299387672 w 308"/>
                <a:gd name="T5" fmla="*/ 1235874650 h 300"/>
                <a:gd name="T6" fmla="*/ 0 w 308"/>
                <a:gd name="T7" fmla="*/ 1525250605 h 300"/>
                <a:gd name="T8" fmla="*/ 299387672 w 308"/>
                <a:gd name="T9" fmla="*/ 1808598411 h 300"/>
                <a:gd name="T10" fmla="*/ 2147483647 w 308"/>
                <a:gd name="T11" fmla="*/ 48230112 h 300"/>
                <a:gd name="T12" fmla="*/ 2147483647 w 308"/>
                <a:gd name="T13" fmla="*/ 0 h 300"/>
                <a:gd name="T14" fmla="*/ 1860483544 w 308"/>
                <a:gd name="T15" fmla="*/ 253203768 h 300"/>
                <a:gd name="T16" fmla="*/ 1525455656 w 308"/>
                <a:gd name="T17" fmla="*/ 0 h 3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8"/>
                <a:gd name="T28" fmla="*/ 0 h 300"/>
                <a:gd name="T29" fmla="*/ 308 w 308"/>
                <a:gd name="T30" fmla="*/ 300 h 3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8" h="300">
                  <a:moveTo>
                    <a:pt x="214" y="0"/>
                  </a:moveTo>
                  <a:cubicBezTo>
                    <a:pt x="215" y="37"/>
                    <a:pt x="207" y="74"/>
                    <a:pt x="187" y="107"/>
                  </a:cubicBezTo>
                  <a:cubicBezTo>
                    <a:pt x="155" y="163"/>
                    <a:pt x="101" y="197"/>
                    <a:pt x="42" y="205"/>
                  </a:cubicBezTo>
                  <a:cubicBezTo>
                    <a:pt x="0" y="253"/>
                    <a:pt x="0" y="253"/>
                    <a:pt x="0" y="253"/>
                  </a:cubicBezTo>
                  <a:cubicBezTo>
                    <a:pt x="42" y="300"/>
                    <a:pt x="42" y="300"/>
                    <a:pt x="42" y="300"/>
                  </a:cubicBezTo>
                  <a:cubicBezTo>
                    <a:pt x="191" y="287"/>
                    <a:pt x="308" y="161"/>
                    <a:pt x="308" y="8"/>
                  </a:cubicBezTo>
                  <a:cubicBezTo>
                    <a:pt x="308" y="6"/>
                    <a:pt x="308" y="3"/>
                    <a:pt x="308" y="0"/>
                  </a:cubicBezTo>
                  <a:cubicBezTo>
                    <a:pt x="261" y="42"/>
                    <a:pt x="261" y="42"/>
                    <a:pt x="261" y="42"/>
                  </a:cubicBezTo>
                  <a:lnTo>
                    <a:pt x="214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32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9296992" y="2052439"/>
              <a:ext cx="746243" cy="758825"/>
            </a:xfrm>
            <a:custGeom>
              <a:avLst/>
              <a:gdLst>
                <a:gd name="T0" fmla="*/ 7103027 w 299"/>
                <a:gd name="T1" fmla="*/ 572915258 h 309"/>
                <a:gd name="T2" fmla="*/ 760109220 w 299"/>
                <a:gd name="T3" fmla="*/ 729712170 h 309"/>
                <a:gd name="T4" fmla="*/ 1449180202 w 299"/>
                <a:gd name="T5" fmla="*/ 1604160942 h 309"/>
                <a:gd name="T6" fmla="*/ 1797268370 w 299"/>
                <a:gd name="T7" fmla="*/ 1863480074 h 309"/>
                <a:gd name="T8" fmla="*/ 2124044801 w 299"/>
                <a:gd name="T9" fmla="*/ 1616223553 h 309"/>
                <a:gd name="T10" fmla="*/ 49726521 w 299"/>
                <a:gd name="T11" fmla="*/ 0 h 309"/>
                <a:gd name="T12" fmla="*/ 0 w 299"/>
                <a:gd name="T13" fmla="*/ 6031308 h 309"/>
                <a:gd name="T14" fmla="*/ 298361752 w 299"/>
                <a:gd name="T15" fmla="*/ 289473282 h 309"/>
                <a:gd name="T16" fmla="*/ 7103027 w 299"/>
                <a:gd name="T17" fmla="*/ 572915258 h 30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99"/>
                <a:gd name="T28" fmla="*/ 0 h 309"/>
                <a:gd name="T29" fmla="*/ 299 w 299"/>
                <a:gd name="T30" fmla="*/ 309 h 30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99" h="309">
                  <a:moveTo>
                    <a:pt x="1" y="95"/>
                  </a:moveTo>
                  <a:cubicBezTo>
                    <a:pt x="37" y="94"/>
                    <a:pt x="73" y="102"/>
                    <a:pt x="107" y="121"/>
                  </a:cubicBezTo>
                  <a:cubicBezTo>
                    <a:pt x="162" y="153"/>
                    <a:pt x="196" y="208"/>
                    <a:pt x="204" y="266"/>
                  </a:cubicBezTo>
                  <a:cubicBezTo>
                    <a:pt x="253" y="309"/>
                    <a:pt x="253" y="309"/>
                    <a:pt x="253" y="309"/>
                  </a:cubicBezTo>
                  <a:cubicBezTo>
                    <a:pt x="299" y="268"/>
                    <a:pt x="299" y="268"/>
                    <a:pt x="299" y="268"/>
                  </a:cubicBezTo>
                  <a:cubicBezTo>
                    <a:pt x="287" y="118"/>
                    <a:pt x="161" y="0"/>
                    <a:pt x="7" y="0"/>
                  </a:cubicBezTo>
                  <a:cubicBezTo>
                    <a:pt x="5" y="0"/>
                    <a:pt x="2" y="1"/>
                    <a:pt x="0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1" y="95"/>
                  </a:lnTo>
                  <a:close/>
                </a:path>
              </a:pathLst>
            </a:custGeom>
            <a:solidFill>
              <a:srgbClr val="005EB8"/>
            </a:solidFill>
            <a:ln w="3175" cap="flat" cmpd="sng">
              <a:solidFill>
                <a:schemeClr val="bg1">
                  <a:lumMod val="9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2" name="Oval 21"/>
          <p:cNvSpPr>
            <a:spLocks noChangeAspect="1"/>
          </p:cNvSpPr>
          <p:nvPr/>
        </p:nvSpPr>
        <p:spPr bwMode="auto">
          <a:xfrm>
            <a:off x="9028833" y="1193889"/>
            <a:ext cx="432000" cy="4320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24" name="Oval 23"/>
          <p:cNvSpPr>
            <a:spLocks noChangeAspect="1"/>
          </p:cNvSpPr>
          <p:nvPr/>
        </p:nvSpPr>
        <p:spPr bwMode="auto">
          <a:xfrm>
            <a:off x="9028833" y="3750333"/>
            <a:ext cx="432000" cy="4320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26" name="Oval 25"/>
          <p:cNvSpPr>
            <a:spLocks noChangeAspect="1"/>
          </p:cNvSpPr>
          <p:nvPr/>
        </p:nvSpPr>
        <p:spPr bwMode="auto">
          <a:xfrm>
            <a:off x="481176" y="1193889"/>
            <a:ext cx="432000" cy="4320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28" name="Oval 27"/>
          <p:cNvSpPr>
            <a:spLocks noChangeAspect="1"/>
          </p:cNvSpPr>
          <p:nvPr/>
        </p:nvSpPr>
        <p:spPr bwMode="auto">
          <a:xfrm>
            <a:off x="481176" y="3750333"/>
            <a:ext cx="432000" cy="43200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 rot="18907165">
            <a:off x="4134880" y="3041670"/>
            <a:ext cx="1545866" cy="1448083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>
                <a:gd name="adj" fmla="val 13108412"/>
              </a:avLst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chemeClr val="bg1"/>
                </a:solidFill>
                <a:cs typeface="+mn-cs"/>
              </a:rPr>
              <a:t>Обслуживание</a:t>
            </a:r>
            <a:endParaRPr kumimoji="0" lang="en-GB" sz="12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 rot="2820245">
            <a:off x="4346946" y="3070852"/>
            <a:ext cx="1295457" cy="1355564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Up">
              <a:avLst>
                <a:gd name="adj" fmla="val 13451760"/>
              </a:avLst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chemeClr val="bg1"/>
                </a:solidFill>
                <a:cs typeface="+mn-cs"/>
              </a:rPr>
              <a:t>Процессы</a:t>
            </a:r>
            <a:endParaRPr kumimoji="0" lang="en-GB" sz="12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 rot="18982191">
            <a:off x="4297773" y="3477942"/>
            <a:ext cx="1721468" cy="1201444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Down">
              <a:avLst>
                <a:gd name="adj" fmla="val 2493480"/>
              </a:avLst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chemeClr val="bg1"/>
                </a:solidFill>
                <a:cs typeface="+mn-cs"/>
              </a:rPr>
              <a:t>Принятие решений</a:t>
            </a:r>
            <a:endParaRPr kumimoji="0" lang="en-GB" sz="12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 rot="2851094">
            <a:off x="3784024" y="3454050"/>
            <a:ext cx="1721468" cy="1170097"/>
          </a:xfrm>
          <a:prstGeom prst="rect">
            <a:avLst/>
          </a:prstGeom>
          <a:noFill/>
        </p:spPr>
        <p:txBody>
          <a:bodyPr wrap="square" lIns="0" tIns="0" rIns="0" bIns="0" rtlCol="0" anchor="ctr">
            <a:prstTxWarp prst="textArchDown">
              <a:avLst>
                <a:gd name="adj" fmla="val 21070781"/>
              </a:avLst>
            </a:prstTxWarp>
            <a:noAutofit/>
          </a:bodyPr>
          <a:lstStyle/>
          <a:p>
            <a:pPr marL="0" marR="0" lvl="0" indent="0" algn="ctr" defTabSz="10188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chemeClr val="bg1"/>
                </a:solidFill>
                <a:cs typeface="+mn-cs"/>
              </a:rPr>
              <a:t>Культура</a:t>
            </a:r>
            <a:endParaRPr kumimoji="0" lang="en-GB" sz="120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+mn-cs"/>
            </a:endParaRPr>
          </a:p>
        </p:txBody>
      </p:sp>
      <p:grpSp>
        <p:nvGrpSpPr>
          <p:cNvPr id="34" name="Group 33"/>
          <p:cNvGrpSpPr>
            <a:grpSpLocks noChangeAspect="1"/>
          </p:cNvGrpSpPr>
          <p:nvPr/>
        </p:nvGrpSpPr>
        <p:grpSpPr>
          <a:xfrm>
            <a:off x="568478" y="1257664"/>
            <a:ext cx="274320" cy="281240"/>
            <a:chOff x="5180012" y="3885607"/>
            <a:chExt cx="562374" cy="576561"/>
          </a:xfrm>
          <a:solidFill>
            <a:schemeClr val="tx2"/>
          </a:solidFill>
        </p:grpSpPr>
        <p:sp>
          <p:nvSpPr>
            <p:cNvPr id="35" name="Freeform 7"/>
            <p:cNvSpPr>
              <a:spLocks noEditPoints="1"/>
            </p:cNvSpPr>
            <p:nvPr/>
          </p:nvSpPr>
          <p:spPr bwMode="auto">
            <a:xfrm>
              <a:off x="5180012" y="3885607"/>
              <a:ext cx="314722" cy="576561"/>
            </a:xfrm>
            <a:custGeom>
              <a:avLst/>
              <a:gdLst>
                <a:gd name="T0" fmla="*/ 30 w 103"/>
                <a:gd name="T1" fmla="*/ 1 h 189"/>
                <a:gd name="T2" fmla="*/ 42 w 103"/>
                <a:gd name="T3" fmla="*/ 12 h 189"/>
                <a:gd name="T4" fmla="*/ 33 w 103"/>
                <a:gd name="T5" fmla="*/ 32 h 189"/>
                <a:gd name="T6" fmla="*/ 18 w 103"/>
                <a:gd name="T7" fmla="*/ 13 h 189"/>
                <a:gd name="T8" fmla="*/ 30 w 103"/>
                <a:gd name="T9" fmla="*/ 1 h 189"/>
                <a:gd name="T10" fmla="*/ 20 w 103"/>
                <a:gd name="T11" fmla="*/ 114 h 189"/>
                <a:gd name="T12" fmla="*/ 21 w 103"/>
                <a:gd name="T13" fmla="*/ 82 h 189"/>
                <a:gd name="T14" fmla="*/ 20 w 103"/>
                <a:gd name="T15" fmla="*/ 66 h 189"/>
                <a:gd name="T16" fmla="*/ 15 w 103"/>
                <a:gd name="T17" fmla="*/ 76 h 189"/>
                <a:gd name="T18" fmla="*/ 16 w 103"/>
                <a:gd name="T19" fmla="*/ 108 h 189"/>
                <a:gd name="T20" fmla="*/ 5 w 103"/>
                <a:gd name="T21" fmla="*/ 109 h 189"/>
                <a:gd name="T22" fmla="*/ 2 w 103"/>
                <a:gd name="T23" fmla="*/ 72 h 189"/>
                <a:gd name="T24" fmla="*/ 18 w 103"/>
                <a:gd name="T25" fmla="*/ 42 h 189"/>
                <a:gd name="T26" fmla="*/ 19 w 103"/>
                <a:gd name="T27" fmla="*/ 40 h 189"/>
                <a:gd name="T28" fmla="*/ 28 w 103"/>
                <a:gd name="T29" fmla="*/ 36 h 189"/>
                <a:gd name="T30" fmla="*/ 39 w 103"/>
                <a:gd name="T31" fmla="*/ 36 h 189"/>
                <a:gd name="T32" fmla="*/ 52 w 103"/>
                <a:gd name="T33" fmla="*/ 42 h 189"/>
                <a:gd name="T34" fmla="*/ 67 w 103"/>
                <a:gd name="T35" fmla="*/ 71 h 189"/>
                <a:gd name="T36" fmla="*/ 98 w 103"/>
                <a:gd name="T37" fmla="*/ 89 h 189"/>
                <a:gd name="T38" fmla="*/ 93 w 103"/>
                <a:gd name="T39" fmla="*/ 97 h 189"/>
                <a:gd name="T40" fmla="*/ 84 w 103"/>
                <a:gd name="T41" fmla="*/ 94 h 189"/>
                <a:gd name="T42" fmla="*/ 59 w 103"/>
                <a:gd name="T43" fmla="*/ 82 h 189"/>
                <a:gd name="T44" fmla="*/ 54 w 103"/>
                <a:gd name="T45" fmla="*/ 76 h 189"/>
                <a:gd name="T46" fmla="*/ 50 w 103"/>
                <a:gd name="T47" fmla="*/ 70 h 189"/>
                <a:gd name="T48" fmla="*/ 55 w 103"/>
                <a:gd name="T49" fmla="*/ 91 h 189"/>
                <a:gd name="T50" fmla="*/ 54 w 103"/>
                <a:gd name="T51" fmla="*/ 187 h 189"/>
                <a:gd name="T52" fmla="*/ 51 w 103"/>
                <a:gd name="T53" fmla="*/ 189 h 189"/>
                <a:gd name="T54" fmla="*/ 43 w 103"/>
                <a:gd name="T55" fmla="*/ 189 h 189"/>
                <a:gd name="T56" fmla="*/ 41 w 103"/>
                <a:gd name="T57" fmla="*/ 187 h 189"/>
                <a:gd name="T58" fmla="*/ 40 w 103"/>
                <a:gd name="T59" fmla="*/ 127 h 189"/>
                <a:gd name="T60" fmla="*/ 39 w 103"/>
                <a:gd name="T61" fmla="*/ 128 h 189"/>
                <a:gd name="T62" fmla="*/ 35 w 103"/>
                <a:gd name="T63" fmla="*/ 187 h 189"/>
                <a:gd name="T64" fmla="*/ 33 w 103"/>
                <a:gd name="T65" fmla="*/ 189 h 189"/>
                <a:gd name="T66" fmla="*/ 24 w 103"/>
                <a:gd name="T67" fmla="*/ 189 h 189"/>
                <a:gd name="T68" fmla="*/ 22 w 103"/>
                <a:gd name="T69" fmla="*/ 187 h 189"/>
                <a:gd name="T70" fmla="*/ 23 w 103"/>
                <a:gd name="T71" fmla="*/ 114 h 189"/>
                <a:gd name="T72" fmla="*/ 20 w 103"/>
                <a:gd name="T73" fmla="*/ 11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89">
                  <a:moveTo>
                    <a:pt x="30" y="1"/>
                  </a:moveTo>
                  <a:cubicBezTo>
                    <a:pt x="36" y="0"/>
                    <a:pt x="42" y="5"/>
                    <a:pt x="42" y="12"/>
                  </a:cubicBezTo>
                  <a:cubicBezTo>
                    <a:pt x="43" y="18"/>
                    <a:pt x="41" y="31"/>
                    <a:pt x="33" y="32"/>
                  </a:cubicBezTo>
                  <a:cubicBezTo>
                    <a:pt x="26" y="32"/>
                    <a:pt x="19" y="19"/>
                    <a:pt x="18" y="13"/>
                  </a:cubicBezTo>
                  <a:cubicBezTo>
                    <a:pt x="18" y="7"/>
                    <a:pt x="23" y="1"/>
                    <a:pt x="30" y="1"/>
                  </a:cubicBezTo>
                  <a:close/>
                  <a:moveTo>
                    <a:pt x="20" y="114"/>
                  </a:moveTo>
                  <a:cubicBezTo>
                    <a:pt x="21" y="103"/>
                    <a:pt x="21" y="93"/>
                    <a:pt x="21" y="82"/>
                  </a:cubicBezTo>
                  <a:cubicBezTo>
                    <a:pt x="21" y="77"/>
                    <a:pt x="20" y="72"/>
                    <a:pt x="20" y="66"/>
                  </a:cubicBezTo>
                  <a:cubicBezTo>
                    <a:pt x="18" y="69"/>
                    <a:pt x="16" y="73"/>
                    <a:pt x="15" y="76"/>
                  </a:cubicBezTo>
                  <a:cubicBezTo>
                    <a:pt x="15" y="88"/>
                    <a:pt x="14" y="96"/>
                    <a:pt x="16" y="108"/>
                  </a:cubicBezTo>
                  <a:cubicBezTo>
                    <a:pt x="17" y="117"/>
                    <a:pt x="6" y="118"/>
                    <a:pt x="5" y="109"/>
                  </a:cubicBezTo>
                  <a:cubicBezTo>
                    <a:pt x="4" y="103"/>
                    <a:pt x="0" y="77"/>
                    <a:pt x="2" y="72"/>
                  </a:cubicBezTo>
                  <a:cubicBezTo>
                    <a:pt x="6" y="62"/>
                    <a:pt x="12" y="52"/>
                    <a:pt x="18" y="42"/>
                  </a:cubicBezTo>
                  <a:cubicBezTo>
                    <a:pt x="18" y="41"/>
                    <a:pt x="18" y="40"/>
                    <a:pt x="19" y="40"/>
                  </a:cubicBezTo>
                  <a:cubicBezTo>
                    <a:pt x="21" y="38"/>
                    <a:pt x="25" y="37"/>
                    <a:pt x="28" y="36"/>
                  </a:cubicBezTo>
                  <a:cubicBezTo>
                    <a:pt x="28" y="37"/>
                    <a:pt x="35" y="38"/>
                    <a:pt x="39" y="36"/>
                  </a:cubicBezTo>
                  <a:cubicBezTo>
                    <a:pt x="44" y="37"/>
                    <a:pt x="50" y="38"/>
                    <a:pt x="52" y="42"/>
                  </a:cubicBezTo>
                  <a:cubicBezTo>
                    <a:pt x="57" y="51"/>
                    <a:pt x="61" y="62"/>
                    <a:pt x="67" y="71"/>
                  </a:cubicBezTo>
                  <a:cubicBezTo>
                    <a:pt x="72" y="75"/>
                    <a:pt x="94" y="85"/>
                    <a:pt x="98" y="89"/>
                  </a:cubicBezTo>
                  <a:cubicBezTo>
                    <a:pt x="103" y="94"/>
                    <a:pt x="97" y="99"/>
                    <a:pt x="93" y="97"/>
                  </a:cubicBezTo>
                  <a:cubicBezTo>
                    <a:pt x="89" y="98"/>
                    <a:pt x="84" y="97"/>
                    <a:pt x="84" y="94"/>
                  </a:cubicBezTo>
                  <a:cubicBezTo>
                    <a:pt x="75" y="90"/>
                    <a:pt x="67" y="87"/>
                    <a:pt x="59" y="82"/>
                  </a:cubicBezTo>
                  <a:cubicBezTo>
                    <a:pt x="57" y="80"/>
                    <a:pt x="55" y="78"/>
                    <a:pt x="54" y="76"/>
                  </a:cubicBezTo>
                  <a:cubicBezTo>
                    <a:pt x="53" y="73"/>
                    <a:pt x="50" y="69"/>
                    <a:pt x="50" y="70"/>
                  </a:cubicBezTo>
                  <a:cubicBezTo>
                    <a:pt x="51" y="73"/>
                    <a:pt x="54" y="82"/>
                    <a:pt x="55" y="91"/>
                  </a:cubicBezTo>
                  <a:cubicBezTo>
                    <a:pt x="56" y="124"/>
                    <a:pt x="56" y="151"/>
                    <a:pt x="54" y="187"/>
                  </a:cubicBezTo>
                  <a:cubicBezTo>
                    <a:pt x="54" y="188"/>
                    <a:pt x="53" y="189"/>
                    <a:pt x="51" y="189"/>
                  </a:cubicBezTo>
                  <a:cubicBezTo>
                    <a:pt x="43" y="189"/>
                    <a:pt x="43" y="189"/>
                    <a:pt x="43" y="189"/>
                  </a:cubicBezTo>
                  <a:cubicBezTo>
                    <a:pt x="42" y="189"/>
                    <a:pt x="41" y="188"/>
                    <a:pt x="41" y="187"/>
                  </a:cubicBezTo>
                  <a:cubicBezTo>
                    <a:pt x="41" y="164"/>
                    <a:pt x="41" y="150"/>
                    <a:pt x="40" y="127"/>
                  </a:cubicBezTo>
                  <a:cubicBezTo>
                    <a:pt x="40" y="127"/>
                    <a:pt x="39" y="127"/>
                    <a:pt x="39" y="128"/>
                  </a:cubicBezTo>
                  <a:cubicBezTo>
                    <a:pt x="37" y="149"/>
                    <a:pt x="38" y="166"/>
                    <a:pt x="35" y="187"/>
                  </a:cubicBezTo>
                  <a:cubicBezTo>
                    <a:pt x="35" y="188"/>
                    <a:pt x="34" y="189"/>
                    <a:pt x="33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23" y="189"/>
                    <a:pt x="22" y="188"/>
                    <a:pt x="22" y="187"/>
                  </a:cubicBezTo>
                  <a:cubicBezTo>
                    <a:pt x="23" y="159"/>
                    <a:pt x="24" y="142"/>
                    <a:pt x="23" y="114"/>
                  </a:cubicBezTo>
                  <a:cubicBezTo>
                    <a:pt x="20" y="114"/>
                    <a:pt x="20" y="114"/>
                    <a:pt x="20" y="1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>
                <a:solidFill>
                  <a:prstClr val="black"/>
                </a:solidFill>
              </a:endParaRPr>
            </a:p>
          </p:txBody>
        </p:sp>
        <p:sp>
          <p:nvSpPr>
            <p:cNvPr id="36" name="Freeform 8"/>
            <p:cNvSpPr>
              <a:spLocks noEditPoints="1"/>
            </p:cNvSpPr>
            <p:nvPr/>
          </p:nvSpPr>
          <p:spPr bwMode="auto">
            <a:xfrm>
              <a:off x="5470229" y="3885607"/>
              <a:ext cx="272157" cy="576561"/>
            </a:xfrm>
            <a:custGeom>
              <a:avLst/>
              <a:gdLst>
                <a:gd name="T0" fmla="*/ 53 w 89"/>
                <a:gd name="T1" fmla="*/ 1 h 189"/>
                <a:gd name="T2" fmla="*/ 40 w 89"/>
                <a:gd name="T3" fmla="*/ 12 h 189"/>
                <a:gd name="T4" fmla="*/ 49 w 89"/>
                <a:gd name="T5" fmla="*/ 32 h 189"/>
                <a:gd name="T6" fmla="*/ 64 w 89"/>
                <a:gd name="T7" fmla="*/ 13 h 189"/>
                <a:gd name="T8" fmla="*/ 53 w 89"/>
                <a:gd name="T9" fmla="*/ 1 h 189"/>
                <a:gd name="T10" fmla="*/ 67 w 89"/>
                <a:gd name="T11" fmla="*/ 101 h 189"/>
                <a:gd name="T12" fmla="*/ 68 w 89"/>
                <a:gd name="T13" fmla="*/ 66 h 189"/>
                <a:gd name="T14" fmla="*/ 68 w 89"/>
                <a:gd name="T15" fmla="*/ 64 h 189"/>
                <a:gd name="T16" fmla="*/ 70 w 89"/>
                <a:gd name="T17" fmla="*/ 66 h 189"/>
                <a:gd name="T18" fmla="*/ 75 w 89"/>
                <a:gd name="T19" fmla="*/ 74 h 189"/>
                <a:gd name="T20" fmla="*/ 67 w 89"/>
                <a:gd name="T21" fmla="*/ 101 h 189"/>
                <a:gd name="T22" fmla="*/ 0 w 89"/>
                <a:gd name="T23" fmla="*/ 84 h 189"/>
                <a:gd name="T24" fmla="*/ 22 w 89"/>
                <a:gd name="T25" fmla="*/ 71 h 189"/>
                <a:gd name="T26" fmla="*/ 35 w 89"/>
                <a:gd name="T27" fmla="*/ 42 h 189"/>
                <a:gd name="T28" fmla="*/ 35 w 89"/>
                <a:gd name="T29" fmla="*/ 41 h 189"/>
                <a:gd name="T30" fmla="*/ 44 w 89"/>
                <a:gd name="T31" fmla="*/ 36 h 189"/>
                <a:gd name="T32" fmla="*/ 41 w 89"/>
                <a:gd name="T33" fmla="*/ 54 h 189"/>
                <a:gd name="T34" fmla="*/ 47 w 89"/>
                <a:gd name="T35" fmla="*/ 39 h 189"/>
                <a:gd name="T36" fmla="*/ 49 w 89"/>
                <a:gd name="T37" fmla="*/ 39 h 189"/>
                <a:gd name="T38" fmla="*/ 45 w 89"/>
                <a:gd name="T39" fmla="*/ 57 h 189"/>
                <a:gd name="T40" fmla="*/ 56 w 89"/>
                <a:gd name="T41" fmla="*/ 36 h 189"/>
                <a:gd name="T42" fmla="*/ 68 w 89"/>
                <a:gd name="T43" fmla="*/ 40 h 189"/>
                <a:gd name="T44" fmla="*/ 70 w 89"/>
                <a:gd name="T45" fmla="*/ 42 h 189"/>
                <a:gd name="T46" fmla="*/ 70 w 89"/>
                <a:gd name="T47" fmla="*/ 42 h 189"/>
                <a:gd name="T48" fmla="*/ 89 w 89"/>
                <a:gd name="T49" fmla="*/ 72 h 189"/>
                <a:gd name="T50" fmla="*/ 77 w 89"/>
                <a:gd name="T51" fmla="*/ 108 h 189"/>
                <a:gd name="T52" fmla="*/ 67 w 89"/>
                <a:gd name="T53" fmla="*/ 110 h 189"/>
                <a:gd name="T54" fmla="*/ 68 w 89"/>
                <a:gd name="T55" fmla="*/ 114 h 189"/>
                <a:gd name="T56" fmla="*/ 65 w 89"/>
                <a:gd name="T57" fmla="*/ 114 h 189"/>
                <a:gd name="T58" fmla="*/ 65 w 89"/>
                <a:gd name="T59" fmla="*/ 114 h 189"/>
                <a:gd name="T60" fmla="*/ 65 w 89"/>
                <a:gd name="T61" fmla="*/ 187 h 189"/>
                <a:gd name="T62" fmla="*/ 62 w 89"/>
                <a:gd name="T63" fmla="*/ 189 h 189"/>
                <a:gd name="T64" fmla="*/ 54 w 89"/>
                <a:gd name="T65" fmla="*/ 189 h 189"/>
                <a:gd name="T66" fmla="*/ 51 w 89"/>
                <a:gd name="T67" fmla="*/ 187 h 189"/>
                <a:gd name="T68" fmla="*/ 48 w 89"/>
                <a:gd name="T69" fmla="*/ 137 h 189"/>
                <a:gd name="T70" fmla="*/ 47 w 89"/>
                <a:gd name="T71" fmla="*/ 138 h 189"/>
                <a:gd name="T72" fmla="*/ 42 w 89"/>
                <a:gd name="T73" fmla="*/ 187 h 189"/>
                <a:gd name="T74" fmla="*/ 40 w 89"/>
                <a:gd name="T75" fmla="*/ 189 h 189"/>
                <a:gd name="T76" fmla="*/ 31 w 89"/>
                <a:gd name="T77" fmla="*/ 189 h 189"/>
                <a:gd name="T78" fmla="*/ 29 w 89"/>
                <a:gd name="T79" fmla="*/ 187 h 189"/>
                <a:gd name="T80" fmla="*/ 33 w 89"/>
                <a:gd name="T81" fmla="*/ 114 h 189"/>
                <a:gd name="T82" fmla="*/ 30 w 89"/>
                <a:gd name="T83" fmla="*/ 114 h 189"/>
                <a:gd name="T84" fmla="*/ 31 w 89"/>
                <a:gd name="T85" fmla="*/ 80 h 189"/>
                <a:gd name="T86" fmla="*/ 29 w 89"/>
                <a:gd name="T87" fmla="*/ 81 h 189"/>
                <a:gd name="T88" fmla="*/ 8 w 89"/>
                <a:gd name="T89" fmla="*/ 93 h 189"/>
                <a:gd name="T90" fmla="*/ 0 w 89"/>
                <a:gd name="T91" fmla="*/ 8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89" h="189">
                  <a:moveTo>
                    <a:pt x="53" y="1"/>
                  </a:moveTo>
                  <a:cubicBezTo>
                    <a:pt x="46" y="0"/>
                    <a:pt x="40" y="5"/>
                    <a:pt x="40" y="12"/>
                  </a:cubicBezTo>
                  <a:cubicBezTo>
                    <a:pt x="40" y="18"/>
                    <a:pt x="42" y="31"/>
                    <a:pt x="49" y="32"/>
                  </a:cubicBezTo>
                  <a:cubicBezTo>
                    <a:pt x="57" y="32"/>
                    <a:pt x="64" y="19"/>
                    <a:pt x="64" y="13"/>
                  </a:cubicBezTo>
                  <a:cubicBezTo>
                    <a:pt x="64" y="7"/>
                    <a:pt x="59" y="1"/>
                    <a:pt x="53" y="1"/>
                  </a:cubicBezTo>
                  <a:close/>
                  <a:moveTo>
                    <a:pt x="67" y="101"/>
                  </a:moveTo>
                  <a:cubicBezTo>
                    <a:pt x="67" y="89"/>
                    <a:pt x="68" y="78"/>
                    <a:pt x="68" y="66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2" y="68"/>
                    <a:pt x="74" y="71"/>
                    <a:pt x="75" y="74"/>
                  </a:cubicBezTo>
                  <a:cubicBezTo>
                    <a:pt x="73" y="84"/>
                    <a:pt x="71" y="91"/>
                    <a:pt x="67" y="101"/>
                  </a:cubicBezTo>
                  <a:close/>
                  <a:moveTo>
                    <a:pt x="0" y="84"/>
                  </a:moveTo>
                  <a:cubicBezTo>
                    <a:pt x="8" y="79"/>
                    <a:pt x="14" y="76"/>
                    <a:pt x="22" y="71"/>
                  </a:cubicBezTo>
                  <a:cubicBezTo>
                    <a:pt x="27" y="62"/>
                    <a:pt x="32" y="52"/>
                    <a:pt x="35" y="42"/>
                  </a:cubicBezTo>
                  <a:cubicBezTo>
                    <a:pt x="35" y="42"/>
                    <a:pt x="35" y="42"/>
                    <a:pt x="35" y="41"/>
                  </a:cubicBezTo>
                  <a:cubicBezTo>
                    <a:pt x="37" y="39"/>
                    <a:pt x="41" y="37"/>
                    <a:pt x="44" y="36"/>
                  </a:cubicBezTo>
                  <a:cubicBezTo>
                    <a:pt x="42" y="40"/>
                    <a:pt x="41" y="48"/>
                    <a:pt x="41" y="54"/>
                  </a:cubicBezTo>
                  <a:cubicBezTo>
                    <a:pt x="42" y="51"/>
                    <a:pt x="45" y="42"/>
                    <a:pt x="47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7" y="45"/>
                    <a:pt x="46" y="52"/>
                    <a:pt x="45" y="57"/>
                  </a:cubicBezTo>
                  <a:cubicBezTo>
                    <a:pt x="49" y="49"/>
                    <a:pt x="52" y="41"/>
                    <a:pt x="56" y="36"/>
                  </a:cubicBezTo>
                  <a:cubicBezTo>
                    <a:pt x="59" y="36"/>
                    <a:pt x="67" y="38"/>
                    <a:pt x="68" y="40"/>
                  </a:cubicBezTo>
                  <a:cubicBezTo>
                    <a:pt x="69" y="40"/>
                    <a:pt x="70" y="41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4" y="48"/>
                    <a:pt x="88" y="66"/>
                    <a:pt x="89" y="72"/>
                  </a:cubicBezTo>
                  <a:cubicBezTo>
                    <a:pt x="89" y="77"/>
                    <a:pt x="79" y="102"/>
                    <a:pt x="77" y="108"/>
                  </a:cubicBezTo>
                  <a:cubicBezTo>
                    <a:pt x="75" y="113"/>
                    <a:pt x="70" y="113"/>
                    <a:pt x="67" y="110"/>
                  </a:cubicBezTo>
                  <a:cubicBezTo>
                    <a:pt x="67" y="112"/>
                    <a:pt x="68" y="113"/>
                    <a:pt x="68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3" y="135"/>
                    <a:pt x="65" y="164"/>
                    <a:pt x="65" y="187"/>
                  </a:cubicBezTo>
                  <a:cubicBezTo>
                    <a:pt x="65" y="188"/>
                    <a:pt x="64" y="189"/>
                    <a:pt x="62" y="189"/>
                  </a:cubicBezTo>
                  <a:cubicBezTo>
                    <a:pt x="54" y="189"/>
                    <a:pt x="54" y="189"/>
                    <a:pt x="54" y="189"/>
                  </a:cubicBezTo>
                  <a:cubicBezTo>
                    <a:pt x="53" y="189"/>
                    <a:pt x="52" y="188"/>
                    <a:pt x="51" y="187"/>
                  </a:cubicBezTo>
                  <a:cubicBezTo>
                    <a:pt x="50" y="173"/>
                    <a:pt x="49" y="155"/>
                    <a:pt x="48" y="137"/>
                  </a:cubicBezTo>
                  <a:cubicBezTo>
                    <a:pt x="48" y="137"/>
                    <a:pt x="47" y="138"/>
                    <a:pt x="47" y="138"/>
                  </a:cubicBezTo>
                  <a:cubicBezTo>
                    <a:pt x="45" y="154"/>
                    <a:pt x="43" y="171"/>
                    <a:pt x="42" y="187"/>
                  </a:cubicBezTo>
                  <a:cubicBezTo>
                    <a:pt x="42" y="188"/>
                    <a:pt x="41" y="189"/>
                    <a:pt x="40" y="189"/>
                  </a:cubicBezTo>
                  <a:cubicBezTo>
                    <a:pt x="31" y="189"/>
                    <a:pt x="31" y="189"/>
                    <a:pt x="31" y="189"/>
                  </a:cubicBezTo>
                  <a:cubicBezTo>
                    <a:pt x="30" y="189"/>
                    <a:pt x="29" y="188"/>
                    <a:pt x="29" y="187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32" y="114"/>
                    <a:pt x="31" y="114"/>
                    <a:pt x="30" y="114"/>
                  </a:cubicBezTo>
                  <a:cubicBezTo>
                    <a:pt x="30" y="109"/>
                    <a:pt x="30" y="94"/>
                    <a:pt x="31" y="80"/>
                  </a:cubicBezTo>
                  <a:cubicBezTo>
                    <a:pt x="31" y="80"/>
                    <a:pt x="30" y="81"/>
                    <a:pt x="29" y="81"/>
                  </a:cubicBezTo>
                  <a:cubicBezTo>
                    <a:pt x="21" y="87"/>
                    <a:pt x="17" y="89"/>
                    <a:pt x="8" y="93"/>
                  </a:cubicBezTo>
                  <a:cubicBezTo>
                    <a:pt x="8" y="88"/>
                    <a:pt x="4" y="86"/>
                    <a:pt x="0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ru-RU" sz="1463">
                <a:solidFill>
                  <a:prstClr val="black"/>
                </a:solidFill>
              </a:endParaRPr>
            </a:p>
          </p:txBody>
        </p:sp>
      </p:grpSp>
      <p:sp>
        <p:nvSpPr>
          <p:cNvPr id="37" name="Freeform 19"/>
          <p:cNvSpPr>
            <a:spLocks noChangeAspect="1" noEditPoints="1"/>
          </p:cNvSpPr>
          <p:nvPr/>
        </p:nvSpPr>
        <p:spPr bwMode="auto">
          <a:xfrm>
            <a:off x="554303" y="3866112"/>
            <a:ext cx="274320" cy="249936"/>
          </a:xfrm>
          <a:custGeom>
            <a:avLst/>
            <a:gdLst>
              <a:gd name="T0" fmla="*/ 696 w 696"/>
              <a:gd name="T1" fmla="*/ 69 h 634"/>
              <a:gd name="T2" fmla="*/ 696 w 696"/>
              <a:gd name="T3" fmla="*/ 408 h 634"/>
              <a:gd name="T4" fmla="*/ 627 w 696"/>
              <a:gd name="T5" fmla="*/ 477 h 634"/>
              <a:gd name="T6" fmla="*/ 568 w 696"/>
              <a:gd name="T7" fmla="*/ 477 h 634"/>
              <a:gd name="T8" fmla="*/ 561 w 696"/>
              <a:gd name="T9" fmla="*/ 437 h 634"/>
              <a:gd name="T10" fmla="*/ 556 w 696"/>
              <a:gd name="T11" fmla="*/ 412 h 634"/>
              <a:gd name="T12" fmla="*/ 624 w 696"/>
              <a:gd name="T13" fmla="*/ 412 h 634"/>
              <a:gd name="T14" fmla="*/ 624 w 696"/>
              <a:gd name="T15" fmla="*/ 65 h 634"/>
              <a:gd name="T16" fmla="*/ 72 w 696"/>
              <a:gd name="T17" fmla="*/ 65 h 634"/>
              <a:gd name="T18" fmla="*/ 72 w 696"/>
              <a:gd name="T19" fmla="*/ 412 h 634"/>
              <a:gd name="T20" fmla="*/ 216 w 696"/>
              <a:gd name="T21" fmla="*/ 412 h 634"/>
              <a:gd name="T22" fmla="*/ 217 w 696"/>
              <a:gd name="T23" fmla="*/ 413 h 634"/>
              <a:gd name="T24" fmla="*/ 228 w 696"/>
              <a:gd name="T25" fmla="*/ 430 h 634"/>
              <a:gd name="T26" fmla="*/ 237 w 696"/>
              <a:gd name="T27" fmla="*/ 448 h 634"/>
              <a:gd name="T28" fmla="*/ 256 w 696"/>
              <a:gd name="T29" fmla="*/ 477 h 634"/>
              <a:gd name="T30" fmla="*/ 69 w 696"/>
              <a:gd name="T31" fmla="*/ 477 h 634"/>
              <a:gd name="T32" fmla="*/ 0 w 696"/>
              <a:gd name="T33" fmla="*/ 408 h 634"/>
              <a:gd name="T34" fmla="*/ 0 w 696"/>
              <a:gd name="T35" fmla="*/ 69 h 634"/>
              <a:gd name="T36" fmla="*/ 69 w 696"/>
              <a:gd name="T37" fmla="*/ 0 h 634"/>
              <a:gd name="T38" fmla="*/ 627 w 696"/>
              <a:gd name="T39" fmla="*/ 0 h 634"/>
              <a:gd name="T40" fmla="*/ 696 w 696"/>
              <a:gd name="T41" fmla="*/ 69 h 634"/>
              <a:gd name="T42" fmla="*/ 598 w 696"/>
              <a:gd name="T43" fmla="*/ 554 h 634"/>
              <a:gd name="T44" fmla="*/ 564 w 696"/>
              <a:gd name="T45" fmla="*/ 521 h 634"/>
              <a:gd name="T46" fmla="*/ 541 w 696"/>
              <a:gd name="T47" fmla="*/ 484 h 634"/>
              <a:gd name="T48" fmla="*/ 518 w 696"/>
              <a:gd name="T49" fmla="*/ 364 h 634"/>
              <a:gd name="T50" fmla="*/ 461 w 696"/>
              <a:gd name="T51" fmla="*/ 293 h 634"/>
              <a:gd name="T52" fmla="*/ 448 w 696"/>
              <a:gd name="T53" fmla="*/ 299 h 634"/>
              <a:gd name="T54" fmla="*/ 417 w 696"/>
              <a:gd name="T55" fmla="*/ 274 h 634"/>
              <a:gd name="T56" fmla="*/ 394 w 696"/>
              <a:gd name="T57" fmla="*/ 281 h 634"/>
              <a:gd name="T58" fmla="*/ 373 w 696"/>
              <a:gd name="T59" fmla="*/ 255 h 634"/>
              <a:gd name="T60" fmla="*/ 342 w 696"/>
              <a:gd name="T61" fmla="*/ 259 h 634"/>
              <a:gd name="T62" fmla="*/ 333 w 696"/>
              <a:gd name="T63" fmla="*/ 277 h 634"/>
              <a:gd name="T64" fmla="*/ 331 w 696"/>
              <a:gd name="T65" fmla="*/ 303 h 634"/>
              <a:gd name="T66" fmla="*/ 295 w 696"/>
              <a:gd name="T67" fmla="*/ 215 h 634"/>
              <a:gd name="T68" fmla="*/ 271 w 696"/>
              <a:gd name="T69" fmla="*/ 141 h 634"/>
              <a:gd name="T70" fmla="*/ 249 w 696"/>
              <a:gd name="T71" fmla="*/ 123 h 634"/>
              <a:gd name="T72" fmla="*/ 228 w 696"/>
              <a:gd name="T73" fmla="*/ 158 h 634"/>
              <a:gd name="T74" fmla="*/ 249 w 696"/>
              <a:gd name="T75" fmla="*/ 243 h 634"/>
              <a:gd name="T76" fmla="*/ 289 w 696"/>
              <a:gd name="T77" fmla="*/ 354 h 634"/>
              <a:gd name="T78" fmla="*/ 295 w 696"/>
              <a:gd name="T79" fmla="*/ 384 h 634"/>
              <a:gd name="T80" fmla="*/ 278 w 696"/>
              <a:gd name="T81" fmla="*/ 360 h 634"/>
              <a:gd name="T82" fmla="*/ 266 w 696"/>
              <a:gd name="T83" fmla="*/ 347 h 634"/>
              <a:gd name="T84" fmla="*/ 240 w 696"/>
              <a:gd name="T85" fmla="*/ 319 h 634"/>
              <a:gd name="T86" fmla="*/ 191 w 696"/>
              <a:gd name="T87" fmla="*/ 314 h 634"/>
              <a:gd name="T88" fmla="*/ 196 w 696"/>
              <a:gd name="T89" fmla="*/ 336 h 634"/>
              <a:gd name="T90" fmla="*/ 213 w 696"/>
              <a:gd name="T91" fmla="*/ 351 h 634"/>
              <a:gd name="T92" fmla="*/ 230 w 696"/>
              <a:gd name="T93" fmla="*/ 383 h 634"/>
              <a:gd name="T94" fmla="*/ 250 w 696"/>
              <a:gd name="T95" fmla="*/ 413 h 634"/>
              <a:gd name="T96" fmla="*/ 263 w 696"/>
              <a:gd name="T97" fmla="*/ 437 h 634"/>
              <a:gd name="T98" fmla="*/ 291 w 696"/>
              <a:gd name="T99" fmla="*/ 474 h 634"/>
              <a:gd name="T100" fmla="*/ 393 w 696"/>
              <a:gd name="T101" fmla="*/ 567 h 634"/>
              <a:gd name="T102" fmla="*/ 440 w 696"/>
              <a:gd name="T103" fmla="*/ 616 h 634"/>
              <a:gd name="T104" fmla="*/ 598 w 696"/>
              <a:gd name="T105" fmla="*/ 55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96" h="634">
                <a:moveTo>
                  <a:pt x="696" y="69"/>
                </a:moveTo>
                <a:cubicBezTo>
                  <a:pt x="696" y="408"/>
                  <a:pt x="696" y="408"/>
                  <a:pt x="696" y="408"/>
                </a:cubicBezTo>
                <a:cubicBezTo>
                  <a:pt x="696" y="446"/>
                  <a:pt x="665" y="477"/>
                  <a:pt x="627" y="477"/>
                </a:cubicBezTo>
                <a:cubicBezTo>
                  <a:pt x="568" y="477"/>
                  <a:pt x="568" y="477"/>
                  <a:pt x="568" y="477"/>
                </a:cubicBezTo>
                <a:cubicBezTo>
                  <a:pt x="567" y="472"/>
                  <a:pt x="564" y="453"/>
                  <a:pt x="561" y="437"/>
                </a:cubicBezTo>
                <a:cubicBezTo>
                  <a:pt x="559" y="428"/>
                  <a:pt x="558" y="420"/>
                  <a:pt x="556" y="412"/>
                </a:cubicBezTo>
                <a:cubicBezTo>
                  <a:pt x="624" y="412"/>
                  <a:pt x="624" y="412"/>
                  <a:pt x="624" y="412"/>
                </a:cubicBezTo>
                <a:cubicBezTo>
                  <a:pt x="624" y="65"/>
                  <a:pt x="624" y="65"/>
                  <a:pt x="624" y="65"/>
                </a:cubicBezTo>
                <a:cubicBezTo>
                  <a:pt x="72" y="65"/>
                  <a:pt x="72" y="65"/>
                  <a:pt x="72" y="65"/>
                </a:cubicBezTo>
                <a:cubicBezTo>
                  <a:pt x="72" y="412"/>
                  <a:pt x="72" y="412"/>
                  <a:pt x="72" y="412"/>
                </a:cubicBezTo>
                <a:cubicBezTo>
                  <a:pt x="216" y="412"/>
                  <a:pt x="216" y="412"/>
                  <a:pt x="216" y="412"/>
                </a:cubicBezTo>
                <a:cubicBezTo>
                  <a:pt x="216" y="413"/>
                  <a:pt x="216" y="413"/>
                  <a:pt x="217" y="413"/>
                </a:cubicBezTo>
                <a:cubicBezTo>
                  <a:pt x="222" y="422"/>
                  <a:pt x="226" y="427"/>
                  <a:pt x="228" y="430"/>
                </a:cubicBezTo>
                <a:cubicBezTo>
                  <a:pt x="229" y="432"/>
                  <a:pt x="233" y="438"/>
                  <a:pt x="237" y="448"/>
                </a:cubicBezTo>
                <a:cubicBezTo>
                  <a:pt x="241" y="456"/>
                  <a:pt x="248" y="466"/>
                  <a:pt x="256" y="477"/>
                </a:cubicBezTo>
                <a:cubicBezTo>
                  <a:pt x="69" y="477"/>
                  <a:pt x="69" y="477"/>
                  <a:pt x="69" y="477"/>
                </a:cubicBezTo>
                <a:cubicBezTo>
                  <a:pt x="31" y="477"/>
                  <a:pt x="0" y="446"/>
                  <a:pt x="0" y="408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31"/>
                  <a:pt x="31" y="0"/>
                  <a:pt x="69" y="0"/>
                </a:cubicBezTo>
                <a:cubicBezTo>
                  <a:pt x="627" y="0"/>
                  <a:pt x="627" y="0"/>
                  <a:pt x="627" y="0"/>
                </a:cubicBezTo>
                <a:cubicBezTo>
                  <a:pt x="665" y="0"/>
                  <a:pt x="696" y="31"/>
                  <a:pt x="696" y="69"/>
                </a:cubicBezTo>
                <a:close/>
                <a:moveTo>
                  <a:pt x="598" y="554"/>
                </a:moveTo>
                <a:cubicBezTo>
                  <a:pt x="582" y="539"/>
                  <a:pt x="568" y="525"/>
                  <a:pt x="564" y="521"/>
                </a:cubicBezTo>
                <a:cubicBezTo>
                  <a:pt x="556" y="511"/>
                  <a:pt x="543" y="492"/>
                  <a:pt x="541" y="484"/>
                </a:cubicBezTo>
                <a:cubicBezTo>
                  <a:pt x="539" y="476"/>
                  <a:pt x="521" y="374"/>
                  <a:pt x="518" y="364"/>
                </a:cubicBezTo>
                <a:cubicBezTo>
                  <a:pt x="511" y="334"/>
                  <a:pt x="495" y="292"/>
                  <a:pt x="461" y="293"/>
                </a:cubicBezTo>
                <a:cubicBezTo>
                  <a:pt x="454" y="293"/>
                  <a:pt x="448" y="299"/>
                  <a:pt x="448" y="299"/>
                </a:cubicBezTo>
                <a:cubicBezTo>
                  <a:pt x="448" y="299"/>
                  <a:pt x="439" y="276"/>
                  <a:pt x="417" y="274"/>
                </a:cubicBezTo>
                <a:cubicBezTo>
                  <a:pt x="402" y="273"/>
                  <a:pt x="394" y="281"/>
                  <a:pt x="394" y="281"/>
                </a:cubicBezTo>
                <a:cubicBezTo>
                  <a:pt x="394" y="281"/>
                  <a:pt x="384" y="259"/>
                  <a:pt x="373" y="255"/>
                </a:cubicBezTo>
                <a:cubicBezTo>
                  <a:pt x="362" y="252"/>
                  <a:pt x="346" y="255"/>
                  <a:pt x="342" y="259"/>
                </a:cubicBezTo>
                <a:cubicBezTo>
                  <a:pt x="339" y="264"/>
                  <a:pt x="334" y="267"/>
                  <a:pt x="333" y="277"/>
                </a:cubicBezTo>
                <a:cubicBezTo>
                  <a:pt x="331" y="287"/>
                  <a:pt x="331" y="303"/>
                  <a:pt x="331" y="303"/>
                </a:cubicBezTo>
                <a:cubicBezTo>
                  <a:pt x="331" y="303"/>
                  <a:pt x="300" y="230"/>
                  <a:pt x="295" y="215"/>
                </a:cubicBezTo>
                <a:cubicBezTo>
                  <a:pt x="290" y="198"/>
                  <a:pt x="276" y="149"/>
                  <a:pt x="271" y="141"/>
                </a:cubicBezTo>
                <a:cubicBezTo>
                  <a:pt x="266" y="132"/>
                  <a:pt x="262" y="121"/>
                  <a:pt x="249" y="123"/>
                </a:cubicBezTo>
                <a:cubicBezTo>
                  <a:pt x="237" y="124"/>
                  <a:pt x="223" y="133"/>
                  <a:pt x="228" y="158"/>
                </a:cubicBezTo>
                <a:cubicBezTo>
                  <a:pt x="232" y="183"/>
                  <a:pt x="244" y="224"/>
                  <a:pt x="249" y="243"/>
                </a:cubicBezTo>
                <a:cubicBezTo>
                  <a:pt x="254" y="262"/>
                  <a:pt x="282" y="331"/>
                  <a:pt x="289" y="354"/>
                </a:cubicBezTo>
                <a:cubicBezTo>
                  <a:pt x="295" y="376"/>
                  <a:pt x="295" y="384"/>
                  <a:pt x="295" y="384"/>
                </a:cubicBezTo>
                <a:cubicBezTo>
                  <a:pt x="295" y="384"/>
                  <a:pt x="284" y="367"/>
                  <a:pt x="278" y="360"/>
                </a:cubicBezTo>
                <a:cubicBezTo>
                  <a:pt x="272" y="352"/>
                  <a:pt x="266" y="347"/>
                  <a:pt x="266" y="347"/>
                </a:cubicBezTo>
                <a:cubicBezTo>
                  <a:pt x="266" y="347"/>
                  <a:pt x="255" y="327"/>
                  <a:pt x="240" y="319"/>
                </a:cubicBezTo>
                <a:cubicBezTo>
                  <a:pt x="224" y="310"/>
                  <a:pt x="203" y="303"/>
                  <a:pt x="191" y="314"/>
                </a:cubicBezTo>
                <a:cubicBezTo>
                  <a:pt x="179" y="325"/>
                  <a:pt x="191" y="333"/>
                  <a:pt x="196" y="336"/>
                </a:cubicBezTo>
                <a:cubicBezTo>
                  <a:pt x="201" y="340"/>
                  <a:pt x="210" y="347"/>
                  <a:pt x="213" y="351"/>
                </a:cubicBezTo>
                <a:cubicBezTo>
                  <a:pt x="215" y="356"/>
                  <a:pt x="226" y="379"/>
                  <a:pt x="230" y="383"/>
                </a:cubicBezTo>
                <a:cubicBezTo>
                  <a:pt x="233" y="388"/>
                  <a:pt x="246" y="407"/>
                  <a:pt x="250" y="413"/>
                </a:cubicBezTo>
                <a:cubicBezTo>
                  <a:pt x="254" y="418"/>
                  <a:pt x="260" y="430"/>
                  <a:pt x="263" y="437"/>
                </a:cubicBezTo>
                <a:cubicBezTo>
                  <a:pt x="266" y="444"/>
                  <a:pt x="276" y="459"/>
                  <a:pt x="291" y="474"/>
                </a:cubicBezTo>
                <a:cubicBezTo>
                  <a:pt x="306" y="489"/>
                  <a:pt x="379" y="553"/>
                  <a:pt x="393" y="567"/>
                </a:cubicBezTo>
                <a:cubicBezTo>
                  <a:pt x="401" y="575"/>
                  <a:pt x="421" y="596"/>
                  <a:pt x="440" y="616"/>
                </a:cubicBezTo>
                <a:cubicBezTo>
                  <a:pt x="459" y="634"/>
                  <a:pt x="610" y="565"/>
                  <a:pt x="598" y="55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ru-RU" sz="1463">
              <a:solidFill>
                <a:prstClr val="black"/>
              </a:solidFill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109355" y="1273125"/>
            <a:ext cx="274320" cy="274320"/>
            <a:chOff x="-1815752" y="2364483"/>
            <a:chExt cx="1494055" cy="1512394"/>
          </a:xfrm>
          <a:solidFill>
            <a:schemeClr val="tx2"/>
          </a:solidFill>
          <a:effectLst/>
        </p:grpSpPr>
        <p:cxnSp>
          <p:nvCxnSpPr>
            <p:cNvPr id="39" name="Straight Connector 38"/>
            <p:cNvCxnSpPr>
              <a:stCxn id="43" idx="3"/>
              <a:endCxn id="44" idx="1"/>
            </p:cNvCxnSpPr>
            <p:nvPr/>
          </p:nvCxnSpPr>
          <p:spPr>
            <a:xfrm>
              <a:off x="-1255291" y="2644714"/>
              <a:ext cx="373133" cy="0"/>
            </a:xfrm>
            <a:prstGeom prst="line">
              <a:avLst/>
            </a:prstGeom>
            <a:grpFill/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46" idx="3"/>
              <a:endCxn id="45" idx="1"/>
            </p:cNvCxnSpPr>
            <p:nvPr/>
          </p:nvCxnSpPr>
          <p:spPr>
            <a:xfrm>
              <a:off x="-1255291" y="3596647"/>
              <a:ext cx="373133" cy="0"/>
            </a:xfrm>
            <a:prstGeom prst="line">
              <a:avLst/>
            </a:prstGeom>
            <a:grpFill/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43" idx="2"/>
              <a:endCxn id="46" idx="0"/>
            </p:cNvCxnSpPr>
            <p:nvPr/>
          </p:nvCxnSpPr>
          <p:spPr>
            <a:xfrm>
              <a:off x="-1535521" y="2924944"/>
              <a:ext cx="0" cy="391472"/>
            </a:xfrm>
            <a:prstGeom prst="line">
              <a:avLst/>
            </a:prstGeom>
            <a:grpFill/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44" idx="2"/>
              <a:endCxn id="45" idx="0"/>
            </p:cNvCxnSpPr>
            <p:nvPr/>
          </p:nvCxnSpPr>
          <p:spPr>
            <a:xfrm>
              <a:off x="-601927" y="2924944"/>
              <a:ext cx="0" cy="391472"/>
            </a:xfrm>
            <a:prstGeom prst="line">
              <a:avLst/>
            </a:prstGeom>
            <a:grpFill/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Rounded Rectangle 42"/>
            <p:cNvSpPr/>
            <p:nvPr/>
          </p:nvSpPr>
          <p:spPr>
            <a:xfrm>
              <a:off x="-1815752" y="2364483"/>
              <a:ext cx="560461" cy="56046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44" name="Rounded Rectangle 43"/>
            <p:cNvSpPr/>
            <p:nvPr/>
          </p:nvSpPr>
          <p:spPr>
            <a:xfrm>
              <a:off x="-882158" y="2364483"/>
              <a:ext cx="560461" cy="56046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45" name="Rounded Rectangle 44"/>
            <p:cNvSpPr/>
            <p:nvPr/>
          </p:nvSpPr>
          <p:spPr>
            <a:xfrm>
              <a:off x="-882158" y="3316416"/>
              <a:ext cx="560461" cy="56046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  <p:sp>
          <p:nvSpPr>
            <p:cNvPr id="46" name="Rounded Rectangle 45"/>
            <p:cNvSpPr/>
            <p:nvPr/>
          </p:nvSpPr>
          <p:spPr>
            <a:xfrm>
              <a:off x="-1815752" y="3316416"/>
              <a:ext cx="560461" cy="560461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9089442" y="3782676"/>
            <a:ext cx="320040" cy="320040"/>
            <a:chOff x="2776538" y="2657475"/>
            <a:chExt cx="720726" cy="720726"/>
          </a:xfrm>
          <a:solidFill>
            <a:schemeClr val="tx2"/>
          </a:solidFill>
        </p:grpSpPr>
        <p:sp>
          <p:nvSpPr>
            <p:cNvPr id="48" name="Freeform 328"/>
            <p:cNvSpPr>
              <a:spLocks/>
            </p:cNvSpPr>
            <p:nvPr/>
          </p:nvSpPr>
          <p:spPr bwMode="auto">
            <a:xfrm>
              <a:off x="2806701" y="3108325"/>
              <a:ext cx="660400" cy="149225"/>
            </a:xfrm>
            <a:custGeom>
              <a:avLst/>
              <a:gdLst/>
              <a:ahLst/>
              <a:cxnLst>
                <a:cxn ang="0">
                  <a:pos x="19" y="56"/>
                </a:cxn>
                <a:cxn ang="0">
                  <a:pos x="199" y="56"/>
                </a:cxn>
                <a:cxn ang="0">
                  <a:pos x="199" y="94"/>
                </a:cxn>
                <a:cxn ang="0">
                  <a:pos x="218" y="94"/>
                </a:cxn>
                <a:cxn ang="0">
                  <a:pos x="218" y="56"/>
                </a:cxn>
                <a:cxn ang="0">
                  <a:pos x="397" y="56"/>
                </a:cxn>
                <a:cxn ang="0">
                  <a:pos x="397" y="94"/>
                </a:cxn>
                <a:cxn ang="0">
                  <a:pos x="416" y="94"/>
                </a:cxn>
                <a:cxn ang="0">
                  <a:pos x="416" y="38"/>
                </a:cxn>
                <a:cxn ang="0">
                  <a:pos x="218" y="38"/>
                </a:cxn>
                <a:cxn ang="0">
                  <a:pos x="218" y="0"/>
                </a:cxn>
                <a:cxn ang="0">
                  <a:pos x="199" y="0"/>
                </a:cxn>
                <a:cxn ang="0">
                  <a:pos x="199" y="38"/>
                </a:cxn>
                <a:cxn ang="0">
                  <a:pos x="0" y="38"/>
                </a:cxn>
                <a:cxn ang="0">
                  <a:pos x="0" y="94"/>
                </a:cxn>
                <a:cxn ang="0">
                  <a:pos x="19" y="94"/>
                </a:cxn>
                <a:cxn ang="0">
                  <a:pos x="19" y="56"/>
                </a:cxn>
              </a:cxnLst>
              <a:rect l="0" t="0" r="r" b="b"/>
              <a:pathLst>
                <a:path w="416" h="94">
                  <a:moveTo>
                    <a:pt x="19" y="56"/>
                  </a:moveTo>
                  <a:lnTo>
                    <a:pt x="199" y="56"/>
                  </a:lnTo>
                  <a:lnTo>
                    <a:pt x="199" y="94"/>
                  </a:lnTo>
                  <a:lnTo>
                    <a:pt x="218" y="94"/>
                  </a:lnTo>
                  <a:lnTo>
                    <a:pt x="218" y="56"/>
                  </a:lnTo>
                  <a:lnTo>
                    <a:pt x="397" y="56"/>
                  </a:lnTo>
                  <a:lnTo>
                    <a:pt x="397" y="94"/>
                  </a:lnTo>
                  <a:lnTo>
                    <a:pt x="416" y="94"/>
                  </a:lnTo>
                  <a:lnTo>
                    <a:pt x="416" y="38"/>
                  </a:lnTo>
                  <a:lnTo>
                    <a:pt x="218" y="38"/>
                  </a:lnTo>
                  <a:lnTo>
                    <a:pt x="218" y="0"/>
                  </a:lnTo>
                  <a:lnTo>
                    <a:pt x="199" y="0"/>
                  </a:lnTo>
                  <a:lnTo>
                    <a:pt x="199" y="38"/>
                  </a:lnTo>
                  <a:lnTo>
                    <a:pt x="0" y="38"/>
                  </a:lnTo>
                  <a:lnTo>
                    <a:pt x="0" y="94"/>
                  </a:lnTo>
                  <a:lnTo>
                    <a:pt x="19" y="94"/>
                  </a:lnTo>
                  <a:lnTo>
                    <a:pt x="19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29"/>
            <p:cNvSpPr>
              <a:spLocks/>
            </p:cNvSpPr>
            <p:nvPr/>
          </p:nvSpPr>
          <p:spPr bwMode="auto">
            <a:xfrm>
              <a:off x="3048001" y="2657475"/>
              <a:ext cx="179388" cy="255588"/>
            </a:xfrm>
            <a:custGeom>
              <a:avLst/>
              <a:gdLst/>
              <a:ahLst/>
              <a:cxnLst>
                <a:cxn ang="0">
                  <a:pos x="7" y="42"/>
                </a:cxn>
                <a:cxn ang="0">
                  <a:pos x="12" y="54"/>
                </a:cxn>
                <a:cxn ang="0">
                  <a:pos x="12" y="60"/>
                </a:cxn>
                <a:cxn ang="0">
                  <a:pos x="24" y="68"/>
                </a:cxn>
                <a:cxn ang="0">
                  <a:pos x="36" y="60"/>
                </a:cxn>
                <a:cxn ang="0">
                  <a:pos x="36" y="54"/>
                </a:cxn>
                <a:cxn ang="0">
                  <a:pos x="41" y="42"/>
                </a:cxn>
                <a:cxn ang="0">
                  <a:pos x="44" y="41"/>
                </a:cxn>
                <a:cxn ang="0">
                  <a:pos x="47" y="30"/>
                </a:cxn>
                <a:cxn ang="0">
                  <a:pos x="44" y="28"/>
                </a:cxn>
                <a:cxn ang="0">
                  <a:pos x="44" y="17"/>
                </a:cxn>
                <a:cxn ang="0">
                  <a:pos x="36" y="6"/>
                </a:cxn>
                <a:cxn ang="0">
                  <a:pos x="24" y="0"/>
                </a:cxn>
                <a:cxn ang="0">
                  <a:pos x="4" y="16"/>
                </a:cxn>
                <a:cxn ang="0">
                  <a:pos x="4" y="28"/>
                </a:cxn>
                <a:cxn ang="0">
                  <a:pos x="1" y="30"/>
                </a:cxn>
                <a:cxn ang="0">
                  <a:pos x="4" y="41"/>
                </a:cxn>
                <a:cxn ang="0">
                  <a:pos x="7" y="42"/>
                </a:cxn>
              </a:cxnLst>
              <a:rect l="0" t="0" r="r" b="b"/>
              <a:pathLst>
                <a:path w="48" h="68">
                  <a:moveTo>
                    <a:pt x="7" y="42"/>
                  </a:moveTo>
                  <a:cubicBezTo>
                    <a:pt x="12" y="54"/>
                    <a:pt x="12" y="54"/>
                    <a:pt x="12" y="54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3" y="42"/>
                    <a:pt x="44" y="41"/>
                  </a:cubicBezTo>
                  <a:cubicBezTo>
                    <a:pt x="47" y="39"/>
                    <a:pt x="48" y="33"/>
                    <a:pt x="47" y="30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3"/>
                    <a:pt x="44" y="17"/>
                  </a:cubicBezTo>
                  <a:cubicBezTo>
                    <a:pt x="44" y="11"/>
                    <a:pt x="42" y="6"/>
                    <a:pt x="36" y="6"/>
                  </a:cubicBezTo>
                  <a:cubicBezTo>
                    <a:pt x="34" y="2"/>
                    <a:pt x="30" y="0"/>
                    <a:pt x="24" y="0"/>
                  </a:cubicBezTo>
                  <a:cubicBezTo>
                    <a:pt x="11" y="0"/>
                    <a:pt x="4" y="7"/>
                    <a:pt x="4" y="16"/>
                  </a:cubicBezTo>
                  <a:cubicBezTo>
                    <a:pt x="4" y="22"/>
                    <a:pt x="4" y="28"/>
                    <a:pt x="4" y="28"/>
                  </a:cubicBezTo>
                  <a:cubicBezTo>
                    <a:pt x="4" y="28"/>
                    <a:pt x="3" y="28"/>
                    <a:pt x="1" y="30"/>
                  </a:cubicBezTo>
                  <a:cubicBezTo>
                    <a:pt x="0" y="33"/>
                    <a:pt x="1" y="39"/>
                    <a:pt x="4" y="41"/>
                  </a:cubicBezTo>
                  <a:cubicBezTo>
                    <a:pt x="5" y="42"/>
                    <a:pt x="7" y="42"/>
                    <a:pt x="7" y="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30"/>
            <p:cNvSpPr>
              <a:spLocks/>
            </p:cNvSpPr>
            <p:nvPr/>
          </p:nvSpPr>
          <p:spPr bwMode="auto">
            <a:xfrm>
              <a:off x="2927351" y="2897188"/>
              <a:ext cx="420688" cy="180975"/>
            </a:xfrm>
            <a:custGeom>
              <a:avLst/>
              <a:gdLst/>
              <a:ahLst/>
              <a:cxnLst>
                <a:cxn ang="0">
                  <a:pos x="56" y="48"/>
                </a:cxn>
                <a:cxn ang="0">
                  <a:pos x="112" y="41"/>
                </a:cxn>
                <a:cxn ang="0">
                  <a:pos x="103" y="10"/>
                </a:cxn>
                <a:cxn ang="0">
                  <a:pos x="72" y="0"/>
                </a:cxn>
                <a:cxn ang="0">
                  <a:pos x="60" y="38"/>
                </a:cxn>
                <a:cxn ang="0">
                  <a:pos x="60" y="18"/>
                </a:cxn>
                <a:cxn ang="0">
                  <a:pos x="58" y="13"/>
                </a:cxn>
                <a:cxn ang="0">
                  <a:pos x="60" y="10"/>
                </a:cxn>
                <a:cxn ang="0">
                  <a:pos x="56" y="6"/>
                </a:cxn>
                <a:cxn ang="0">
                  <a:pos x="52" y="10"/>
                </a:cxn>
                <a:cxn ang="0">
                  <a:pos x="54" y="13"/>
                </a:cxn>
                <a:cxn ang="0">
                  <a:pos x="52" y="18"/>
                </a:cxn>
                <a:cxn ang="0">
                  <a:pos x="52" y="38"/>
                </a:cxn>
                <a:cxn ang="0">
                  <a:pos x="40" y="0"/>
                </a:cxn>
                <a:cxn ang="0">
                  <a:pos x="9" y="10"/>
                </a:cxn>
                <a:cxn ang="0">
                  <a:pos x="0" y="41"/>
                </a:cxn>
                <a:cxn ang="0">
                  <a:pos x="56" y="48"/>
                </a:cxn>
              </a:cxnLst>
              <a:rect l="0" t="0" r="r" b="b"/>
              <a:pathLst>
                <a:path w="112" h="48">
                  <a:moveTo>
                    <a:pt x="56" y="48"/>
                  </a:moveTo>
                  <a:cubicBezTo>
                    <a:pt x="84" y="48"/>
                    <a:pt x="112" y="43"/>
                    <a:pt x="112" y="41"/>
                  </a:cubicBezTo>
                  <a:cubicBezTo>
                    <a:pt x="112" y="34"/>
                    <a:pt x="107" y="12"/>
                    <a:pt x="103" y="10"/>
                  </a:cubicBezTo>
                  <a:cubicBezTo>
                    <a:pt x="100" y="7"/>
                    <a:pt x="72" y="0"/>
                    <a:pt x="72" y="0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12" y="7"/>
                    <a:pt x="9" y="10"/>
                  </a:cubicBezTo>
                  <a:cubicBezTo>
                    <a:pt x="5" y="12"/>
                    <a:pt x="0" y="34"/>
                    <a:pt x="0" y="41"/>
                  </a:cubicBezTo>
                  <a:cubicBezTo>
                    <a:pt x="0" y="43"/>
                    <a:pt x="28" y="48"/>
                    <a:pt x="5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Oval 331"/>
            <p:cNvSpPr>
              <a:spLocks noChangeArrowheads="1"/>
            </p:cNvSpPr>
            <p:nvPr/>
          </p:nvSpPr>
          <p:spPr bwMode="auto">
            <a:xfrm>
              <a:off x="3406776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Oval 332"/>
            <p:cNvSpPr>
              <a:spLocks noChangeArrowheads="1"/>
            </p:cNvSpPr>
            <p:nvPr/>
          </p:nvSpPr>
          <p:spPr bwMode="auto">
            <a:xfrm>
              <a:off x="3092451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Oval 333"/>
            <p:cNvSpPr>
              <a:spLocks noChangeArrowheads="1"/>
            </p:cNvSpPr>
            <p:nvPr/>
          </p:nvSpPr>
          <p:spPr bwMode="auto">
            <a:xfrm>
              <a:off x="2776538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70562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Существует четыре типа бизнес-модели цифрового банка, различающихся степенью своей автономности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4" name="Rectangle 3"/>
          <p:cNvSpPr/>
          <p:nvPr/>
        </p:nvSpPr>
        <p:spPr bwMode="auto">
          <a:xfrm>
            <a:off x="917894" y="6643657"/>
            <a:ext cx="4892356" cy="1231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57263"/>
            <a:r>
              <a:rPr lang="ru-RU" sz="800" i="1" dirty="0" smtClean="0">
                <a:solidFill>
                  <a:srgbClr val="FFFFFF"/>
                </a:solidFill>
              </a:rPr>
              <a:t>Источник: Анализ </a:t>
            </a:r>
            <a:r>
              <a:rPr lang="en-US" sz="800" i="1" dirty="0" smtClean="0">
                <a:solidFill>
                  <a:srgbClr val="FFFFFF"/>
                </a:solidFill>
              </a:rPr>
              <a:t>PwC</a:t>
            </a:r>
            <a:r>
              <a:rPr lang="en-US" sz="800" i="1" dirty="0">
                <a:solidFill>
                  <a:srgbClr val="FFFFFF"/>
                </a:solidFill>
              </a:rPr>
              <a:t>;</a:t>
            </a:r>
            <a:r>
              <a:rPr lang="en-US" sz="800" i="1" dirty="0" smtClean="0">
                <a:solidFill>
                  <a:srgbClr val="FFFFFF"/>
                </a:solidFill>
              </a:rPr>
              <a:t> </a:t>
            </a:r>
            <a:r>
              <a:rPr lang="ru-RU" sz="800" i="1" dirty="0" smtClean="0">
                <a:solidFill>
                  <a:srgbClr val="FFFFFF"/>
                </a:solidFill>
              </a:rPr>
              <a:t>доклад «</a:t>
            </a:r>
            <a:r>
              <a:rPr lang="en-US" sz="800" i="1" dirty="0" smtClean="0">
                <a:solidFill>
                  <a:srgbClr val="FFFFFF"/>
                </a:solidFill>
              </a:rPr>
              <a:t>Designing </a:t>
            </a:r>
            <a:r>
              <a:rPr lang="en-US" sz="800" i="1" dirty="0">
                <a:solidFill>
                  <a:srgbClr val="FFFFFF"/>
                </a:solidFill>
              </a:rPr>
              <a:t>a </a:t>
            </a:r>
            <a:r>
              <a:rPr lang="en-US" sz="800" i="1" dirty="0" smtClean="0">
                <a:solidFill>
                  <a:srgbClr val="FFFFFF"/>
                </a:solidFill>
              </a:rPr>
              <a:t>sustainable</a:t>
            </a:r>
            <a:r>
              <a:rPr lang="ru-RU" sz="800" i="1" dirty="0" smtClean="0">
                <a:solidFill>
                  <a:srgbClr val="FFFFFF"/>
                </a:solidFill>
              </a:rPr>
              <a:t> </a:t>
            </a:r>
            <a:r>
              <a:rPr lang="en-US" sz="800" i="1" dirty="0" smtClean="0">
                <a:solidFill>
                  <a:srgbClr val="FFFFFF"/>
                </a:solidFill>
              </a:rPr>
              <a:t>digital bank</a:t>
            </a:r>
            <a:r>
              <a:rPr lang="ru-RU" sz="800" i="1" dirty="0" smtClean="0">
                <a:solidFill>
                  <a:srgbClr val="FFFFFF"/>
                </a:solidFill>
              </a:rPr>
              <a:t>»</a:t>
            </a:r>
            <a:r>
              <a:rPr lang="en-US" sz="800" i="1" smtClean="0">
                <a:solidFill>
                  <a:srgbClr val="FFFFFF"/>
                </a:solidFill>
              </a:rPr>
              <a:t>,</a:t>
            </a:r>
            <a:r>
              <a:rPr lang="ru-RU" sz="800" i="1" smtClean="0">
                <a:solidFill>
                  <a:srgbClr val="FFFFFF"/>
                </a:solidFill>
              </a:rPr>
              <a:t> </a:t>
            </a:r>
            <a:r>
              <a:rPr lang="en-US" sz="800" i="1" dirty="0" smtClean="0">
                <a:solidFill>
                  <a:srgbClr val="FFFFFF"/>
                </a:solidFill>
              </a:rPr>
              <a:t>IBM</a:t>
            </a:r>
            <a:endParaRPr lang="en-US" sz="800" i="1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8295618"/>
              </p:ext>
            </p:extLst>
          </p:nvPr>
        </p:nvGraphicFramePr>
        <p:xfrm>
          <a:off x="1954531" y="1990644"/>
          <a:ext cx="7614471" cy="4277712"/>
        </p:xfrm>
        <a:graphic>
          <a:graphicData uri="http://schemas.openxmlformats.org/drawingml/2006/table">
            <a:tbl>
              <a:tblPr firstRow="1" bandRow="1"/>
              <a:tblGrid>
                <a:gridCol w="1387684"/>
                <a:gridCol w="1387684"/>
                <a:gridCol w="1387684"/>
                <a:gridCol w="1387684"/>
                <a:gridCol w="2063735"/>
              </a:tblGrid>
              <a:tr h="1069428"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овмещены </a:t>
                      </a:r>
                      <a:r>
                        <a:rPr lang="ru-RU" sz="1200" b="0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 каналами основного банка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диный </a:t>
                      </a:r>
                      <a:r>
                        <a:rPr lang="ru-RU" sz="1200" b="0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 основным банком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спользование лицензии </a:t>
                      </a:r>
                      <a:r>
                        <a:rPr lang="ru-RU" sz="1200" b="0" i="0" kern="1200" dirty="0" smtClean="0">
                          <a:solidFill>
                            <a:srgbClr val="000000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сновного банка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b="1" i="1" kern="1200" dirty="0" smtClean="0">
                        <a:solidFill>
                          <a:srgbClr val="009136"/>
                        </a:solidFill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9428"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Единый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 основным банком</a:t>
                      </a: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спользование лицензии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сновного банка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b="1" i="1" kern="1200" dirty="0" smtClean="0">
                        <a:solidFill>
                          <a:srgbClr val="009136"/>
                        </a:solidFill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9428"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спользование лицензии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сновного банка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b="1" i="1" kern="1200" dirty="0" smtClean="0">
                        <a:solidFill>
                          <a:srgbClr val="009136"/>
                        </a:solidFill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69428"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200" b="1" i="0" kern="1200" dirty="0" smtClean="0">
                          <a:solidFill>
                            <a:schemeClr val="tx2"/>
                          </a:solidFill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lang="ru-RU" sz="1200" b="1" i="0" kern="1200" dirty="0" smtClean="0">
                        <a:solidFill>
                          <a:schemeClr val="tx2"/>
                        </a:solidFill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Tahoma" panose="020B0604030504040204" pitchFamily="34" charset="0"/>
                          <a:cs typeface="Tahoma" panose="020B0604030504040204" pitchFamily="34" charset="0"/>
                          <a:sym typeface="Wingdings" panose="05000000000000000000" pitchFamily="2" charset="2"/>
                        </a:rPr>
                        <a:t>Самостоятельно</a:t>
                      </a: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7506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100" b="1" i="1" kern="1200" dirty="0" smtClean="0">
                        <a:solidFill>
                          <a:srgbClr val="009136"/>
                        </a:solidFill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36000" marR="3600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Pentagon 6"/>
          <p:cNvSpPr/>
          <p:nvPr/>
        </p:nvSpPr>
        <p:spPr bwMode="auto">
          <a:xfrm>
            <a:off x="1859682" y="1486996"/>
            <a:ext cx="1390086" cy="5766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Продукты, 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продажи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12" name="Pentagon 11"/>
          <p:cNvSpPr/>
          <p:nvPr/>
        </p:nvSpPr>
        <p:spPr bwMode="auto">
          <a:xfrm>
            <a:off x="3252077" y="1486996"/>
            <a:ext cx="1389600" cy="5766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Каналы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17" name="Pentagon 16"/>
          <p:cNvSpPr/>
          <p:nvPr/>
        </p:nvSpPr>
        <p:spPr bwMode="auto">
          <a:xfrm>
            <a:off x="4656865" y="1486996"/>
            <a:ext cx="1389600" cy="5766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Бэк-офис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3" name="Pentagon 22"/>
          <p:cNvSpPr/>
          <p:nvPr/>
        </p:nvSpPr>
        <p:spPr bwMode="auto">
          <a:xfrm>
            <a:off x="6048775" y="1486996"/>
            <a:ext cx="1389600" cy="5766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Банковская</a:t>
            </a:r>
            <a:br>
              <a:rPr lang="ru-RU" sz="1200" b="1" dirty="0" smtClean="0">
                <a:solidFill>
                  <a:schemeClr val="tx2"/>
                </a:solidFill>
              </a:rPr>
            </a:br>
            <a:r>
              <a:rPr lang="ru-RU" sz="1200" b="1" dirty="0" smtClean="0">
                <a:solidFill>
                  <a:schemeClr val="tx2"/>
                </a:solidFill>
              </a:rPr>
              <a:t>лицензия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26" name="Pentagon 25"/>
          <p:cNvSpPr/>
          <p:nvPr/>
        </p:nvSpPr>
        <p:spPr bwMode="auto">
          <a:xfrm>
            <a:off x="834968" y="2003590"/>
            <a:ext cx="1097280" cy="1005840"/>
          </a:xfrm>
          <a:prstGeom prst="homePlate">
            <a:avLst>
              <a:gd name="adj" fmla="val 12317"/>
            </a:avLst>
          </a:prstGeom>
          <a:solidFill>
            <a:srgbClr val="48369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cs typeface="+mn-cs"/>
              </a:rPr>
              <a:t>Цифровой банковский бренд</a:t>
            </a:r>
            <a:endParaRPr lang="ru-RU" sz="12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7" name="Pentagon 26"/>
          <p:cNvSpPr/>
          <p:nvPr/>
        </p:nvSpPr>
        <p:spPr bwMode="auto">
          <a:xfrm>
            <a:off x="834968" y="3087356"/>
            <a:ext cx="1097280" cy="1005840"/>
          </a:xfrm>
          <a:prstGeom prst="homePlate">
            <a:avLst>
              <a:gd name="adj" fmla="val 12317"/>
            </a:avLst>
          </a:prstGeom>
          <a:solidFill>
            <a:srgbClr val="0091DA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Банк с цифровыми каналами</a:t>
            </a:r>
          </a:p>
        </p:txBody>
      </p:sp>
      <p:sp>
        <p:nvSpPr>
          <p:cNvPr id="28" name="Pentagon 27"/>
          <p:cNvSpPr/>
          <p:nvPr/>
        </p:nvSpPr>
        <p:spPr bwMode="auto">
          <a:xfrm>
            <a:off x="834968" y="4171122"/>
            <a:ext cx="1097280" cy="1005840"/>
          </a:xfrm>
          <a:prstGeom prst="homePlate">
            <a:avLst>
              <a:gd name="adj" fmla="val 12317"/>
            </a:avLst>
          </a:prstGeom>
          <a:solidFill>
            <a:srgbClr val="005EB8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Цифровой филиал банк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9" name="Pentagon 28"/>
          <p:cNvSpPr/>
          <p:nvPr/>
        </p:nvSpPr>
        <p:spPr bwMode="auto">
          <a:xfrm>
            <a:off x="834968" y="5254889"/>
            <a:ext cx="1097280" cy="1005840"/>
          </a:xfrm>
          <a:prstGeom prst="homePlate">
            <a:avLst>
              <a:gd name="adj" fmla="val 12317"/>
            </a:avLst>
          </a:prstGeom>
          <a:solidFill>
            <a:schemeClr val="tx2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0" tIns="0" rIns="0" bIns="0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Полностью цифровой </a:t>
            </a:r>
            <a:r>
              <a:rPr lang="ru-RU" sz="1200" b="1" dirty="0" smtClean="0">
                <a:solidFill>
                  <a:schemeClr val="bg1"/>
                </a:solidFill>
              </a:rPr>
              <a:t>банк</a:t>
            </a:r>
            <a:r>
              <a:rPr lang="ru-RU" sz="1200" b="1" baseline="30000" dirty="0" smtClean="0">
                <a:solidFill>
                  <a:schemeClr val="bg1"/>
                </a:solidFill>
              </a:rPr>
              <a:t>(1)</a:t>
            </a:r>
            <a:endParaRPr lang="ru-RU" sz="1200" b="1" baseline="30000" dirty="0">
              <a:solidFill>
                <a:schemeClr val="bg1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6423" y="4265786"/>
            <a:ext cx="789350" cy="850207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3"/>
          <a:srcRect t="34373" b="37837"/>
          <a:stretch/>
        </p:blipFill>
        <p:spPr>
          <a:xfrm>
            <a:off x="7623895" y="4203860"/>
            <a:ext cx="1125559" cy="312198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 rotWithShape="1">
          <a:blip r:embed="rId4"/>
          <a:srcRect r="22652"/>
          <a:stretch/>
        </p:blipFill>
        <p:spPr>
          <a:xfrm>
            <a:off x="8168782" y="5797551"/>
            <a:ext cx="1022293" cy="396000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8190" y="5264178"/>
            <a:ext cx="1805432" cy="409833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9098" y="3126567"/>
            <a:ext cx="1650790" cy="439496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7"/>
          <a:srcRect l="19237" t="29676" r="22366" b="33001"/>
          <a:stretch/>
        </p:blipFill>
        <p:spPr>
          <a:xfrm>
            <a:off x="7866080" y="2268375"/>
            <a:ext cx="1455410" cy="656234"/>
          </a:xfrm>
          <a:prstGeom prst="rect">
            <a:avLst/>
          </a:prstGeom>
        </p:spPr>
      </p:pic>
      <p:sp>
        <p:nvSpPr>
          <p:cNvPr id="36" name="Rectangle 35"/>
          <p:cNvSpPr/>
          <p:nvPr/>
        </p:nvSpPr>
        <p:spPr bwMode="auto">
          <a:xfrm>
            <a:off x="753905" y="1963201"/>
            <a:ext cx="216000" cy="216000"/>
          </a:xfrm>
          <a:prstGeom prst="rect">
            <a:avLst/>
          </a:prstGeom>
          <a:solidFill>
            <a:srgbClr val="C6007E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57263"/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7" name="Rectangle 36"/>
          <p:cNvSpPr/>
          <p:nvPr/>
        </p:nvSpPr>
        <p:spPr bwMode="auto">
          <a:xfrm>
            <a:off x="753905" y="3044807"/>
            <a:ext cx="216000" cy="216000"/>
          </a:xfrm>
          <a:prstGeom prst="rect">
            <a:avLst/>
          </a:prstGeom>
          <a:solidFill>
            <a:srgbClr val="C6007E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57263"/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8" name="Rectangle 37"/>
          <p:cNvSpPr/>
          <p:nvPr/>
        </p:nvSpPr>
        <p:spPr bwMode="auto">
          <a:xfrm>
            <a:off x="753905" y="4139293"/>
            <a:ext cx="216000" cy="216000"/>
          </a:xfrm>
          <a:prstGeom prst="rect">
            <a:avLst/>
          </a:prstGeom>
          <a:solidFill>
            <a:srgbClr val="C6007E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57263"/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9" name="Rectangle 38"/>
          <p:cNvSpPr/>
          <p:nvPr/>
        </p:nvSpPr>
        <p:spPr bwMode="auto">
          <a:xfrm>
            <a:off x="753905" y="5220899"/>
            <a:ext cx="216000" cy="216000"/>
          </a:xfrm>
          <a:prstGeom prst="rect">
            <a:avLst/>
          </a:prstGeom>
          <a:solidFill>
            <a:srgbClr val="C6007E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57263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2" name="Pentagon 41"/>
          <p:cNvSpPr/>
          <p:nvPr/>
        </p:nvSpPr>
        <p:spPr bwMode="auto">
          <a:xfrm>
            <a:off x="7665367" y="1486996"/>
            <a:ext cx="1389600" cy="576646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Примеры реализации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837756" y="6292282"/>
            <a:ext cx="3207929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b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(1) данная бизнес-модель может быть реализована при отсутствии основного банка</a:t>
            </a:r>
            <a:endParaRPr lang="ru-RU" sz="600" b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00" b="36200"/>
          <a:stretch/>
        </p:blipFill>
        <p:spPr>
          <a:xfrm>
            <a:off x="7764987" y="3586908"/>
            <a:ext cx="1623088" cy="451219"/>
          </a:xfrm>
          <a:prstGeom prst="rect">
            <a:avLst/>
          </a:prstGeom>
        </p:spPr>
      </p:pic>
      <p:grpSp>
        <p:nvGrpSpPr>
          <p:cNvPr id="46" name="Group 12"/>
          <p:cNvGrpSpPr>
            <a:grpSpLocks noChangeAspect="1"/>
          </p:cNvGrpSpPr>
          <p:nvPr/>
        </p:nvGrpSpPr>
        <p:grpSpPr bwMode="auto">
          <a:xfrm>
            <a:off x="2380447" y="1166363"/>
            <a:ext cx="324117" cy="320843"/>
            <a:chOff x="2722" y="1884"/>
            <a:chExt cx="495" cy="490"/>
          </a:xfrm>
          <a:solidFill>
            <a:schemeClr val="tx2"/>
          </a:solidFill>
        </p:grpSpPr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2722" y="1884"/>
              <a:ext cx="495" cy="368"/>
            </a:xfrm>
            <a:custGeom>
              <a:avLst/>
              <a:gdLst>
                <a:gd name="T0" fmla="*/ 34 w 207"/>
                <a:gd name="T1" fmla="*/ 0 h 154"/>
                <a:gd name="T2" fmla="*/ 42 w 207"/>
                <a:gd name="T3" fmla="*/ 18 h 154"/>
                <a:gd name="T4" fmla="*/ 49 w 207"/>
                <a:gd name="T5" fmla="*/ 21 h 154"/>
                <a:gd name="T6" fmla="*/ 190 w 207"/>
                <a:gd name="T7" fmla="*/ 21 h 154"/>
                <a:gd name="T8" fmla="*/ 198 w 207"/>
                <a:gd name="T9" fmla="*/ 21 h 154"/>
                <a:gd name="T10" fmla="*/ 204 w 207"/>
                <a:gd name="T11" fmla="*/ 34 h 154"/>
                <a:gd name="T12" fmla="*/ 166 w 207"/>
                <a:gd name="T13" fmla="*/ 102 h 154"/>
                <a:gd name="T14" fmla="*/ 148 w 207"/>
                <a:gd name="T15" fmla="*/ 113 h 154"/>
                <a:gd name="T16" fmla="*/ 80 w 207"/>
                <a:gd name="T17" fmla="*/ 112 h 154"/>
                <a:gd name="T18" fmla="*/ 69 w 207"/>
                <a:gd name="T19" fmla="*/ 119 h 154"/>
                <a:gd name="T20" fmla="*/ 66 w 207"/>
                <a:gd name="T21" fmla="*/ 126 h 154"/>
                <a:gd name="T22" fmla="*/ 70 w 207"/>
                <a:gd name="T23" fmla="*/ 134 h 154"/>
                <a:gd name="T24" fmla="*/ 161 w 207"/>
                <a:gd name="T25" fmla="*/ 134 h 154"/>
                <a:gd name="T26" fmla="*/ 184 w 207"/>
                <a:gd name="T27" fmla="*/ 134 h 154"/>
                <a:gd name="T28" fmla="*/ 184 w 207"/>
                <a:gd name="T29" fmla="*/ 154 h 154"/>
                <a:gd name="T30" fmla="*/ 178 w 207"/>
                <a:gd name="T31" fmla="*/ 154 h 154"/>
                <a:gd name="T32" fmla="*/ 66 w 207"/>
                <a:gd name="T33" fmla="*/ 154 h 154"/>
                <a:gd name="T34" fmla="*/ 46 w 207"/>
                <a:gd name="T35" fmla="*/ 119 h 154"/>
                <a:gd name="T36" fmla="*/ 56 w 207"/>
                <a:gd name="T37" fmla="*/ 98 h 154"/>
                <a:gd name="T38" fmla="*/ 47 w 207"/>
                <a:gd name="T39" fmla="*/ 77 h 154"/>
                <a:gd name="T40" fmla="*/ 24 w 207"/>
                <a:gd name="T41" fmla="*/ 26 h 154"/>
                <a:gd name="T42" fmla="*/ 13 w 207"/>
                <a:gd name="T43" fmla="*/ 20 h 154"/>
                <a:gd name="T44" fmla="*/ 0 w 207"/>
                <a:gd name="T45" fmla="*/ 21 h 154"/>
                <a:gd name="T46" fmla="*/ 0 w 207"/>
                <a:gd name="T47" fmla="*/ 0 h 154"/>
                <a:gd name="T48" fmla="*/ 34 w 207"/>
                <a:gd name="T4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7" h="154">
                  <a:moveTo>
                    <a:pt x="34" y="0"/>
                  </a:moveTo>
                  <a:cubicBezTo>
                    <a:pt x="36" y="6"/>
                    <a:pt x="38" y="12"/>
                    <a:pt x="42" y="18"/>
                  </a:cubicBezTo>
                  <a:cubicBezTo>
                    <a:pt x="43" y="20"/>
                    <a:pt x="47" y="21"/>
                    <a:pt x="49" y="21"/>
                  </a:cubicBezTo>
                  <a:cubicBezTo>
                    <a:pt x="96" y="21"/>
                    <a:pt x="143" y="21"/>
                    <a:pt x="190" y="21"/>
                  </a:cubicBezTo>
                  <a:cubicBezTo>
                    <a:pt x="193" y="21"/>
                    <a:pt x="195" y="21"/>
                    <a:pt x="198" y="21"/>
                  </a:cubicBezTo>
                  <a:cubicBezTo>
                    <a:pt x="204" y="22"/>
                    <a:pt x="207" y="29"/>
                    <a:pt x="204" y="34"/>
                  </a:cubicBezTo>
                  <a:cubicBezTo>
                    <a:pt x="192" y="57"/>
                    <a:pt x="179" y="80"/>
                    <a:pt x="166" y="102"/>
                  </a:cubicBezTo>
                  <a:cubicBezTo>
                    <a:pt x="162" y="110"/>
                    <a:pt x="156" y="113"/>
                    <a:pt x="148" y="113"/>
                  </a:cubicBezTo>
                  <a:cubicBezTo>
                    <a:pt x="125" y="112"/>
                    <a:pt x="102" y="113"/>
                    <a:pt x="80" y="112"/>
                  </a:cubicBezTo>
                  <a:cubicBezTo>
                    <a:pt x="74" y="112"/>
                    <a:pt x="71" y="114"/>
                    <a:pt x="69" y="119"/>
                  </a:cubicBezTo>
                  <a:cubicBezTo>
                    <a:pt x="68" y="121"/>
                    <a:pt x="67" y="123"/>
                    <a:pt x="66" y="126"/>
                  </a:cubicBezTo>
                  <a:cubicBezTo>
                    <a:pt x="62" y="133"/>
                    <a:pt x="62" y="134"/>
                    <a:pt x="70" y="134"/>
                  </a:cubicBezTo>
                  <a:cubicBezTo>
                    <a:pt x="100" y="134"/>
                    <a:pt x="131" y="134"/>
                    <a:pt x="161" y="134"/>
                  </a:cubicBezTo>
                  <a:cubicBezTo>
                    <a:pt x="168" y="134"/>
                    <a:pt x="176" y="134"/>
                    <a:pt x="184" y="134"/>
                  </a:cubicBezTo>
                  <a:cubicBezTo>
                    <a:pt x="184" y="141"/>
                    <a:pt x="184" y="147"/>
                    <a:pt x="184" y="154"/>
                  </a:cubicBezTo>
                  <a:cubicBezTo>
                    <a:pt x="182" y="154"/>
                    <a:pt x="180" y="154"/>
                    <a:pt x="178" y="154"/>
                  </a:cubicBezTo>
                  <a:cubicBezTo>
                    <a:pt x="140" y="154"/>
                    <a:pt x="103" y="154"/>
                    <a:pt x="66" y="154"/>
                  </a:cubicBezTo>
                  <a:cubicBezTo>
                    <a:pt x="45" y="154"/>
                    <a:pt x="35" y="138"/>
                    <a:pt x="46" y="119"/>
                  </a:cubicBezTo>
                  <a:cubicBezTo>
                    <a:pt x="50" y="112"/>
                    <a:pt x="56" y="105"/>
                    <a:pt x="56" y="98"/>
                  </a:cubicBezTo>
                  <a:cubicBezTo>
                    <a:pt x="57" y="91"/>
                    <a:pt x="51" y="84"/>
                    <a:pt x="47" y="77"/>
                  </a:cubicBezTo>
                  <a:cubicBezTo>
                    <a:pt x="39" y="60"/>
                    <a:pt x="31" y="43"/>
                    <a:pt x="24" y="26"/>
                  </a:cubicBezTo>
                  <a:cubicBezTo>
                    <a:pt x="21" y="21"/>
                    <a:pt x="19" y="19"/>
                    <a:pt x="13" y="20"/>
                  </a:cubicBezTo>
                  <a:cubicBezTo>
                    <a:pt x="9" y="21"/>
                    <a:pt x="4" y="21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ubicBezTo>
                    <a:pt x="11" y="0"/>
                    <a:pt x="22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4"/>
            <p:cNvSpPr>
              <a:spLocks/>
            </p:cNvSpPr>
            <p:nvPr/>
          </p:nvSpPr>
          <p:spPr bwMode="auto">
            <a:xfrm>
              <a:off x="2820" y="2279"/>
              <a:ext cx="98" cy="95"/>
            </a:xfrm>
            <a:custGeom>
              <a:avLst/>
              <a:gdLst>
                <a:gd name="T0" fmla="*/ 41 w 41"/>
                <a:gd name="T1" fmla="*/ 20 h 40"/>
                <a:gd name="T2" fmla="*/ 21 w 41"/>
                <a:gd name="T3" fmla="*/ 40 h 40"/>
                <a:gd name="T4" fmla="*/ 0 w 41"/>
                <a:gd name="T5" fmla="*/ 20 h 40"/>
                <a:gd name="T6" fmla="*/ 21 w 41"/>
                <a:gd name="T7" fmla="*/ 0 h 40"/>
                <a:gd name="T8" fmla="*/ 41 w 4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41" y="20"/>
                  </a:moveTo>
                  <a:cubicBezTo>
                    <a:pt x="41" y="31"/>
                    <a:pt x="32" y="40"/>
                    <a:pt x="21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5"/>
            <p:cNvSpPr>
              <a:spLocks/>
            </p:cNvSpPr>
            <p:nvPr/>
          </p:nvSpPr>
          <p:spPr bwMode="auto">
            <a:xfrm>
              <a:off x="3066" y="2279"/>
              <a:ext cx="98" cy="95"/>
            </a:xfrm>
            <a:custGeom>
              <a:avLst/>
              <a:gdLst>
                <a:gd name="T0" fmla="*/ 21 w 41"/>
                <a:gd name="T1" fmla="*/ 0 h 40"/>
                <a:gd name="T2" fmla="*/ 40 w 41"/>
                <a:gd name="T3" fmla="*/ 20 h 40"/>
                <a:gd name="T4" fmla="*/ 20 w 41"/>
                <a:gd name="T5" fmla="*/ 40 h 40"/>
                <a:gd name="T6" fmla="*/ 0 w 41"/>
                <a:gd name="T7" fmla="*/ 20 h 40"/>
                <a:gd name="T8" fmla="*/ 21 w 4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21" y="0"/>
                  </a:moveTo>
                  <a:cubicBezTo>
                    <a:pt x="32" y="0"/>
                    <a:pt x="41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0" name="Freeform 20"/>
          <p:cNvSpPr>
            <a:spLocks noChangeAspect="1" noEditPoints="1"/>
          </p:cNvSpPr>
          <p:nvPr/>
        </p:nvSpPr>
        <p:spPr bwMode="auto">
          <a:xfrm>
            <a:off x="3737380" y="1096109"/>
            <a:ext cx="416082" cy="372082"/>
          </a:xfrm>
          <a:custGeom>
            <a:avLst/>
            <a:gdLst/>
            <a:ahLst/>
            <a:cxnLst>
              <a:cxn ang="0">
                <a:pos x="225" y="138"/>
              </a:cxn>
              <a:cxn ang="0">
                <a:pos x="182" y="158"/>
              </a:cxn>
              <a:cxn ang="0">
                <a:pos x="182" y="157"/>
              </a:cxn>
              <a:cxn ang="0">
                <a:pos x="149" y="132"/>
              </a:cxn>
              <a:cxn ang="0">
                <a:pos x="149" y="112"/>
              </a:cxn>
              <a:cxn ang="0">
                <a:pos x="197" y="56"/>
              </a:cxn>
              <a:cxn ang="0">
                <a:pos x="141" y="0"/>
              </a:cxn>
              <a:cxn ang="0">
                <a:pos x="84" y="56"/>
              </a:cxn>
              <a:cxn ang="0">
                <a:pos x="133" y="112"/>
              </a:cxn>
              <a:cxn ang="0">
                <a:pos x="133" y="132"/>
              </a:cxn>
              <a:cxn ang="0">
                <a:pos x="100" y="157"/>
              </a:cxn>
              <a:cxn ang="0">
                <a:pos x="99" y="158"/>
              </a:cxn>
              <a:cxn ang="0">
                <a:pos x="56" y="138"/>
              </a:cxn>
              <a:cxn ang="0">
                <a:pos x="0" y="195"/>
              </a:cxn>
              <a:cxn ang="0">
                <a:pos x="56" y="251"/>
              </a:cxn>
              <a:cxn ang="0">
                <a:pos x="113" y="195"/>
              </a:cxn>
              <a:cxn ang="0">
                <a:pos x="108" y="173"/>
              </a:cxn>
              <a:cxn ang="0">
                <a:pos x="111" y="172"/>
              </a:cxn>
              <a:cxn ang="0">
                <a:pos x="141" y="149"/>
              </a:cxn>
              <a:cxn ang="0">
                <a:pos x="170" y="172"/>
              </a:cxn>
              <a:cxn ang="0">
                <a:pos x="173" y="173"/>
              </a:cxn>
              <a:cxn ang="0">
                <a:pos x="169" y="195"/>
              </a:cxn>
              <a:cxn ang="0">
                <a:pos x="225" y="251"/>
              </a:cxn>
              <a:cxn ang="0">
                <a:pos x="281" y="195"/>
              </a:cxn>
              <a:cxn ang="0">
                <a:pos x="225" y="138"/>
              </a:cxn>
              <a:cxn ang="0">
                <a:pos x="56" y="225"/>
              </a:cxn>
              <a:cxn ang="0">
                <a:pos x="26" y="217"/>
              </a:cxn>
              <a:cxn ang="0">
                <a:pos x="47" y="191"/>
              </a:cxn>
              <a:cxn ang="0">
                <a:pos x="47" y="191"/>
              </a:cxn>
              <a:cxn ang="0">
                <a:pos x="50" y="184"/>
              </a:cxn>
              <a:cxn ang="0">
                <a:pos x="50" y="184"/>
              </a:cxn>
              <a:cxn ang="0">
                <a:pos x="56" y="159"/>
              </a:cxn>
              <a:cxn ang="0">
                <a:pos x="63" y="184"/>
              </a:cxn>
              <a:cxn ang="0">
                <a:pos x="63" y="184"/>
              </a:cxn>
              <a:cxn ang="0">
                <a:pos x="66" y="191"/>
              </a:cxn>
              <a:cxn ang="0">
                <a:pos x="87" y="217"/>
              </a:cxn>
              <a:cxn ang="0">
                <a:pos x="56" y="225"/>
              </a:cxn>
              <a:cxn ang="0">
                <a:pos x="110" y="79"/>
              </a:cxn>
              <a:cxn ang="0">
                <a:pos x="131" y="52"/>
              </a:cxn>
              <a:cxn ang="0">
                <a:pos x="131" y="52"/>
              </a:cxn>
              <a:cxn ang="0">
                <a:pos x="134" y="45"/>
              </a:cxn>
              <a:cxn ang="0">
                <a:pos x="134" y="45"/>
              </a:cxn>
              <a:cxn ang="0">
                <a:pos x="141" y="20"/>
              </a:cxn>
              <a:cxn ang="0">
                <a:pos x="147" y="45"/>
              </a:cxn>
              <a:cxn ang="0">
                <a:pos x="147" y="45"/>
              </a:cxn>
              <a:cxn ang="0">
                <a:pos x="150" y="52"/>
              </a:cxn>
              <a:cxn ang="0">
                <a:pos x="171" y="79"/>
              </a:cxn>
              <a:cxn ang="0">
                <a:pos x="141" y="86"/>
              </a:cxn>
              <a:cxn ang="0">
                <a:pos x="110" y="79"/>
              </a:cxn>
              <a:cxn ang="0">
                <a:pos x="225" y="225"/>
              </a:cxn>
              <a:cxn ang="0">
                <a:pos x="194" y="217"/>
              </a:cxn>
              <a:cxn ang="0">
                <a:pos x="216" y="191"/>
              </a:cxn>
              <a:cxn ang="0">
                <a:pos x="216" y="191"/>
              </a:cxn>
              <a:cxn ang="0">
                <a:pos x="219" y="184"/>
              </a:cxn>
              <a:cxn ang="0">
                <a:pos x="218" y="184"/>
              </a:cxn>
              <a:cxn ang="0">
                <a:pos x="225" y="159"/>
              </a:cxn>
              <a:cxn ang="0">
                <a:pos x="232" y="184"/>
              </a:cxn>
              <a:cxn ang="0">
                <a:pos x="231" y="184"/>
              </a:cxn>
              <a:cxn ang="0">
                <a:pos x="234" y="191"/>
              </a:cxn>
              <a:cxn ang="0">
                <a:pos x="256" y="217"/>
              </a:cxn>
              <a:cxn ang="0">
                <a:pos x="225" y="225"/>
              </a:cxn>
            </a:cxnLst>
            <a:rect l="0" t="0" r="r" b="b"/>
            <a:pathLst>
              <a:path w="281" h="251">
                <a:moveTo>
                  <a:pt x="225" y="138"/>
                </a:moveTo>
                <a:cubicBezTo>
                  <a:pt x="208" y="138"/>
                  <a:pt x="193" y="146"/>
                  <a:pt x="182" y="158"/>
                </a:cubicBezTo>
                <a:cubicBezTo>
                  <a:pt x="182" y="158"/>
                  <a:pt x="182" y="157"/>
                  <a:pt x="182" y="157"/>
                </a:cubicBezTo>
                <a:cubicBezTo>
                  <a:pt x="149" y="132"/>
                  <a:pt x="149" y="132"/>
                  <a:pt x="149" y="132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76" y="108"/>
                  <a:pt x="197" y="84"/>
                  <a:pt x="197" y="56"/>
                </a:cubicBezTo>
                <a:cubicBezTo>
                  <a:pt x="197" y="25"/>
                  <a:pt x="172" y="0"/>
                  <a:pt x="141" y="0"/>
                </a:cubicBezTo>
                <a:cubicBezTo>
                  <a:pt x="110" y="0"/>
                  <a:pt x="84" y="25"/>
                  <a:pt x="84" y="56"/>
                </a:cubicBezTo>
                <a:cubicBezTo>
                  <a:pt x="84" y="84"/>
                  <a:pt x="105" y="108"/>
                  <a:pt x="133" y="11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00" y="157"/>
                  <a:pt x="100" y="157"/>
                  <a:pt x="100" y="157"/>
                </a:cubicBezTo>
                <a:cubicBezTo>
                  <a:pt x="99" y="157"/>
                  <a:pt x="99" y="158"/>
                  <a:pt x="99" y="158"/>
                </a:cubicBezTo>
                <a:cubicBezTo>
                  <a:pt x="89" y="146"/>
                  <a:pt x="73" y="138"/>
                  <a:pt x="56" y="138"/>
                </a:cubicBezTo>
                <a:cubicBezTo>
                  <a:pt x="25" y="138"/>
                  <a:pt x="0" y="164"/>
                  <a:pt x="0" y="195"/>
                </a:cubicBezTo>
                <a:cubicBezTo>
                  <a:pt x="0" y="226"/>
                  <a:pt x="25" y="251"/>
                  <a:pt x="56" y="251"/>
                </a:cubicBezTo>
                <a:cubicBezTo>
                  <a:pt x="88" y="251"/>
                  <a:pt x="113" y="226"/>
                  <a:pt x="113" y="195"/>
                </a:cubicBezTo>
                <a:cubicBezTo>
                  <a:pt x="113" y="187"/>
                  <a:pt x="111" y="180"/>
                  <a:pt x="108" y="173"/>
                </a:cubicBezTo>
                <a:cubicBezTo>
                  <a:pt x="109" y="173"/>
                  <a:pt x="110" y="172"/>
                  <a:pt x="111" y="172"/>
                </a:cubicBezTo>
                <a:cubicBezTo>
                  <a:pt x="141" y="149"/>
                  <a:pt x="141" y="149"/>
                  <a:pt x="141" y="149"/>
                </a:cubicBezTo>
                <a:cubicBezTo>
                  <a:pt x="170" y="172"/>
                  <a:pt x="170" y="172"/>
                  <a:pt x="170" y="172"/>
                </a:cubicBezTo>
                <a:cubicBezTo>
                  <a:pt x="171" y="172"/>
                  <a:pt x="172" y="173"/>
                  <a:pt x="173" y="173"/>
                </a:cubicBezTo>
                <a:cubicBezTo>
                  <a:pt x="170" y="180"/>
                  <a:pt x="169" y="187"/>
                  <a:pt x="169" y="195"/>
                </a:cubicBezTo>
                <a:cubicBezTo>
                  <a:pt x="169" y="226"/>
                  <a:pt x="194" y="251"/>
                  <a:pt x="225" y="251"/>
                </a:cubicBezTo>
                <a:cubicBezTo>
                  <a:pt x="256" y="251"/>
                  <a:pt x="281" y="226"/>
                  <a:pt x="281" y="195"/>
                </a:cubicBezTo>
                <a:cubicBezTo>
                  <a:pt x="281" y="164"/>
                  <a:pt x="256" y="138"/>
                  <a:pt x="225" y="138"/>
                </a:cubicBezTo>
                <a:close/>
                <a:moveTo>
                  <a:pt x="56" y="225"/>
                </a:moveTo>
                <a:cubicBezTo>
                  <a:pt x="56" y="225"/>
                  <a:pt x="26" y="226"/>
                  <a:pt x="26" y="217"/>
                </a:cubicBezTo>
                <a:cubicBezTo>
                  <a:pt x="26" y="198"/>
                  <a:pt x="38" y="193"/>
                  <a:pt x="47" y="191"/>
                </a:cubicBezTo>
                <a:cubicBezTo>
                  <a:pt x="47" y="191"/>
                  <a:pt x="47" y="191"/>
                  <a:pt x="47" y="191"/>
                </a:cubicBezTo>
                <a:cubicBezTo>
                  <a:pt x="53" y="189"/>
                  <a:pt x="51" y="185"/>
                  <a:pt x="50" y="184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45" y="179"/>
                  <a:pt x="41" y="159"/>
                  <a:pt x="56" y="159"/>
                </a:cubicBezTo>
                <a:cubicBezTo>
                  <a:pt x="72" y="159"/>
                  <a:pt x="68" y="179"/>
                  <a:pt x="63" y="184"/>
                </a:cubicBezTo>
                <a:cubicBezTo>
                  <a:pt x="63" y="184"/>
                  <a:pt x="63" y="184"/>
                  <a:pt x="63" y="184"/>
                </a:cubicBezTo>
                <a:cubicBezTo>
                  <a:pt x="62" y="185"/>
                  <a:pt x="60" y="189"/>
                  <a:pt x="66" y="191"/>
                </a:cubicBezTo>
                <a:cubicBezTo>
                  <a:pt x="74" y="193"/>
                  <a:pt x="87" y="198"/>
                  <a:pt x="87" y="217"/>
                </a:cubicBezTo>
                <a:cubicBezTo>
                  <a:pt x="87" y="226"/>
                  <a:pt x="56" y="225"/>
                  <a:pt x="56" y="225"/>
                </a:cubicBezTo>
                <a:close/>
                <a:moveTo>
                  <a:pt x="110" y="79"/>
                </a:moveTo>
                <a:cubicBezTo>
                  <a:pt x="110" y="59"/>
                  <a:pt x="123" y="54"/>
                  <a:pt x="131" y="52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37" y="50"/>
                  <a:pt x="135" y="47"/>
                  <a:pt x="134" y="45"/>
                </a:cubicBezTo>
                <a:cubicBezTo>
                  <a:pt x="134" y="45"/>
                  <a:pt x="134" y="45"/>
                  <a:pt x="134" y="45"/>
                </a:cubicBezTo>
                <a:cubicBezTo>
                  <a:pt x="129" y="40"/>
                  <a:pt x="125" y="20"/>
                  <a:pt x="141" y="20"/>
                </a:cubicBezTo>
                <a:cubicBezTo>
                  <a:pt x="157" y="20"/>
                  <a:pt x="152" y="40"/>
                  <a:pt x="147" y="45"/>
                </a:cubicBezTo>
                <a:cubicBezTo>
                  <a:pt x="147" y="45"/>
                  <a:pt x="147" y="45"/>
                  <a:pt x="147" y="45"/>
                </a:cubicBezTo>
                <a:cubicBezTo>
                  <a:pt x="146" y="47"/>
                  <a:pt x="144" y="50"/>
                  <a:pt x="150" y="52"/>
                </a:cubicBezTo>
                <a:cubicBezTo>
                  <a:pt x="159" y="54"/>
                  <a:pt x="171" y="59"/>
                  <a:pt x="171" y="79"/>
                </a:cubicBezTo>
                <a:cubicBezTo>
                  <a:pt x="171" y="87"/>
                  <a:pt x="141" y="86"/>
                  <a:pt x="141" y="86"/>
                </a:cubicBezTo>
                <a:cubicBezTo>
                  <a:pt x="141" y="86"/>
                  <a:pt x="110" y="87"/>
                  <a:pt x="110" y="79"/>
                </a:cubicBezTo>
                <a:close/>
                <a:moveTo>
                  <a:pt x="225" y="225"/>
                </a:moveTo>
                <a:cubicBezTo>
                  <a:pt x="225" y="225"/>
                  <a:pt x="194" y="226"/>
                  <a:pt x="194" y="217"/>
                </a:cubicBezTo>
                <a:cubicBezTo>
                  <a:pt x="194" y="198"/>
                  <a:pt x="207" y="193"/>
                  <a:pt x="216" y="191"/>
                </a:cubicBezTo>
                <a:cubicBezTo>
                  <a:pt x="216" y="191"/>
                  <a:pt x="216" y="191"/>
                  <a:pt x="216" y="191"/>
                </a:cubicBezTo>
                <a:cubicBezTo>
                  <a:pt x="221" y="189"/>
                  <a:pt x="220" y="185"/>
                  <a:pt x="219" y="184"/>
                </a:cubicBezTo>
                <a:cubicBezTo>
                  <a:pt x="219" y="184"/>
                  <a:pt x="218" y="184"/>
                  <a:pt x="218" y="184"/>
                </a:cubicBezTo>
                <a:cubicBezTo>
                  <a:pt x="213" y="179"/>
                  <a:pt x="209" y="159"/>
                  <a:pt x="225" y="159"/>
                </a:cubicBezTo>
                <a:cubicBezTo>
                  <a:pt x="241" y="159"/>
                  <a:pt x="237" y="179"/>
                  <a:pt x="232" y="184"/>
                </a:cubicBezTo>
                <a:cubicBezTo>
                  <a:pt x="232" y="184"/>
                  <a:pt x="231" y="184"/>
                  <a:pt x="231" y="184"/>
                </a:cubicBezTo>
                <a:cubicBezTo>
                  <a:pt x="230" y="185"/>
                  <a:pt x="228" y="189"/>
                  <a:pt x="234" y="191"/>
                </a:cubicBezTo>
                <a:cubicBezTo>
                  <a:pt x="243" y="193"/>
                  <a:pt x="256" y="198"/>
                  <a:pt x="256" y="217"/>
                </a:cubicBezTo>
                <a:cubicBezTo>
                  <a:pt x="256" y="226"/>
                  <a:pt x="225" y="225"/>
                  <a:pt x="225" y="225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>
              <a:solidFill>
                <a:prstClr val="black"/>
              </a:solidFill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 flipV="1">
            <a:off x="759853" y="1931831"/>
            <a:ext cx="8686800" cy="0"/>
          </a:xfrm>
          <a:prstGeom prst="line">
            <a:avLst/>
          </a:prstGeom>
          <a:ln w="12700"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/>
          <p:cNvGrpSpPr>
            <a:grpSpLocks noChangeAspect="1"/>
          </p:cNvGrpSpPr>
          <p:nvPr/>
        </p:nvGrpSpPr>
        <p:grpSpPr>
          <a:xfrm>
            <a:off x="5132133" y="1118936"/>
            <a:ext cx="422383" cy="344233"/>
            <a:chOff x="3051629" y="6074099"/>
            <a:chExt cx="686196" cy="559234"/>
          </a:xfrm>
        </p:grpSpPr>
        <p:sp>
          <p:nvSpPr>
            <p:cNvPr id="54" name="Freeform 83"/>
            <p:cNvSpPr>
              <a:spLocks noEditPoints="1"/>
            </p:cNvSpPr>
            <p:nvPr/>
          </p:nvSpPr>
          <p:spPr bwMode="auto">
            <a:xfrm>
              <a:off x="3495993" y="6074099"/>
              <a:ext cx="241832" cy="250900"/>
            </a:xfrm>
            <a:custGeom>
              <a:avLst/>
              <a:gdLst>
                <a:gd name="T0" fmla="*/ 32 w 34"/>
                <a:gd name="T1" fmla="*/ 14 h 35"/>
                <a:gd name="T2" fmla="*/ 30 w 34"/>
                <a:gd name="T3" fmla="*/ 10 h 35"/>
                <a:gd name="T4" fmla="*/ 31 w 34"/>
                <a:gd name="T5" fmla="*/ 7 h 35"/>
                <a:gd name="T6" fmla="*/ 27 w 34"/>
                <a:gd name="T7" fmla="*/ 4 h 35"/>
                <a:gd name="T8" fmla="*/ 25 w 34"/>
                <a:gd name="T9" fmla="*/ 5 h 35"/>
                <a:gd name="T10" fmla="*/ 22 w 34"/>
                <a:gd name="T11" fmla="*/ 6 h 35"/>
                <a:gd name="T12" fmla="*/ 20 w 34"/>
                <a:gd name="T13" fmla="*/ 1 h 35"/>
                <a:gd name="T14" fmla="*/ 14 w 34"/>
                <a:gd name="T15" fmla="*/ 0 h 35"/>
                <a:gd name="T16" fmla="*/ 14 w 34"/>
                <a:gd name="T17" fmla="*/ 3 h 35"/>
                <a:gd name="T18" fmla="*/ 11 w 34"/>
                <a:gd name="T19" fmla="*/ 6 h 35"/>
                <a:gd name="T20" fmla="*/ 8 w 34"/>
                <a:gd name="T21" fmla="*/ 4 h 35"/>
                <a:gd name="T22" fmla="*/ 6 w 34"/>
                <a:gd name="T23" fmla="*/ 4 h 35"/>
                <a:gd name="T24" fmla="*/ 3 w 34"/>
                <a:gd name="T25" fmla="*/ 8 h 35"/>
                <a:gd name="T26" fmla="*/ 5 w 34"/>
                <a:gd name="T27" fmla="*/ 13 h 35"/>
                <a:gd name="T28" fmla="*/ 1 w 34"/>
                <a:gd name="T29" fmla="*/ 14 h 35"/>
                <a:gd name="T30" fmla="*/ 0 w 34"/>
                <a:gd name="T31" fmla="*/ 20 h 35"/>
                <a:gd name="T32" fmla="*/ 2 w 34"/>
                <a:gd name="T33" fmla="*/ 21 h 35"/>
                <a:gd name="T34" fmla="*/ 4 w 34"/>
                <a:gd name="T35" fmla="*/ 26 h 35"/>
                <a:gd name="T36" fmla="*/ 3 w 34"/>
                <a:gd name="T37" fmla="*/ 28 h 35"/>
                <a:gd name="T38" fmla="*/ 7 w 34"/>
                <a:gd name="T39" fmla="*/ 32 h 35"/>
                <a:gd name="T40" fmla="*/ 9 w 34"/>
                <a:gd name="T41" fmla="*/ 31 h 35"/>
                <a:gd name="T42" fmla="*/ 12 w 34"/>
                <a:gd name="T43" fmla="*/ 30 h 35"/>
                <a:gd name="T44" fmla="*/ 14 w 34"/>
                <a:gd name="T45" fmla="*/ 34 h 35"/>
                <a:gd name="T46" fmla="*/ 19 w 34"/>
                <a:gd name="T47" fmla="*/ 35 h 35"/>
                <a:gd name="T48" fmla="*/ 20 w 34"/>
                <a:gd name="T49" fmla="*/ 33 h 35"/>
                <a:gd name="T50" fmla="*/ 23 w 34"/>
                <a:gd name="T51" fmla="*/ 30 h 35"/>
                <a:gd name="T52" fmla="*/ 26 w 34"/>
                <a:gd name="T53" fmla="*/ 32 h 35"/>
                <a:gd name="T54" fmla="*/ 27 w 34"/>
                <a:gd name="T55" fmla="*/ 32 h 35"/>
                <a:gd name="T56" fmla="*/ 31 w 34"/>
                <a:gd name="T57" fmla="*/ 27 h 35"/>
                <a:gd name="T58" fmla="*/ 29 w 34"/>
                <a:gd name="T59" fmla="*/ 23 h 35"/>
                <a:gd name="T60" fmla="*/ 33 w 34"/>
                <a:gd name="T61" fmla="*/ 21 h 35"/>
                <a:gd name="T62" fmla="*/ 34 w 34"/>
                <a:gd name="T63" fmla="*/ 15 h 35"/>
                <a:gd name="T64" fmla="*/ 17 w 34"/>
                <a:gd name="T65" fmla="*/ 24 h 35"/>
                <a:gd name="T66" fmla="*/ 17 w 34"/>
                <a:gd name="T67" fmla="*/ 12 h 35"/>
                <a:gd name="T68" fmla="*/ 17 w 34"/>
                <a:gd name="T69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" h="35">
                  <a:moveTo>
                    <a:pt x="33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1" y="14"/>
                    <a:pt x="29" y="14"/>
                    <a:pt x="29" y="13"/>
                  </a:cubicBezTo>
                  <a:cubicBezTo>
                    <a:pt x="29" y="12"/>
                    <a:pt x="29" y="10"/>
                    <a:pt x="30" y="10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7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5"/>
                    <a:pt x="24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5"/>
                    <a:pt x="20" y="4"/>
                    <a:pt x="20" y="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1"/>
                    <a:pt x="14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4"/>
                    <a:pt x="13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0" y="6"/>
                    <a:pt x="9" y="5"/>
                    <a:pt x="9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2"/>
                    <a:pt x="5" y="13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1"/>
                    <a:pt x="1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1"/>
                    <a:pt x="4" y="22"/>
                    <a:pt x="5" y="23"/>
                  </a:cubicBezTo>
                  <a:cubicBezTo>
                    <a:pt x="5" y="24"/>
                    <a:pt x="5" y="25"/>
                    <a:pt x="4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8"/>
                    <a:pt x="3" y="28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8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0"/>
                    <a:pt x="10" y="30"/>
                    <a:pt x="11" y="30"/>
                  </a:cubicBezTo>
                  <a:cubicBezTo>
                    <a:pt x="11" y="30"/>
                    <a:pt x="12" y="30"/>
                    <a:pt x="12" y="30"/>
                  </a:cubicBezTo>
                  <a:cubicBezTo>
                    <a:pt x="13" y="30"/>
                    <a:pt x="14" y="31"/>
                    <a:pt x="14" y="33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5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1"/>
                    <a:pt x="21" y="30"/>
                    <a:pt x="22" y="30"/>
                  </a:cubicBezTo>
                  <a:cubicBezTo>
                    <a:pt x="22" y="30"/>
                    <a:pt x="23" y="30"/>
                    <a:pt x="23" y="30"/>
                  </a:cubicBezTo>
                  <a:cubicBezTo>
                    <a:pt x="24" y="30"/>
                    <a:pt x="24" y="30"/>
                    <a:pt x="2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7"/>
                    <a:pt x="31" y="27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25"/>
                    <a:pt x="29" y="24"/>
                    <a:pt x="29" y="23"/>
                  </a:cubicBezTo>
                  <a:cubicBezTo>
                    <a:pt x="29" y="22"/>
                    <a:pt x="31" y="21"/>
                    <a:pt x="32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4" y="21"/>
                    <a:pt x="34" y="2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lose/>
                  <a:moveTo>
                    <a:pt x="17" y="24"/>
                  </a:moveTo>
                  <a:cubicBezTo>
                    <a:pt x="14" y="24"/>
                    <a:pt x="11" y="21"/>
                    <a:pt x="11" y="18"/>
                  </a:cubicBezTo>
                  <a:cubicBezTo>
                    <a:pt x="11" y="14"/>
                    <a:pt x="14" y="12"/>
                    <a:pt x="17" y="12"/>
                  </a:cubicBezTo>
                  <a:cubicBezTo>
                    <a:pt x="20" y="12"/>
                    <a:pt x="23" y="14"/>
                    <a:pt x="23" y="18"/>
                  </a:cubicBezTo>
                  <a:cubicBezTo>
                    <a:pt x="23" y="21"/>
                    <a:pt x="20" y="24"/>
                    <a:pt x="17" y="2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3051629" y="6143624"/>
              <a:ext cx="486685" cy="489709"/>
              <a:chOff x="5394779" y="3952874"/>
              <a:chExt cx="486685" cy="489709"/>
            </a:xfrm>
          </p:grpSpPr>
          <p:sp>
            <p:nvSpPr>
              <p:cNvPr id="56" name="Freeform 82"/>
              <p:cNvSpPr>
                <a:spLocks noEditPoints="1"/>
              </p:cNvSpPr>
              <p:nvPr/>
            </p:nvSpPr>
            <p:spPr bwMode="auto">
              <a:xfrm>
                <a:off x="5394779" y="3952874"/>
                <a:ext cx="486685" cy="489709"/>
              </a:xfrm>
              <a:custGeom>
                <a:avLst/>
                <a:gdLst>
                  <a:gd name="T0" fmla="*/ 63 w 68"/>
                  <a:gd name="T1" fmla="*/ 27 h 68"/>
                  <a:gd name="T2" fmla="*/ 59 w 68"/>
                  <a:gd name="T3" fmla="*/ 18 h 68"/>
                  <a:gd name="T4" fmla="*/ 61 w 68"/>
                  <a:gd name="T5" fmla="*/ 13 h 68"/>
                  <a:gd name="T6" fmla="*/ 53 w 68"/>
                  <a:gd name="T7" fmla="*/ 6 h 68"/>
                  <a:gd name="T8" fmla="*/ 50 w 68"/>
                  <a:gd name="T9" fmla="*/ 8 h 68"/>
                  <a:gd name="T10" fmla="*/ 44 w 68"/>
                  <a:gd name="T11" fmla="*/ 10 h 68"/>
                  <a:gd name="T12" fmla="*/ 40 w 68"/>
                  <a:gd name="T13" fmla="*/ 1 h 68"/>
                  <a:gd name="T14" fmla="*/ 29 w 68"/>
                  <a:gd name="T15" fmla="*/ 0 h 68"/>
                  <a:gd name="T16" fmla="*/ 27 w 68"/>
                  <a:gd name="T17" fmla="*/ 4 h 68"/>
                  <a:gd name="T18" fmla="*/ 22 w 68"/>
                  <a:gd name="T19" fmla="*/ 10 h 68"/>
                  <a:gd name="T20" fmla="*/ 16 w 68"/>
                  <a:gd name="T21" fmla="*/ 6 h 68"/>
                  <a:gd name="T22" fmla="*/ 13 w 68"/>
                  <a:gd name="T23" fmla="*/ 6 h 68"/>
                  <a:gd name="T24" fmla="*/ 6 w 68"/>
                  <a:gd name="T25" fmla="*/ 16 h 68"/>
                  <a:gd name="T26" fmla="*/ 10 w 68"/>
                  <a:gd name="T27" fmla="*/ 24 h 68"/>
                  <a:gd name="T28" fmla="*/ 1 w 68"/>
                  <a:gd name="T29" fmla="*/ 27 h 68"/>
                  <a:gd name="T30" fmla="*/ 0 w 68"/>
                  <a:gd name="T31" fmla="*/ 39 h 68"/>
                  <a:gd name="T32" fmla="*/ 4 w 68"/>
                  <a:gd name="T33" fmla="*/ 41 h 68"/>
                  <a:gd name="T34" fmla="*/ 8 w 68"/>
                  <a:gd name="T35" fmla="*/ 50 h 68"/>
                  <a:gd name="T36" fmla="*/ 6 w 68"/>
                  <a:gd name="T37" fmla="*/ 55 h 68"/>
                  <a:gd name="T38" fmla="*/ 14 w 68"/>
                  <a:gd name="T39" fmla="*/ 62 h 68"/>
                  <a:gd name="T40" fmla="*/ 18 w 68"/>
                  <a:gd name="T41" fmla="*/ 59 h 68"/>
                  <a:gd name="T42" fmla="*/ 24 w 68"/>
                  <a:gd name="T43" fmla="*/ 58 h 68"/>
                  <a:gd name="T44" fmla="*/ 27 w 68"/>
                  <a:gd name="T45" fmla="*/ 66 h 68"/>
                  <a:gd name="T46" fmla="*/ 39 w 68"/>
                  <a:gd name="T47" fmla="*/ 68 h 68"/>
                  <a:gd name="T48" fmla="*/ 40 w 68"/>
                  <a:gd name="T49" fmla="*/ 63 h 68"/>
                  <a:gd name="T50" fmla="*/ 46 w 68"/>
                  <a:gd name="T51" fmla="*/ 58 h 68"/>
                  <a:gd name="T52" fmla="*/ 52 w 68"/>
                  <a:gd name="T53" fmla="*/ 62 h 68"/>
                  <a:gd name="T54" fmla="*/ 55 w 68"/>
                  <a:gd name="T55" fmla="*/ 62 h 68"/>
                  <a:gd name="T56" fmla="*/ 61 w 68"/>
                  <a:gd name="T57" fmla="*/ 52 h 68"/>
                  <a:gd name="T58" fmla="*/ 58 w 68"/>
                  <a:gd name="T59" fmla="*/ 44 h 68"/>
                  <a:gd name="T60" fmla="*/ 66 w 68"/>
                  <a:gd name="T61" fmla="*/ 41 h 68"/>
                  <a:gd name="T62" fmla="*/ 68 w 68"/>
                  <a:gd name="T63" fmla="*/ 29 h 68"/>
                  <a:gd name="T64" fmla="*/ 34 w 68"/>
                  <a:gd name="T65" fmla="*/ 53 h 68"/>
                  <a:gd name="T66" fmla="*/ 34 w 68"/>
                  <a:gd name="T67" fmla="*/ 14 h 68"/>
                  <a:gd name="T68" fmla="*/ 34 w 68"/>
                  <a:gd name="T69" fmla="*/ 5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8" h="68">
                    <a:moveTo>
                      <a:pt x="66" y="27"/>
                    </a:moveTo>
                    <a:cubicBezTo>
                      <a:pt x="63" y="27"/>
                      <a:pt x="63" y="27"/>
                      <a:pt x="63" y="27"/>
                    </a:cubicBezTo>
                    <a:cubicBezTo>
                      <a:pt x="61" y="27"/>
                      <a:pt x="59" y="26"/>
                      <a:pt x="58" y="24"/>
                    </a:cubicBezTo>
                    <a:cubicBezTo>
                      <a:pt x="57" y="22"/>
                      <a:pt x="58" y="19"/>
                      <a:pt x="59" y="18"/>
                    </a:cubicBezTo>
                    <a:cubicBezTo>
                      <a:pt x="61" y="16"/>
                      <a:pt x="61" y="16"/>
                      <a:pt x="61" y="16"/>
                    </a:cubicBezTo>
                    <a:cubicBezTo>
                      <a:pt x="62" y="15"/>
                      <a:pt x="62" y="14"/>
                      <a:pt x="61" y="13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6"/>
                      <a:pt x="54" y="6"/>
                      <a:pt x="53" y="6"/>
                    </a:cubicBezTo>
                    <a:cubicBezTo>
                      <a:pt x="53" y="6"/>
                      <a:pt x="52" y="6"/>
                      <a:pt x="52" y="6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49" y="9"/>
                      <a:pt x="47" y="10"/>
                      <a:pt x="46" y="10"/>
                    </a:cubicBezTo>
                    <a:cubicBezTo>
                      <a:pt x="45" y="10"/>
                      <a:pt x="44" y="10"/>
                      <a:pt x="44" y="10"/>
                    </a:cubicBezTo>
                    <a:cubicBezTo>
                      <a:pt x="42" y="9"/>
                      <a:pt x="40" y="7"/>
                      <a:pt x="40" y="4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40" y="0"/>
                      <a:pt x="3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0"/>
                      <a:pt x="27" y="1"/>
                      <a:pt x="27" y="1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7" y="7"/>
                      <a:pt x="26" y="9"/>
                      <a:pt x="24" y="10"/>
                    </a:cubicBezTo>
                    <a:cubicBezTo>
                      <a:pt x="23" y="10"/>
                      <a:pt x="23" y="10"/>
                      <a:pt x="22" y="10"/>
                    </a:cubicBezTo>
                    <a:cubicBezTo>
                      <a:pt x="20" y="10"/>
                      <a:pt x="19" y="9"/>
                      <a:pt x="18" y="8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6"/>
                      <a:pt x="15" y="6"/>
                      <a:pt x="14" y="6"/>
                    </a:cubicBezTo>
                    <a:cubicBezTo>
                      <a:pt x="14" y="6"/>
                      <a:pt x="13" y="6"/>
                      <a:pt x="13" y="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5"/>
                      <a:pt x="6" y="16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10" y="19"/>
                      <a:pt x="10" y="22"/>
                      <a:pt x="10" y="24"/>
                    </a:cubicBezTo>
                    <a:cubicBezTo>
                      <a:pt x="9" y="26"/>
                      <a:pt x="7" y="27"/>
                      <a:pt x="4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7"/>
                      <a:pt x="0" y="28"/>
                      <a:pt x="0" y="2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0"/>
                      <a:pt x="0" y="41"/>
                      <a:pt x="1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7" y="41"/>
                      <a:pt x="9" y="42"/>
                      <a:pt x="10" y="44"/>
                    </a:cubicBezTo>
                    <a:cubicBezTo>
                      <a:pt x="10" y="46"/>
                      <a:pt x="10" y="49"/>
                      <a:pt x="8" y="50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3"/>
                      <a:pt x="6" y="54"/>
                      <a:pt x="6" y="55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3" y="62"/>
                      <a:pt x="14" y="62"/>
                      <a:pt x="14" y="62"/>
                    </a:cubicBezTo>
                    <a:cubicBezTo>
                      <a:pt x="15" y="62"/>
                      <a:pt x="15" y="62"/>
                      <a:pt x="16" y="62"/>
                    </a:cubicBezTo>
                    <a:cubicBezTo>
                      <a:pt x="18" y="59"/>
                      <a:pt x="18" y="59"/>
                      <a:pt x="18" y="59"/>
                    </a:cubicBezTo>
                    <a:cubicBezTo>
                      <a:pt x="19" y="58"/>
                      <a:pt x="20" y="58"/>
                      <a:pt x="22" y="58"/>
                    </a:cubicBezTo>
                    <a:cubicBezTo>
                      <a:pt x="23" y="58"/>
                      <a:pt x="23" y="58"/>
                      <a:pt x="24" y="58"/>
                    </a:cubicBezTo>
                    <a:cubicBezTo>
                      <a:pt x="26" y="59"/>
                      <a:pt x="27" y="61"/>
                      <a:pt x="27" y="63"/>
                    </a:cubicBezTo>
                    <a:cubicBezTo>
                      <a:pt x="27" y="66"/>
                      <a:pt x="27" y="66"/>
                      <a:pt x="27" y="66"/>
                    </a:cubicBezTo>
                    <a:cubicBezTo>
                      <a:pt x="27" y="67"/>
                      <a:pt x="28" y="68"/>
                      <a:pt x="29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0" y="68"/>
                      <a:pt x="40" y="67"/>
                      <a:pt x="40" y="66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40" y="61"/>
                      <a:pt x="42" y="59"/>
                      <a:pt x="44" y="58"/>
                    </a:cubicBezTo>
                    <a:cubicBezTo>
                      <a:pt x="44" y="58"/>
                      <a:pt x="45" y="58"/>
                      <a:pt x="46" y="58"/>
                    </a:cubicBezTo>
                    <a:cubicBezTo>
                      <a:pt x="47" y="58"/>
                      <a:pt x="49" y="58"/>
                      <a:pt x="50" y="59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2" y="62"/>
                      <a:pt x="53" y="62"/>
                      <a:pt x="53" y="62"/>
                    </a:cubicBezTo>
                    <a:cubicBezTo>
                      <a:pt x="54" y="62"/>
                      <a:pt x="54" y="62"/>
                      <a:pt x="55" y="62"/>
                    </a:cubicBezTo>
                    <a:cubicBezTo>
                      <a:pt x="61" y="55"/>
                      <a:pt x="61" y="55"/>
                      <a:pt x="61" y="55"/>
                    </a:cubicBezTo>
                    <a:cubicBezTo>
                      <a:pt x="62" y="54"/>
                      <a:pt x="62" y="53"/>
                      <a:pt x="61" y="52"/>
                    </a:cubicBezTo>
                    <a:cubicBezTo>
                      <a:pt x="59" y="50"/>
                      <a:pt x="59" y="50"/>
                      <a:pt x="59" y="50"/>
                    </a:cubicBezTo>
                    <a:cubicBezTo>
                      <a:pt x="58" y="49"/>
                      <a:pt x="57" y="46"/>
                      <a:pt x="58" y="44"/>
                    </a:cubicBezTo>
                    <a:cubicBezTo>
                      <a:pt x="59" y="42"/>
                      <a:pt x="61" y="41"/>
                      <a:pt x="63" y="41"/>
                    </a:cubicBezTo>
                    <a:cubicBezTo>
                      <a:pt x="66" y="41"/>
                      <a:pt x="66" y="41"/>
                      <a:pt x="66" y="41"/>
                    </a:cubicBezTo>
                    <a:cubicBezTo>
                      <a:pt x="67" y="41"/>
                      <a:pt x="68" y="40"/>
                      <a:pt x="68" y="39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8" y="28"/>
                      <a:pt x="67" y="27"/>
                      <a:pt x="66" y="27"/>
                    </a:cubicBezTo>
                    <a:close/>
                    <a:moveTo>
                      <a:pt x="34" y="53"/>
                    </a:moveTo>
                    <a:cubicBezTo>
                      <a:pt x="23" y="53"/>
                      <a:pt x="14" y="45"/>
                      <a:pt x="14" y="34"/>
                    </a:cubicBezTo>
                    <a:cubicBezTo>
                      <a:pt x="14" y="23"/>
                      <a:pt x="23" y="14"/>
                      <a:pt x="34" y="14"/>
                    </a:cubicBezTo>
                    <a:cubicBezTo>
                      <a:pt x="45" y="14"/>
                      <a:pt x="53" y="23"/>
                      <a:pt x="53" y="34"/>
                    </a:cubicBezTo>
                    <a:cubicBezTo>
                      <a:pt x="53" y="45"/>
                      <a:pt x="45" y="53"/>
                      <a:pt x="34" y="53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  <p:sp>
            <p:nvSpPr>
              <p:cNvPr id="57" name="Oval 84"/>
              <p:cNvSpPr>
                <a:spLocks noChangeArrowheads="1"/>
              </p:cNvSpPr>
              <p:nvPr/>
            </p:nvSpPr>
            <p:spPr bwMode="auto">
              <a:xfrm>
                <a:off x="5536853" y="4097974"/>
                <a:ext cx="202534" cy="199511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63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63" name="Group 62"/>
          <p:cNvGrpSpPr/>
          <p:nvPr/>
        </p:nvGrpSpPr>
        <p:grpSpPr>
          <a:xfrm>
            <a:off x="8193503" y="1106906"/>
            <a:ext cx="277279" cy="375754"/>
            <a:chOff x="4394301" y="3155747"/>
            <a:chExt cx="463550" cy="604844"/>
          </a:xfrm>
          <a:solidFill>
            <a:schemeClr val="tx2"/>
          </a:solidFill>
        </p:grpSpPr>
        <p:sp>
          <p:nvSpPr>
            <p:cNvPr id="64" name="Freeform 26"/>
            <p:cNvSpPr>
              <a:spLocks noEditPoints="1"/>
            </p:cNvSpPr>
            <p:nvPr/>
          </p:nvSpPr>
          <p:spPr bwMode="auto">
            <a:xfrm>
              <a:off x="4394301" y="3247823"/>
              <a:ext cx="463550" cy="512768"/>
            </a:xfrm>
            <a:custGeom>
              <a:avLst/>
              <a:gdLst>
                <a:gd name="T0" fmla="*/ 336 w 350"/>
                <a:gd name="T1" fmla="*/ 387 h 387"/>
                <a:gd name="T2" fmla="*/ 14 w 350"/>
                <a:gd name="T3" fmla="*/ 387 h 387"/>
                <a:gd name="T4" fmla="*/ 0 w 350"/>
                <a:gd name="T5" fmla="*/ 373 h 387"/>
                <a:gd name="T6" fmla="*/ 0 w 350"/>
                <a:gd name="T7" fmla="*/ 14 h 387"/>
                <a:gd name="T8" fmla="*/ 14 w 350"/>
                <a:gd name="T9" fmla="*/ 0 h 387"/>
                <a:gd name="T10" fmla="*/ 336 w 350"/>
                <a:gd name="T11" fmla="*/ 0 h 387"/>
                <a:gd name="T12" fmla="*/ 350 w 350"/>
                <a:gd name="T13" fmla="*/ 14 h 387"/>
                <a:gd name="T14" fmla="*/ 350 w 350"/>
                <a:gd name="T15" fmla="*/ 373 h 387"/>
                <a:gd name="T16" fmla="*/ 336 w 350"/>
                <a:gd name="T17" fmla="*/ 387 h 387"/>
                <a:gd name="T18" fmla="*/ 14 w 350"/>
                <a:gd name="T19" fmla="*/ 12 h 387"/>
                <a:gd name="T20" fmla="*/ 13 w 350"/>
                <a:gd name="T21" fmla="*/ 14 h 387"/>
                <a:gd name="T22" fmla="*/ 13 w 350"/>
                <a:gd name="T23" fmla="*/ 373 h 387"/>
                <a:gd name="T24" fmla="*/ 14 w 350"/>
                <a:gd name="T25" fmla="*/ 374 h 387"/>
                <a:gd name="T26" fmla="*/ 336 w 350"/>
                <a:gd name="T27" fmla="*/ 374 h 387"/>
                <a:gd name="T28" fmla="*/ 337 w 350"/>
                <a:gd name="T29" fmla="*/ 373 h 387"/>
                <a:gd name="T30" fmla="*/ 337 w 350"/>
                <a:gd name="T31" fmla="*/ 14 h 387"/>
                <a:gd name="T32" fmla="*/ 336 w 350"/>
                <a:gd name="T33" fmla="*/ 12 h 387"/>
                <a:gd name="T34" fmla="*/ 14 w 350"/>
                <a:gd name="T35" fmla="*/ 12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0" h="387">
                  <a:moveTo>
                    <a:pt x="336" y="387"/>
                  </a:moveTo>
                  <a:cubicBezTo>
                    <a:pt x="14" y="387"/>
                    <a:pt x="14" y="387"/>
                    <a:pt x="14" y="387"/>
                  </a:cubicBezTo>
                  <a:cubicBezTo>
                    <a:pt x="6" y="387"/>
                    <a:pt x="0" y="381"/>
                    <a:pt x="0" y="37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336" y="0"/>
                    <a:pt x="336" y="0"/>
                    <a:pt x="336" y="0"/>
                  </a:cubicBezTo>
                  <a:cubicBezTo>
                    <a:pt x="343" y="0"/>
                    <a:pt x="350" y="6"/>
                    <a:pt x="350" y="14"/>
                  </a:cubicBezTo>
                  <a:cubicBezTo>
                    <a:pt x="350" y="373"/>
                    <a:pt x="350" y="373"/>
                    <a:pt x="350" y="373"/>
                  </a:cubicBezTo>
                  <a:cubicBezTo>
                    <a:pt x="350" y="381"/>
                    <a:pt x="343" y="387"/>
                    <a:pt x="336" y="387"/>
                  </a:cubicBezTo>
                  <a:close/>
                  <a:moveTo>
                    <a:pt x="14" y="12"/>
                  </a:moveTo>
                  <a:cubicBezTo>
                    <a:pt x="13" y="12"/>
                    <a:pt x="13" y="13"/>
                    <a:pt x="13" y="14"/>
                  </a:cubicBezTo>
                  <a:cubicBezTo>
                    <a:pt x="13" y="373"/>
                    <a:pt x="13" y="373"/>
                    <a:pt x="13" y="373"/>
                  </a:cubicBezTo>
                  <a:cubicBezTo>
                    <a:pt x="13" y="374"/>
                    <a:pt x="13" y="374"/>
                    <a:pt x="14" y="374"/>
                  </a:cubicBezTo>
                  <a:cubicBezTo>
                    <a:pt x="336" y="374"/>
                    <a:pt x="336" y="374"/>
                    <a:pt x="336" y="374"/>
                  </a:cubicBezTo>
                  <a:cubicBezTo>
                    <a:pt x="336" y="374"/>
                    <a:pt x="337" y="374"/>
                    <a:pt x="337" y="373"/>
                  </a:cubicBezTo>
                  <a:cubicBezTo>
                    <a:pt x="337" y="14"/>
                    <a:pt x="337" y="14"/>
                    <a:pt x="337" y="14"/>
                  </a:cubicBezTo>
                  <a:cubicBezTo>
                    <a:pt x="337" y="13"/>
                    <a:pt x="336" y="12"/>
                    <a:pt x="336" y="12"/>
                  </a:cubicBez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7"/>
            <p:cNvSpPr>
              <a:spLocks noEditPoints="1"/>
            </p:cNvSpPr>
            <p:nvPr/>
          </p:nvSpPr>
          <p:spPr bwMode="auto">
            <a:xfrm>
              <a:off x="4524476" y="3155747"/>
              <a:ext cx="212725" cy="144464"/>
            </a:xfrm>
            <a:custGeom>
              <a:avLst/>
              <a:gdLst>
                <a:gd name="T0" fmla="*/ 153 w 161"/>
                <a:gd name="T1" fmla="*/ 52 h 109"/>
                <a:gd name="T2" fmla="*/ 123 w 161"/>
                <a:gd name="T3" fmla="*/ 52 h 109"/>
                <a:gd name="T4" fmla="*/ 124 w 161"/>
                <a:gd name="T5" fmla="*/ 43 h 109"/>
                <a:gd name="T6" fmla="*/ 81 w 161"/>
                <a:gd name="T7" fmla="*/ 0 h 109"/>
                <a:gd name="T8" fmla="*/ 37 w 161"/>
                <a:gd name="T9" fmla="*/ 43 h 109"/>
                <a:gd name="T10" fmla="*/ 38 w 161"/>
                <a:gd name="T11" fmla="*/ 52 h 109"/>
                <a:gd name="T12" fmla="*/ 8 w 161"/>
                <a:gd name="T13" fmla="*/ 52 h 109"/>
                <a:gd name="T14" fmla="*/ 0 w 161"/>
                <a:gd name="T15" fmla="*/ 59 h 109"/>
                <a:gd name="T16" fmla="*/ 0 w 161"/>
                <a:gd name="T17" fmla="*/ 102 h 109"/>
                <a:gd name="T18" fmla="*/ 8 w 161"/>
                <a:gd name="T19" fmla="*/ 109 h 109"/>
                <a:gd name="T20" fmla="*/ 153 w 161"/>
                <a:gd name="T21" fmla="*/ 109 h 109"/>
                <a:gd name="T22" fmla="*/ 161 w 161"/>
                <a:gd name="T23" fmla="*/ 102 h 109"/>
                <a:gd name="T24" fmla="*/ 161 w 161"/>
                <a:gd name="T25" fmla="*/ 59 h 109"/>
                <a:gd name="T26" fmla="*/ 153 w 161"/>
                <a:gd name="T27" fmla="*/ 52 h 109"/>
                <a:gd name="T28" fmla="*/ 80 w 161"/>
                <a:gd name="T29" fmla="*/ 61 h 109"/>
                <a:gd name="T30" fmla="*/ 61 w 161"/>
                <a:gd name="T31" fmla="*/ 42 h 109"/>
                <a:gd name="T32" fmla="*/ 80 w 161"/>
                <a:gd name="T33" fmla="*/ 22 h 109"/>
                <a:gd name="T34" fmla="*/ 100 w 161"/>
                <a:gd name="T35" fmla="*/ 42 h 109"/>
                <a:gd name="T36" fmla="*/ 80 w 161"/>
                <a:gd name="T37" fmla="*/ 61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" h="109">
                  <a:moveTo>
                    <a:pt x="153" y="52"/>
                  </a:moveTo>
                  <a:cubicBezTo>
                    <a:pt x="123" y="52"/>
                    <a:pt x="123" y="52"/>
                    <a:pt x="123" y="52"/>
                  </a:cubicBezTo>
                  <a:cubicBezTo>
                    <a:pt x="123" y="49"/>
                    <a:pt x="124" y="46"/>
                    <a:pt x="124" y="43"/>
                  </a:cubicBezTo>
                  <a:cubicBezTo>
                    <a:pt x="124" y="19"/>
                    <a:pt x="104" y="0"/>
                    <a:pt x="81" y="0"/>
                  </a:cubicBezTo>
                  <a:cubicBezTo>
                    <a:pt x="57" y="0"/>
                    <a:pt x="37" y="19"/>
                    <a:pt x="37" y="43"/>
                  </a:cubicBezTo>
                  <a:cubicBezTo>
                    <a:pt x="37" y="46"/>
                    <a:pt x="38" y="49"/>
                    <a:pt x="3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4" y="52"/>
                    <a:pt x="0" y="55"/>
                    <a:pt x="0" y="5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6"/>
                    <a:pt x="4" y="109"/>
                    <a:pt x="8" y="109"/>
                  </a:cubicBezTo>
                  <a:cubicBezTo>
                    <a:pt x="153" y="109"/>
                    <a:pt x="153" y="109"/>
                    <a:pt x="153" y="109"/>
                  </a:cubicBezTo>
                  <a:cubicBezTo>
                    <a:pt x="157" y="109"/>
                    <a:pt x="161" y="106"/>
                    <a:pt x="161" y="102"/>
                  </a:cubicBezTo>
                  <a:cubicBezTo>
                    <a:pt x="161" y="59"/>
                    <a:pt x="161" y="59"/>
                    <a:pt x="161" y="59"/>
                  </a:cubicBezTo>
                  <a:cubicBezTo>
                    <a:pt x="161" y="55"/>
                    <a:pt x="157" y="52"/>
                    <a:pt x="153" y="52"/>
                  </a:cubicBezTo>
                  <a:close/>
                  <a:moveTo>
                    <a:pt x="80" y="61"/>
                  </a:moveTo>
                  <a:cubicBezTo>
                    <a:pt x="70" y="61"/>
                    <a:pt x="61" y="53"/>
                    <a:pt x="61" y="42"/>
                  </a:cubicBezTo>
                  <a:cubicBezTo>
                    <a:pt x="61" y="31"/>
                    <a:pt x="70" y="22"/>
                    <a:pt x="80" y="22"/>
                  </a:cubicBezTo>
                  <a:cubicBezTo>
                    <a:pt x="91" y="22"/>
                    <a:pt x="100" y="31"/>
                    <a:pt x="100" y="42"/>
                  </a:cubicBezTo>
                  <a:cubicBezTo>
                    <a:pt x="100" y="53"/>
                    <a:pt x="91" y="61"/>
                    <a:pt x="80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8"/>
            <p:cNvSpPr>
              <a:spLocks/>
            </p:cNvSpPr>
            <p:nvPr/>
          </p:nvSpPr>
          <p:spPr bwMode="auto">
            <a:xfrm>
              <a:off x="4432401" y="3354187"/>
              <a:ext cx="381000" cy="314328"/>
            </a:xfrm>
            <a:custGeom>
              <a:avLst/>
              <a:gdLst>
                <a:gd name="T0" fmla="*/ 74 w 240"/>
                <a:gd name="T1" fmla="*/ 198 h 198"/>
                <a:gd name="T2" fmla="*/ 0 w 240"/>
                <a:gd name="T3" fmla="*/ 129 h 198"/>
                <a:gd name="T4" fmla="*/ 38 w 240"/>
                <a:gd name="T5" fmla="*/ 91 h 198"/>
                <a:gd name="T6" fmla="*/ 74 w 240"/>
                <a:gd name="T7" fmla="*/ 127 h 198"/>
                <a:gd name="T8" fmla="*/ 206 w 240"/>
                <a:gd name="T9" fmla="*/ 0 h 198"/>
                <a:gd name="T10" fmla="*/ 240 w 240"/>
                <a:gd name="T11" fmla="*/ 36 h 198"/>
                <a:gd name="T12" fmla="*/ 74 w 240"/>
                <a:gd name="T13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0" h="198">
                  <a:moveTo>
                    <a:pt x="74" y="198"/>
                  </a:moveTo>
                  <a:lnTo>
                    <a:pt x="0" y="129"/>
                  </a:lnTo>
                  <a:lnTo>
                    <a:pt x="38" y="91"/>
                  </a:lnTo>
                  <a:lnTo>
                    <a:pt x="74" y="127"/>
                  </a:lnTo>
                  <a:lnTo>
                    <a:pt x="206" y="0"/>
                  </a:lnTo>
                  <a:lnTo>
                    <a:pt x="240" y="36"/>
                  </a:lnTo>
                  <a:lnTo>
                    <a:pt x="74" y="1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3" name="Group 41"/>
          <p:cNvGrpSpPr>
            <a:grpSpLocks noChangeAspect="1"/>
          </p:cNvGrpSpPr>
          <p:nvPr/>
        </p:nvGrpSpPr>
        <p:grpSpPr bwMode="auto">
          <a:xfrm>
            <a:off x="6581274" y="1081305"/>
            <a:ext cx="305544" cy="434813"/>
            <a:chOff x="1464" y="2481"/>
            <a:chExt cx="468" cy="666"/>
          </a:xfrm>
          <a:solidFill>
            <a:srgbClr val="00338D"/>
          </a:solidFill>
        </p:grpSpPr>
        <p:sp>
          <p:nvSpPr>
            <p:cNvPr id="74" name="Freeform 42"/>
            <p:cNvSpPr>
              <a:spLocks noEditPoints="1"/>
            </p:cNvSpPr>
            <p:nvPr/>
          </p:nvSpPr>
          <p:spPr bwMode="auto">
            <a:xfrm>
              <a:off x="1464" y="2481"/>
              <a:ext cx="468" cy="666"/>
            </a:xfrm>
            <a:custGeom>
              <a:avLst/>
              <a:gdLst>
                <a:gd name="T0" fmla="*/ 152 w 195"/>
                <a:gd name="T1" fmla="*/ 261 h 279"/>
                <a:gd name="T2" fmla="*/ 152 w 195"/>
                <a:gd name="T3" fmla="*/ 279 h 279"/>
                <a:gd name="T4" fmla="*/ 133 w 195"/>
                <a:gd name="T5" fmla="*/ 260 h 279"/>
                <a:gd name="T6" fmla="*/ 118 w 195"/>
                <a:gd name="T7" fmla="*/ 278 h 279"/>
                <a:gd name="T8" fmla="*/ 116 w 195"/>
                <a:gd name="T9" fmla="*/ 277 h 279"/>
                <a:gd name="T10" fmla="*/ 116 w 195"/>
                <a:gd name="T11" fmla="*/ 261 h 279"/>
                <a:gd name="T12" fmla="*/ 0 w 195"/>
                <a:gd name="T13" fmla="*/ 261 h 279"/>
                <a:gd name="T14" fmla="*/ 0 w 195"/>
                <a:gd name="T15" fmla="*/ 0 h 279"/>
                <a:gd name="T16" fmla="*/ 7 w 195"/>
                <a:gd name="T17" fmla="*/ 0 h 279"/>
                <a:gd name="T18" fmla="*/ 122 w 195"/>
                <a:gd name="T19" fmla="*/ 0 h 279"/>
                <a:gd name="T20" fmla="*/ 133 w 195"/>
                <a:gd name="T21" fmla="*/ 5 h 279"/>
                <a:gd name="T22" fmla="*/ 190 w 195"/>
                <a:gd name="T23" fmla="*/ 61 h 279"/>
                <a:gd name="T24" fmla="*/ 194 w 195"/>
                <a:gd name="T25" fmla="*/ 71 h 279"/>
                <a:gd name="T26" fmla="*/ 194 w 195"/>
                <a:gd name="T27" fmla="*/ 256 h 279"/>
                <a:gd name="T28" fmla="*/ 194 w 195"/>
                <a:gd name="T29" fmla="*/ 261 h 279"/>
                <a:gd name="T30" fmla="*/ 152 w 195"/>
                <a:gd name="T31" fmla="*/ 261 h 279"/>
                <a:gd name="T32" fmla="*/ 115 w 195"/>
                <a:gd name="T33" fmla="*/ 248 h 279"/>
                <a:gd name="T34" fmla="*/ 107 w 195"/>
                <a:gd name="T35" fmla="*/ 221 h 279"/>
                <a:gd name="T36" fmla="*/ 99 w 195"/>
                <a:gd name="T37" fmla="*/ 185 h 279"/>
                <a:gd name="T38" fmla="*/ 130 w 195"/>
                <a:gd name="T39" fmla="*/ 159 h 279"/>
                <a:gd name="T40" fmla="*/ 168 w 195"/>
                <a:gd name="T41" fmla="*/ 181 h 279"/>
                <a:gd name="T42" fmla="*/ 159 w 195"/>
                <a:gd name="T43" fmla="*/ 222 h 279"/>
                <a:gd name="T44" fmla="*/ 153 w 195"/>
                <a:gd name="T45" fmla="*/ 247 h 279"/>
                <a:gd name="T46" fmla="*/ 180 w 195"/>
                <a:gd name="T47" fmla="*/ 247 h 279"/>
                <a:gd name="T48" fmla="*/ 180 w 195"/>
                <a:gd name="T49" fmla="*/ 79 h 279"/>
                <a:gd name="T50" fmla="*/ 116 w 195"/>
                <a:gd name="T51" fmla="*/ 79 h 279"/>
                <a:gd name="T52" fmla="*/ 116 w 195"/>
                <a:gd name="T53" fmla="*/ 14 h 279"/>
                <a:gd name="T54" fmla="*/ 107 w 195"/>
                <a:gd name="T55" fmla="*/ 13 h 279"/>
                <a:gd name="T56" fmla="*/ 21 w 195"/>
                <a:gd name="T57" fmla="*/ 13 h 279"/>
                <a:gd name="T58" fmla="*/ 12 w 195"/>
                <a:gd name="T59" fmla="*/ 22 h 279"/>
                <a:gd name="T60" fmla="*/ 12 w 195"/>
                <a:gd name="T61" fmla="*/ 239 h 279"/>
                <a:gd name="T62" fmla="*/ 13 w 195"/>
                <a:gd name="T63" fmla="*/ 248 h 279"/>
                <a:gd name="T64" fmla="*/ 115 w 195"/>
                <a:gd name="T65" fmla="*/ 248 h 279"/>
                <a:gd name="T66" fmla="*/ 110 w 195"/>
                <a:gd name="T67" fmla="*/ 196 h 279"/>
                <a:gd name="T68" fmla="*/ 134 w 195"/>
                <a:gd name="T69" fmla="*/ 219 h 279"/>
                <a:gd name="T70" fmla="*/ 157 w 195"/>
                <a:gd name="T71" fmla="*/ 195 h 279"/>
                <a:gd name="T72" fmla="*/ 134 w 195"/>
                <a:gd name="T73" fmla="*/ 172 h 279"/>
                <a:gd name="T74" fmla="*/ 110 w 195"/>
                <a:gd name="T75" fmla="*/ 196 h 279"/>
                <a:gd name="T76" fmla="*/ 129 w 195"/>
                <a:gd name="T77" fmla="*/ 65 h 279"/>
                <a:gd name="T78" fmla="*/ 172 w 195"/>
                <a:gd name="T79" fmla="*/ 65 h 279"/>
                <a:gd name="T80" fmla="*/ 129 w 195"/>
                <a:gd name="T81" fmla="*/ 22 h 279"/>
                <a:gd name="T82" fmla="*/ 129 w 195"/>
                <a:gd name="T83" fmla="*/ 6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5" h="279">
                  <a:moveTo>
                    <a:pt x="152" y="261"/>
                  </a:moveTo>
                  <a:cubicBezTo>
                    <a:pt x="152" y="267"/>
                    <a:pt x="152" y="272"/>
                    <a:pt x="152" y="279"/>
                  </a:cubicBezTo>
                  <a:cubicBezTo>
                    <a:pt x="145" y="272"/>
                    <a:pt x="139" y="267"/>
                    <a:pt x="133" y="260"/>
                  </a:cubicBezTo>
                  <a:cubicBezTo>
                    <a:pt x="127" y="266"/>
                    <a:pt x="123" y="272"/>
                    <a:pt x="118" y="278"/>
                  </a:cubicBezTo>
                  <a:cubicBezTo>
                    <a:pt x="117" y="277"/>
                    <a:pt x="117" y="277"/>
                    <a:pt x="116" y="277"/>
                  </a:cubicBezTo>
                  <a:cubicBezTo>
                    <a:pt x="116" y="272"/>
                    <a:pt x="116" y="267"/>
                    <a:pt x="116" y="261"/>
                  </a:cubicBezTo>
                  <a:cubicBezTo>
                    <a:pt x="77" y="261"/>
                    <a:pt x="39" y="261"/>
                    <a:pt x="0" y="261"/>
                  </a:cubicBezTo>
                  <a:cubicBezTo>
                    <a:pt x="0" y="174"/>
                    <a:pt x="0" y="87"/>
                    <a:pt x="0" y="0"/>
                  </a:cubicBezTo>
                  <a:cubicBezTo>
                    <a:pt x="2" y="0"/>
                    <a:pt x="5" y="0"/>
                    <a:pt x="7" y="0"/>
                  </a:cubicBezTo>
                  <a:cubicBezTo>
                    <a:pt x="46" y="0"/>
                    <a:pt x="84" y="0"/>
                    <a:pt x="122" y="0"/>
                  </a:cubicBezTo>
                  <a:cubicBezTo>
                    <a:pt x="126" y="0"/>
                    <a:pt x="130" y="2"/>
                    <a:pt x="133" y="5"/>
                  </a:cubicBezTo>
                  <a:cubicBezTo>
                    <a:pt x="152" y="23"/>
                    <a:pt x="171" y="42"/>
                    <a:pt x="190" y="61"/>
                  </a:cubicBezTo>
                  <a:cubicBezTo>
                    <a:pt x="192" y="64"/>
                    <a:pt x="194" y="67"/>
                    <a:pt x="194" y="71"/>
                  </a:cubicBezTo>
                  <a:cubicBezTo>
                    <a:pt x="195" y="132"/>
                    <a:pt x="194" y="194"/>
                    <a:pt x="194" y="256"/>
                  </a:cubicBezTo>
                  <a:cubicBezTo>
                    <a:pt x="194" y="257"/>
                    <a:pt x="194" y="259"/>
                    <a:pt x="194" y="261"/>
                  </a:cubicBezTo>
                  <a:cubicBezTo>
                    <a:pt x="180" y="261"/>
                    <a:pt x="166" y="261"/>
                    <a:pt x="152" y="261"/>
                  </a:cubicBezTo>
                  <a:close/>
                  <a:moveTo>
                    <a:pt x="115" y="248"/>
                  </a:moveTo>
                  <a:cubicBezTo>
                    <a:pt x="117" y="237"/>
                    <a:pt x="117" y="229"/>
                    <a:pt x="107" y="221"/>
                  </a:cubicBezTo>
                  <a:cubicBezTo>
                    <a:pt x="96" y="212"/>
                    <a:pt x="95" y="198"/>
                    <a:pt x="99" y="185"/>
                  </a:cubicBezTo>
                  <a:cubicBezTo>
                    <a:pt x="102" y="171"/>
                    <a:pt x="116" y="160"/>
                    <a:pt x="130" y="159"/>
                  </a:cubicBezTo>
                  <a:cubicBezTo>
                    <a:pt x="147" y="158"/>
                    <a:pt x="161" y="166"/>
                    <a:pt x="168" y="181"/>
                  </a:cubicBezTo>
                  <a:cubicBezTo>
                    <a:pt x="174" y="195"/>
                    <a:pt x="172" y="212"/>
                    <a:pt x="159" y="222"/>
                  </a:cubicBezTo>
                  <a:cubicBezTo>
                    <a:pt x="150" y="230"/>
                    <a:pt x="152" y="238"/>
                    <a:pt x="153" y="247"/>
                  </a:cubicBezTo>
                  <a:cubicBezTo>
                    <a:pt x="162" y="247"/>
                    <a:pt x="171" y="247"/>
                    <a:pt x="180" y="247"/>
                  </a:cubicBezTo>
                  <a:cubicBezTo>
                    <a:pt x="180" y="191"/>
                    <a:pt x="180" y="135"/>
                    <a:pt x="180" y="79"/>
                  </a:cubicBezTo>
                  <a:cubicBezTo>
                    <a:pt x="159" y="79"/>
                    <a:pt x="138" y="79"/>
                    <a:pt x="116" y="79"/>
                  </a:cubicBezTo>
                  <a:cubicBezTo>
                    <a:pt x="116" y="57"/>
                    <a:pt x="116" y="35"/>
                    <a:pt x="116" y="14"/>
                  </a:cubicBezTo>
                  <a:cubicBezTo>
                    <a:pt x="112" y="14"/>
                    <a:pt x="110" y="13"/>
                    <a:pt x="107" y="13"/>
                  </a:cubicBezTo>
                  <a:cubicBezTo>
                    <a:pt x="79" y="13"/>
                    <a:pt x="50" y="13"/>
                    <a:pt x="21" y="13"/>
                  </a:cubicBezTo>
                  <a:cubicBezTo>
                    <a:pt x="14" y="13"/>
                    <a:pt x="12" y="15"/>
                    <a:pt x="12" y="22"/>
                  </a:cubicBezTo>
                  <a:cubicBezTo>
                    <a:pt x="12" y="95"/>
                    <a:pt x="12" y="167"/>
                    <a:pt x="12" y="239"/>
                  </a:cubicBezTo>
                  <a:cubicBezTo>
                    <a:pt x="12" y="242"/>
                    <a:pt x="13" y="245"/>
                    <a:pt x="13" y="248"/>
                  </a:cubicBezTo>
                  <a:cubicBezTo>
                    <a:pt x="47" y="248"/>
                    <a:pt x="81" y="248"/>
                    <a:pt x="115" y="248"/>
                  </a:cubicBezTo>
                  <a:close/>
                  <a:moveTo>
                    <a:pt x="110" y="196"/>
                  </a:moveTo>
                  <a:cubicBezTo>
                    <a:pt x="111" y="209"/>
                    <a:pt x="121" y="220"/>
                    <a:pt x="134" y="219"/>
                  </a:cubicBezTo>
                  <a:cubicBezTo>
                    <a:pt x="147" y="219"/>
                    <a:pt x="157" y="209"/>
                    <a:pt x="157" y="195"/>
                  </a:cubicBezTo>
                  <a:cubicBezTo>
                    <a:pt x="157" y="182"/>
                    <a:pt x="147" y="172"/>
                    <a:pt x="134" y="172"/>
                  </a:cubicBezTo>
                  <a:cubicBezTo>
                    <a:pt x="121" y="172"/>
                    <a:pt x="110" y="183"/>
                    <a:pt x="110" y="196"/>
                  </a:cubicBezTo>
                  <a:close/>
                  <a:moveTo>
                    <a:pt x="129" y="65"/>
                  </a:moveTo>
                  <a:cubicBezTo>
                    <a:pt x="145" y="65"/>
                    <a:pt x="159" y="65"/>
                    <a:pt x="172" y="65"/>
                  </a:cubicBezTo>
                  <a:cubicBezTo>
                    <a:pt x="158" y="51"/>
                    <a:pt x="144" y="36"/>
                    <a:pt x="129" y="22"/>
                  </a:cubicBezTo>
                  <a:cubicBezTo>
                    <a:pt x="129" y="36"/>
                    <a:pt x="129" y="50"/>
                    <a:pt x="129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43"/>
            <p:cNvSpPr>
              <a:spLocks/>
            </p:cNvSpPr>
            <p:nvPr/>
          </p:nvSpPr>
          <p:spPr bwMode="auto">
            <a:xfrm>
              <a:off x="1562" y="2705"/>
              <a:ext cx="267" cy="51"/>
            </a:xfrm>
            <a:custGeom>
              <a:avLst/>
              <a:gdLst>
                <a:gd name="T0" fmla="*/ 0 w 111"/>
                <a:gd name="T1" fmla="*/ 21 h 21"/>
                <a:gd name="T2" fmla="*/ 0 w 111"/>
                <a:gd name="T3" fmla="*/ 0 h 21"/>
                <a:gd name="T4" fmla="*/ 111 w 111"/>
                <a:gd name="T5" fmla="*/ 0 h 21"/>
                <a:gd name="T6" fmla="*/ 111 w 111"/>
                <a:gd name="T7" fmla="*/ 21 h 21"/>
                <a:gd name="T8" fmla="*/ 0 w 1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1">
                  <a:moveTo>
                    <a:pt x="0" y="21"/>
                  </a:moveTo>
                  <a:cubicBezTo>
                    <a:pt x="0" y="14"/>
                    <a:pt x="0" y="7"/>
                    <a:pt x="0" y="0"/>
                  </a:cubicBezTo>
                  <a:cubicBezTo>
                    <a:pt x="37" y="0"/>
                    <a:pt x="74" y="0"/>
                    <a:pt x="111" y="0"/>
                  </a:cubicBezTo>
                  <a:cubicBezTo>
                    <a:pt x="111" y="7"/>
                    <a:pt x="111" y="14"/>
                    <a:pt x="111" y="21"/>
                  </a:cubicBezTo>
                  <a:cubicBezTo>
                    <a:pt x="74" y="21"/>
                    <a:pt x="37" y="21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44"/>
            <p:cNvSpPr>
              <a:spLocks/>
            </p:cNvSpPr>
            <p:nvPr/>
          </p:nvSpPr>
          <p:spPr bwMode="auto">
            <a:xfrm>
              <a:off x="1562" y="2796"/>
              <a:ext cx="267" cy="50"/>
            </a:xfrm>
            <a:custGeom>
              <a:avLst/>
              <a:gdLst>
                <a:gd name="T0" fmla="*/ 0 w 111"/>
                <a:gd name="T1" fmla="*/ 21 h 21"/>
                <a:gd name="T2" fmla="*/ 0 w 111"/>
                <a:gd name="T3" fmla="*/ 0 h 21"/>
                <a:gd name="T4" fmla="*/ 111 w 111"/>
                <a:gd name="T5" fmla="*/ 0 h 21"/>
                <a:gd name="T6" fmla="*/ 111 w 111"/>
                <a:gd name="T7" fmla="*/ 21 h 21"/>
                <a:gd name="T8" fmla="*/ 0 w 1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1">
                  <a:moveTo>
                    <a:pt x="0" y="21"/>
                  </a:moveTo>
                  <a:cubicBezTo>
                    <a:pt x="0" y="14"/>
                    <a:pt x="0" y="7"/>
                    <a:pt x="0" y="0"/>
                  </a:cubicBezTo>
                  <a:cubicBezTo>
                    <a:pt x="37" y="0"/>
                    <a:pt x="73" y="0"/>
                    <a:pt x="111" y="0"/>
                  </a:cubicBezTo>
                  <a:cubicBezTo>
                    <a:pt x="111" y="7"/>
                    <a:pt x="111" y="14"/>
                    <a:pt x="111" y="21"/>
                  </a:cubicBezTo>
                  <a:cubicBezTo>
                    <a:pt x="74" y="21"/>
                    <a:pt x="38" y="21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45"/>
            <p:cNvSpPr>
              <a:spLocks/>
            </p:cNvSpPr>
            <p:nvPr/>
          </p:nvSpPr>
          <p:spPr bwMode="auto">
            <a:xfrm>
              <a:off x="1562" y="2884"/>
              <a:ext cx="96" cy="51"/>
            </a:xfrm>
            <a:custGeom>
              <a:avLst/>
              <a:gdLst>
                <a:gd name="T0" fmla="*/ 0 w 40"/>
                <a:gd name="T1" fmla="*/ 21 h 21"/>
                <a:gd name="T2" fmla="*/ 0 w 40"/>
                <a:gd name="T3" fmla="*/ 0 h 21"/>
                <a:gd name="T4" fmla="*/ 40 w 40"/>
                <a:gd name="T5" fmla="*/ 0 h 21"/>
                <a:gd name="T6" fmla="*/ 40 w 40"/>
                <a:gd name="T7" fmla="*/ 21 h 21"/>
                <a:gd name="T8" fmla="*/ 0 w 4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0" y="21"/>
                  </a:moveTo>
                  <a:cubicBezTo>
                    <a:pt x="0" y="14"/>
                    <a:pt x="0" y="7"/>
                    <a:pt x="0" y="0"/>
                  </a:cubicBezTo>
                  <a:cubicBezTo>
                    <a:pt x="13" y="0"/>
                    <a:pt x="27" y="0"/>
                    <a:pt x="40" y="0"/>
                  </a:cubicBezTo>
                  <a:cubicBezTo>
                    <a:pt x="40" y="7"/>
                    <a:pt x="40" y="14"/>
                    <a:pt x="40" y="21"/>
                  </a:cubicBezTo>
                  <a:cubicBezTo>
                    <a:pt x="27" y="21"/>
                    <a:pt x="14" y="21"/>
                    <a:pt x="0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0963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396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4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800" dirty="0" smtClean="0"/>
              <a:t>Экосистема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1590308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С точки зрения Банка, экосистема – это организация, обладающая компетенциями по взаимодействию с клиентами, бизнес-средой, а также продвинутой моделью управления</a:t>
            </a:r>
            <a:endParaRPr lang="en-GB" sz="2800" kern="0" dirty="0"/>
          </a:p>
        </p:txBody>
      </p:sp>
      <p:sp>
        <p:nvSpPr>
          <p:cNvPr id="32" name="Pie 31"/>
          <p:cNvSpPr/>
          <p:nvPr/>
        </p:nvSpPr>
        <p:spPr>
          <a:xfrm>
            <a:off x="3130144" y="1761052"/>
            <a:ext cx="3645714" cy="3645714"/>
          </a:xfrm>
          <a:prstGeom prst="pie">
            <a:avLst>
              <a:gd name="adj1" fmla="val 16195845"/>
              <a:gd name="adj2" fmla="val 776801"/>
            </a:avLst>
          </a:prstGeom>
          <a:solidFill>
            <a:srgbClr val="005EB8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3" name="Pie 32"/>
          <p:cNvSpPr/>
          <p:nvPr/>
        </p:nvSpPr>
        <p:spPr>
          <a:xfrm>
            <a:off x="3130144" y="1761052"/>
            <a:ext cx="3645714" cy="3645714"/>
          </a:xfrm>
          <a:prstGeom prst="pie">
            <a:avLst>
              <a:gd name="adj1" fmla="val 763436"/>
              <a:gd name="adj2" fmla="val 6951808"/>
            </a:avLst>
          </a:prstGeom>
          <a:solidFill>
            <a:srgbClr val="0091DA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900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4" name="Pie 33"/>
          <p:cNvSpPr/>
          <p:nvPr/>
        </p:nvSpPr>
        <p:spPr>
          <a:xfrm rot="6256831">
            <a:off x="3130144" y="1761052"/>
            <a:ext cx="3645714" cy="3645714"/>
          </a:xfrm>
          <a:prstGeom prst="pie">
            <a:avLst>
              <a:gd name="adj1" fmla="val 678352"/>
              <a:gd name="adj2" fmla="val 9934129"/>
            </a:avLst>
          </a:prstGeom>
          <a:solidFill>
            <a:srgbClr val="00338D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463" dirty="0">
              <a:ln w="0"/>
              <a:solidFill>
                <a:srgbClr val="000000"/>
              </a:solidFill>
              <a:effectLst>
                <a:outerShdw blurRad="38100" dist="19050" dir="2700000" algn="tl" rotWithShape="0">
                  <a:srgbClr val="000000">
                    <a:alpha val="40000"/>
                  </a:srgbClr>
                </a:outerShdw>
              </a:effectLst>
              <a:latin typeface="+mj-lt"/>
            </a:endParaRPr>
          </a:p>
        </p:txBody>
      </p:sp>
      <p:grpSp>
        <p:nvGrpSpPr>
          <p:cNvPr id="35" name="Group 42"/>
          <p:cNvGrpSpPr>
            <a:grpSpLocks noChangeAspect="1"/>
          </p:cNvGrpSpPr>
          <p:nvPr/>
        </p:nvGrpSpPr>
        <p:grpSpPr bwMode="auto">
          <a:xfrm>
            <a:off x="3189897" y="1892708"/>
            <a:ext cx="3519063" cy="3432293"/>
            <a:chOff x="2771" y="2242"/>
            <a:chExt cx="1095" cy="1068"/>
          </a:xfrm>
          <a:solidFill>
            <a:schemeClr val="bg1"/>
          </a:solidFill>
        </p:grpSpPr>
        <p:sp>
          <p:nvSpPr>
            <p:cNvPr id="36" name="Freeform 43"/>
            <p:cNvSpPr>
              <a:spLocks/>
            </p:cNvSpPr>
            <p:nvPr/>
          </p:nvSpPr>
          <p:spPr bwMode="auto">
            <a:xfrm>
              <a:off x="3319" y="2242"/>
              <a:ext cx="411" cy="525"/>
            </a:xfrm>
            <a:custGeom>
              <a:avLst/>
              <a:gdLst/>
              <a:ahLst/>
              <a:cxnLst>
                <a:cxn ang="0">
                  <a:pos x="1095" y="528"/>
                </a:cxn>
                <a:cxn ang="0">
                  <a:pos x="0" y="0"/>
                </a:cxn>
                <a:cxn ang="0">
                  <a:pos x="0" y="1400"/>
                </a:cxn>
                <a:cxn ang="0">
                  <a:pos x="1095" y="528"/>
                </a:cxn>
              </a:cxnLst>
              <a:rect l="0" t="0" r="r" b="b"/>
              <a:pathLst>
                <a:path w="1095" h="1400">
                  <a:moveTo>
                    <a:pt x="1095" y="528"/>
                  </a:moveTo>
                  <a:cubicBezTo>
                    <a:pt x="829" y="194"/>
                    <a:pt x="427" y="0"/>
                    <a:pt x="0" y="0"/>
                  </a:cubicBezTo>
                  <a:lnTo>
                    <a:pt x="0" y="1400"/>
                  </a:lnTo>
                  <a:lnTo>
                    <a:pt x="1095" y="528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37" name="Freeform 44"/>
            <p:cNvSpPr>
              <a:spLocks/>
            </p:cNvSpPr>
            <p:nvPr/>
          </p:nvSpPr>
          <p:spPr bwMode="auto">
            <a:xfrm>
              <a:off x="3319" y="2440"/>
              <a:ext cx="547" cy="444"/>
            </a:xfrm>
            <a:custGeom>
              <a:avLst/>
              <a:gdLst/>
              <a:ahLst/>
              <a:cxnLst>
                <a:cxn ang="0">
                  <a:pos x="1365" y="1184"/>
                </a:cxn>
                <a:cxn ang="0">
                  <a:pos x="1095" y="0"/>
                </a:cxn>
                <a:cxn ang="0">
                  <a:pos x="0" y="872"/>
                </a:cxn>
                <a:cxn ang="0">
                  <a:pos x="1365" y="1184"/>
                </a:cxn>
              </a:cxnLst>
              <a:rect l="0" t="0" r="r" b="b"/>
              <a:pathLst>
                <a:path w="1460" h="1184">
                  <a:moveTo>
                    <a:pt x="1365" y="1184"/>
                  </a:moveTo>
                  <a:cubicBezTo>
                    <a:pt x="1460" y="769"/>
                    <a:pt x="1361" y="333"/>
                    <a:pt x="1095" y="0"/>
                  </a:cubicBezTo>
                  <a:lnTo>
                    <a:pt x="0" y="872"/>
                  </a:lnTo>
                  <a:lnTo>
                    <a:pt x="1365" y="1184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38" name="Freeform 45"/>
            <p:cNvSpPr>
              <a:spLocks/>
            </p:cNvSpPr>
            <p:nvPr/>
          </p:nvSpPr>
          <p:spPr bwMode="auto">
            <a:xfrm>
              <a:off x="3319" y="2767"/>
              <a:ext cx="512" cy="473"/>
            </a:xfrm>
            <a:custGeom>
              <a:avLst/>
              <a:gdLst/>
              <a:ahLst/>
              <a:cxnLst>
                <a:cxn ang="0">
                  <a:pos x="608" y="1262"/>
                </a:cxn>
                <a:cxn ang="0">
                  <a:pos x="1365" y="312"/>
                </a:cxn>
                <a:cxn ang="0">
                  <a:pos x="0" y="0"/>
                </a:cxn>
                <a:cxn ang="0">
                  <a:pos x="608" y="1262"/>
                </a:cxn>
              </a:cxnLst>
              <a:rect l="0" t="0" r="r" b="b"/>
              <a:pathLst>
                <a:path w="1365" h="1262">
                  <a:moveTo>
                    <a:pt x="608" y="1262"/>
                  </a:moveTo>
                  <a:cubicBezTo>
                    <a:pt x="992" y="1077"/>
                    <a:pt x="1271" y="727"/>
                    <a:pt x="1365" y="312"/>
                  </a:cubicBezTo>
                  <a:lnTo>
                    <a:pt x="0" y="0"/>
                  </a:lnTo>
                  <a:lnTo>
                    <a:pt x="608" y="1262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39" name="Freeform 46"/>
            <p:cNvSpPr>
              <a:spLocks/>
            </p:cNvSpPr>
            <p:nvPr/>
          </p:nvSpPr>
          <p:spPr bwMode="auto">
            <a:xfrm>
              <a:off x="3091" y="2767"/>
              <a:ext cx="456" cy="543"/>
            </a:xfrm>
            <a:custGeom>
              <a:avLst/>
              <a:gdLst/>
              <a:ahLst/>
              <a:cxnLst>
                <a:cxn ang="0">
                  <a:pos x="0" y="1262"/>
                </a:cxn>
                <a:cxn ang="0">
                  <a:pos x="1215" y="1262"/>
                </a:cxn>
                <a:cxn ang="0">
                  <a:pos x="607" y="0"/>
                </a:cxn>
                <a:cxn ang="0">
                  <a:pos x="0" y="1262"/>
                </a:cxn>
              </a:cxnLst>
              <a:rect l="0" t="0" r="r" b="b"/>
              <a:pathLst>
                <a:path w="1215" h="1447">
                  <a:moveTo>
                    <a:pt x="0" y="1262"/>
                  </a:moveTo>
                  <a:cubicBezTo>
                    <a:pt x="384" y="1447"/>
                    <a:pt x="831" y="1447"/>
                    <a:pt x="1215" y="1262"/>
                  </a:cubicBezTo>
                  <a:lnTo>
                    <a:pt x="607" y="0"/>
                  </a:lnTo>
                  <a:lnTo>
                    <a:pt x="0" y="1262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40" name="Freeform 47"/>
            <p:cNvSpPr>
              <a:spLocks/>
            </p:cNvSpPr>
            <p:nvPr/>
          </p:nvSpPr>
          <p:spPr bwMode="auto">
            <a:xfrm>
              <a:off x="2807" y="2767"/>
              <a:ext cx="512" cy="473"/>
            </a:xfrm>
            <a:custGeom>
              <a:avLst/>
              <a:gdLst/>
              <a:ahLst/>
              <a:cxnLst>
                <a:cxn ang="0">
                  <a:pos x="0" y="312"/>
                </a:cxn>
                <a:cxn ang="0">
                  <a:pos x="757" y="1262"/>
                </a:cxn>
                <a:cxn ang="0">
                  <a:pos x="1364" y="0"/>
                </a:cxn>
                <a:cxn ang="0">
                  <a:pos x="0" y="312"/>
                </a:cxn>
              </a:cxnLst>
              <a:rect l="0" t="0" r="r" b="b"/>
              <a:pathLst>
                <a:path w="1364" h="1262">
                  <a:moveTo>
                    <a:pt x="0" y="312"/>
                  </a:moveTo>
                  <a:cubicBezTo>
                    <a:pt x="94" y="727"/>
                    <a:pt x="373" y="1077"/>
                    <a:pt x="757" y="1262"/>
                  </a:cubicBezTo>
                  <a:lnTo>
                    <a:pt x="1364" y="0"/>
                  </a:lnTo>
                  <a:lnTo>
                    <a:pt x="0" y="312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41" name="Freeform 48"/>
            <p:cNvSpPr>
              <a:spLocks/>
            </p:cNvSpPr>
            <p:nvPr/>
          </p:nvSpPr>
          <p:spPr bwMode="auto">
            <a:xfrm>
              <a:off x="2771" y="2440"/>
              <a:ext cx="547" cy="444"/>
            </a:xfrm>
            <a:custGeom>
              <a:avLst/>
              <a:gdLst/>
              <a:ahLst/>
              <a:cxnLst>
                <a:cxn ang="0">
                  <a:pos x="365" y="0"/>
                </a:cxn>
                <a:cxn ang="0">
                  <a:pos x="95" y="1184"/>
                </a:cxn>
                <a:cxn ang="0">
                  <a:pos x="1459" y="872"/>
                </a:cxn>
                <a:cxn ang="0">
                  <a:pos x="365" y="0"/>
                </a:cxn>
              </a:cxnLst>
              <a:rect l="0" t="0" r="r" b="b"/>
              <a:pathLst>
                <a:path w="1459" h="1184">
                  <a:moveTo>
                    <a:pt x="365" y="0"/>
                  </a:moveTo>
                  <a:cubicBezTo>
                    <a:pt x="99" y="333"/>
                    <a:pt x="0" y="769"/>
                    <a:pt x="95" y="1184"/>
                  </a:cubicBezTo>
                  <a:lnTo>
                    <a:pt x="1459" y="872"/>
                  </a:lnTo>
                  <a:lnTo>
                    <a:pt x="365" y="0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  <p:sp>
          <p:nvSpPr>
            <p:cNvPr id="42" name="Freeform 49"/>
            <p:cNvSpPr>
              <a:spLocks/>
            </p:cNvSpPr>
            <p:nvPr/>
          </p:nvSpPr>
          <p:spPr bwMode="auto">
            <a:xfrm>
              <a:off x="2909" y="2242"/>
              <a:ext cx="410" cy="525"/>
            </a:xfrm>
            <a:custGeom>
              <a:avLst/>
              <a:gdLst/>
              <a:ahLst/>
              <a:cxnLst>
                <a:cxn ang="0">
                  <a:pos x="1094" y="0"/>
                </a:cxn>
                <a:cxn ang="0">
                  <a:pos x="0" y="528"/>
                </a:cxn>
                <a:cxn ang="0">
                  <a:pos x="1094" y="1400"/>
                </a:cxn>
                <a:cxn ang="0">
                  <a:pos x="1094" y="0"/>
                </a:cxn>
              </a:cxnLst>
              <a:rect l="0" t="0" r="r" b="b"/>
              <a:pathLst>
                <a:path w="1094" h="1400">
                  <a:moveTo>
                    <a:pt x="1094" y="0"/>
                  </a:moveTo>
                  <a:cubicBezTo>
                    <a:pt x="668" y="0"/>
                    <a:pt x="266" y="194"/>
                    <a:pt x="0" y="528"/>
                  </a:cubicBezTo>
                  <a:lnTo>
                    <a:pt x="1094" y="1400"/>
                  </a:lnTo>
                  <a:lnTo>
                    <a:pt x="1094" y="0"/>
                  </a:lnTo>
                  <a:close/>
                </a:path>
              </a:pathLst>
            </a:custGeom>
            <a:grpFill/>
            <a:ln w="158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GB" sz="900" dirty="0"/>
            </a:p>
          </p:txBody>
        </p:sp>
      </p:grpSp>
      <p:sp>
        <p:nvSpPr>
          <p:cNvPr id="43" name="Rectangle 10"/>
          <p:cNvSpPr>
            <a:spLocks noChangeArrowheads="1"/>
          </p:cNvSpPr>
          <p:nvPr/>
        </p:nvSpPr>
        <p:spPr bwMode="auto">
          <a:xfrm>
            <a:off x="6838568" y="4949165"/>
            <a:ext cx="2486250" cy="948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аркетплейсы</a:t>
            </a:r>
          </a:p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 является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цифровым каналом сбыта 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товаров и услуг, созданных другими компаниями (включая небанковские), с возможностью синергии с продуктами Банка </a:t>
            </a:r>
          </a:p>
        </p:txBody>
      </p:sp>
      <p:sp>
        <p:nvSpPr>
          <p:cNvPr id="47" name="Rectangle 10"/>
          <p:cNvSpPr>
            <a:spLocks noChangeArrowheads="1"/>
          </p:cNvSpPr>
          <p:nvPr/>
        </p:nvSpPr>
        <p:spPr bwMode="auto">
          <a:xfrm>
            <a:off x="1499617" y="5591903"/>
            <a:ext cx="3006953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en-US" sz="1000" b="1" kern="0" dirty="0">
                <a:solidFill>
                  <a:schemeClr val="accent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White-label</a:t>
            </a:r>
            <a:endParaRPr lang="ru-RU" sz="1000" b="1" kern="0" dirty="0">
              <a:solidFill>
                <a:schemeClr val="accent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 является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провайдером инфраструктурных услуг 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(например, поставщик функций бэк-офиса) для более мелких банков и </a:t>
            </a:r>
            <a:r>
              <a:rPr lang="en-US" sz="1000" kern="0" dirty="0"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-компаний</a:t>
            </a:r>
          </a:p>
        </p:txBody>
      </p:sp>
      <p:sp>
        <p:nvSpPr>
          <p:cNvPr id="55" name="Rectangle 10"/>
          <p:cNvSpPr>
            <a:spLocks noChangeArrowheads="1"/>
          </p:cNvSpPr>
          <p:nvPr/>
        </p:nvSpPr>
        <p:spPr bwMode="auto">
          <a:xfrm>
            <a:off x="6811820" y="1715392"/>
            <a:ext cx="2486250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solidFill>
                  <a:srgbClr val="005EB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заимоотношения с клиентами</a:t>
            </a:r>
          </a:p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Персонализированные отношения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 с клиентами, которые выстраиваются с учетом потребностей и привычек клиента</a:t>
            </a:r>
          </a:p>
        </p:txBody>
      </p:sp>
      <p:sp>
        <p:nvSpPr>
          <p:cNvPr id="56" name="Rectangle 10"/>
          <p:cNvSpPr>
            <a:spLocks noChangeArrowheads="1"/>
          </p:cNvSpPr>
          <p:nvPr/>
        </p:nvSpPr>
        <p:spPr bwMode="auto">
          <a:xfrm>
            <a:off x="6876369" y="2890515"/>
            <a:ext cx="2484199" cy="1782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en-US" sz="1000" b="1" kern="0" dirty="0">
                <a:solidFill>
                  <a:srgbClr val="005EB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ife-style </a:t>
            </a:r>
            <a:r>
              <a:rPr lang="ru-RU" sz="1000" b="1" kern="0" dirty="0">
                <a:solidFill>
                  <a:srgbClr val="005EB8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артнерство</a:t>
            </a:r>
          </a:p>
          <a:p>
            <a:pPr algn="r" defTabSz="776234" fontAlgn="base">
              <a:spcBef>
                <a:spcPct val="0"/>
              </a:spcBef>
              <a:spcAft>
                <a:spcPts val="488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овские и небанковские продукты и услуги гармонично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интегрируются в повседневную жизнь клиента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 и создают синергию при их совместном использовании</a:t>
            </a:r>
          </a:p>
          <a:p>
            <a:pPr algn="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 является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 предпочтительным бизнес-партнером 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для небанковских компаний и использует простой автоматизированный процесс аккредитации</a:t>
            </a:r>
          </a:p>
        </p:txBody>
      </p:sp>
      <p:sp>
        <p:nvSpPr>
          <p:cNvPr id="57" name="Rectangle 10"/>
          <p:cNvSpPr>
            <a:spLocks noChangeArrowheads="1"/>
          </p:cNvSpPr>
          <p:nvPr/>
        </p:nvSpPr>
        <p:spPr bwMode="auto">
          <a:xfrm>
            <a:off x="800734" y="2956736"/>
            <a:ext cx="2374458" cy="110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Модель управления</a:t>
            </a:r>
          </a:p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В Банке существует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гибкая модель управления 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«открытая для изменений» корпоративная культура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, что позволяет быстро адаптироваться к рыночным изменениям</a:t>
            </a:r>
          </a:p>
        </p:txBody>
      </p:sp>
      <p:sp>
        <p:nvSpPr>
          <p:cNvPr id="58" name="Rectangle 10"/>
          <p:cNvSpPr>
            <a:spLocks noChangeArrowheads="1"/>
          </p:cNvSpPr>
          <p:nvPr/>
        </p:nvSpPr>
        <p:spPr bwMode="auto">
          <a:xfrm>
            <a:off x="800734" y="1715390"/>
            <a:ext cx="2591027" cy="110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новационная модель</a:t>
            </a:r>
          </a:p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 обладает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инновационным «пространством» 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для использования внутренних/внешних источников инноваций и дальнейшего встраивания инновационных решений в бизнес-модель Банка</a:t>
            </a:r>
          </a:p>
        </p:txBody>
      </p:sp>
      <p:sp>
        <p:nvSpPr>
          <p:cNvPr id="59" name="Rectangle 58"/>
          <p:cNvSpPr/>
          <p:nvPr/>
        </p:nvSpPr>
        <p:spPr>
          <a:xfrm rot="16200000">
            <a:off x="2789042" y="3096822"/>
            <a:ext cx="1751614" cy="918649"/>
          </a:xfrm>
          <a:prstGeom prst="rect">
            <a:avLst/>
          </a:prstGeom>
          <a:noFill/>
        </p:spPr>
        <p:txBody>
          <a:bodyPr spcFirstLastPara="1" wrap="none" lIns="74295" tIns="37148" rIns="74295" bIns="37148" numCol="1">
            <a:prstTxWarp prst="textArchUp">
              <a:avLst>
                <a:gd name="adj" fmla="val 10677025"/>
              </a:avLst>
            </a:prstTxWarp>
            <a:spAutoFit/>
          </a:bodyPr>
          <a:lstStyle/>
          <a:p>
            <a:pPr algn="ctr"/>
            <a:r>
              <a:rPr lang="ru-RU" sz="1000" b="1" dirty="0">
                <a:ln w="0"/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ганизация</a:t>
            </a:r>
            <a:endParaRPr lang="en-US" sz="900" b="1" dirty="0">
              <a:ln w="0"/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 rot="3271513">
            <a:off x="5312892" y="2399216"/>
            <a:ext cx="1351204" cy="1005208"/>
          </a:xfrm>
          <a:prstGeom prst="rect">
            <a:avLst/>
          </a:prstGeom>
          <a:noFill/>
        </p:spPr>
        <p:txBody>
          <a:bodyPr spcFirstLastPara="1" wrap="none" lIns="74295" tIns="37148" rIns="74295" bIns="37148" numCol="1">
            <a:prstTxWarp prst="textArchUp">
              <a:avLst>
                <a:gd name="adj" fmla="val 10677025"/>
              </a:avLst>
            </a:prstTxWarp>
            <a:spAutoFit/>
          </a:bodyPr>
          <a:lstStyle/>
          <a:p>
            <a:pPr algn="ctr"/>
            <a:r>
              <a:rPr lang="ru-RU" sz="1000" b="1" dirty="0">
                <a:ln w="0"/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лиенты</a:t>
            </a:r>
            <a:endParaRPr lang="en-US" sz="1000" b="1" dirty="0">
              <a:ln w="0"/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1" name="Group 60"/>
          <p:cNvGrpSpPr/>
          <p:nvPr/>
        </p:nvGrpSpPr>
        <p:grpSpPr>
          <a:xfrm>
            <a:off x="4193359" y="2850269"/>
            <a:ext cx="1503701" cy="1503701"/>
            <a:chOff x="4293745" y="3265297"/>
            <a:chExt cx="1653357" cy="1653358"/>
          </a:xfrm>
        </p:grpSpPr>
        <p:sp>
          <p:nvSpPr>
            <p:cNvPr id="62" name="Oval 61"/>
            <p:cNvSpPr/>
            <p:nvPr/>
          </p:nvSpPr>
          <p:spPr bwMode="ltGray">
            <a:xfrm>
              <a:off x="4293745" y="3265297"/>
              <a:ext cx="1653357" cy="1653358"/>
            </a:xfrm>
            <a:prstGeom prst="ellipse">
              <a:avLst/>
            </a:prstGeom>
            <a:solidFill>
              <a:srgbClr val="BFBFBF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900" b="1" i="1" dirty="0">
                <a:solidFill>
                  <a:srgbClr val="968C6D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 bwMode="ltGray">
            <a:xfrm>
              <a:off x="4367237" y="3338783"/>
              <a:ext cx="1506377" cy="1506377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GB" sz="900" i="1" dirty="0">
                <a:solidFill>
                  <a:srgbClr val="968C6D"/>
                </a:solidFill>
              </a:endParaRPr>
            </a:p>
          </p:txBody>
        </p:sp>
        <p:sp>
          <p:nvSpPr>
            <p:cNvPr id="66" name="Isosceles Triangle 65"/>
            <p:cNvSpPr/>
            <p:nvPr/>
          </p:nvSpPr>
          <p:spPr>
            <a:xfrm rot="4348420">
              <a:off x="5677614" y="3827557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67" name="Isosceles Triangle 66"/>
            <p:cNvSpPr/>
            <p:nvPr/>
          </p:nvSpPr>
          <p:spPr>
            <a:xfrm rot="9654897">
              <a:off x="5277617" y="4666581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68" name="Isosceles Triangle 67"/>
            <p:cNvSpPr/>
            <p:nvPr/>
          </p:nvSpPr>
          <p:spPr>
            <a:xfrm rot="15024013">
              <a:off x="4427798" y="4280849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69" name="Isosceles Triangle 68"/>
            <p:cNvSpPr/>
            <p:nvPr/>
          </p:nvSpPr>
          <p:spPr>
            <a:xfrm rot="20445844">
              <a:off x="4827850" y="3421591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70" name="Isosceles Triangle 69"/>
            <p:cNvSpPr/>
            <p:nvPr/>
          </p:nvSpPr>
          <p:spPr>
            <a:xfrm rot="1593532">
              <a:off x="5332232" y="3446518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71" name="Isosceles Triangle 70"/>
            <p:cNvSpPr/>
            <p:nvPr/>
          </p:nvSpPr>
          <p:spPr>
            <a:xfrm rot="6900009">
              <a:off x="5656619" y="4317572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72" name="Isosceles Triangle 71"/>
            <p:cNvSpPr/>
            <p:nvPr/>
          </p:nvSpPr>
          <p:spPr>
            <a:xfrm rot="12269125">
              <a:off x="4788305" y="4659641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  <p:sp>
          <p:nvSpPr>
            <p:cNvPr id="73" name="Isosceles Triangle 72"/>
            <p:cNvSpPr/>
            <p:nvPr/>
          </p:nvSpPr>
          <p:spPr>
            <a:xfrm rot="17690956">
              <a:off x="4449424" y="3774472"/>
              <a:ext cx="144645" cy="119747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lIns="43875" tIns="43875" rIns="43875" bIns="43875" rtlCol="0" anchor="ctr"/>
            <a:lstStyle/>
            <a:p>
              <a:pPr algn="ctr" defTabSz="845866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00" kern="0">
                <a:solidFill>
                  <a:srgbClr val="FFFFFF"/>
                </a:solidFill>
              </a:endParaRPr>
            </a:p>
          </p:txBody>
        </p:sp>
      </p:grpSp>
      <p:sp>
        <p:nvSpPr>
          <p:cNvPr id="75" name="Rectangle 10"/>
          <p:cNvSpPr>
            <a:spLocks noChangeArrowheads="1"/>
          </p:cNvSpPr>
          <p:nvPr/>
        </p:nvSpPr>
        <p:spPr bwMode="auto">
          <a:xfrm>
            <a:off x="5367099" y="4431271"/>
            <a:ext cx="105180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Маркетплейсы</a:t>
            </a:r>
          </a:p>
        </p:txBody>
      </p:sp>
      <p:sp>
        <p:nvSpPr>
          <p:cNvPr id="77" name="Rectangle 10"/>
          <p:cNvSpPr>
            <a:spLocks noChangeArrowheads="1"/>
          </p:cNvSpPr>
          <p:nvPr/>
        </p:nvSpPr>
        <p:spPr bwMode="auto">
          <a:xfrm>
            <a:off x="4527286" y="4925577"/>
            <a:ext cx="83649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en-US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White-label</a:t>
            </a:r>
          </a:p>
        </p:txBody>
      </p:sp>
      <p:sp>
        <p:nvSpPr>
          <p:cNvPr id="81" name="Rectangle 10"/>
          <p:cNvSpPr>
            <a:spLocks noChangeArrowheads="1"/>
          </p:cNvSpPr>
          <p:nvPr/>
        </p:nvSpPr>
        <p:spPr bwMode="auto">
          <a:xfrm>
            <a:off x="4982356" y="2533191"/>
            <a:ext cx="1177811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Взаимоотношения с клиентами</a:t>
            </a:r>
          </a:p>
        </p:txBody>
      </p:sp>
      <p:sp>
        <p:nvSpPr>
          <p:cNvPr id="82" name="Rectangle 10"/>
          <p:cNvSpPr>
            <a:spLocks noChangeArrowheads="1"/>
          </p:cNvSpPr>
          <p:nvPr/>
        </p:nvSpPr>
        <p:spPr bwMode="auto">
          <a:xfrm>
            <a:off x="5683772" y="3356594"/>
            <a:ext cx="91487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en-US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Life-style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 партнерство</a:t>
            </a:r>
          </a:p>
        </p:txBody>
      </p:sp>
      <p:sp>
        <p:nvSpPr>
          <p:cNvPr id="93" name="Rectangle 10"/>
          <p:cNvSpPr>
            <a:spLocks noChangeArrowheads="1"/>
          </p:cNvSpPr>
          <p:nvPr/>
        </p:nvSpPr>
        <p:spPr bwMode="auto">
          <a:xfrm>
            <a:off x="3889190" y="2568971"/>
            <a:ext cx="103089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Инновационная модель</a:t>
            </a:r>
          </a:p>
        </p:txBody>
      </p:sp>
      <p:sp>
        <p:nvSpPr>
          <p:cNvPr id="94" name="Rectangle 10"/>
          <p:cNvSpPr>
            <a:spLocks noChangeArrowheads="1"/>
          </p:cNvSpPr>
          <p:nvPr/>
        </p:nvSpPr>
        <p:spPr bwMode="auto">
          <a:xfrm>
            <a:off x="3327546" y="3445746"/>
            <a:ext cx="8035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Модель управления</a:t>
            </a:r>
          </a:p>
        </p:txBody>
      </p:sp>
      <p:sp>
        <p:nvSpPr>
          <p:cNvPr id="97" name="Rectangle 10"/>
          <p:cNvSpPr>
            <a:spLocks noChangeArrowheads="1"/>
          </p:cNvSpPr>
          <p:nvPr/>
        </p:nvSpPr>
        <p:spPr bwMode="auto">
          <a:xfrm>
            <a:off x="4529301" y="3776725"/>
            <a:ext cx="81041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Экосистема</a:t>
            </a:r>
          </a:p>
        </p:txBody>
      </p:sp>
      <p:sp>
        <p:nvSpPr>
          <p:cNvPr id="98" name="Rectangle 97"/>
          <p:cNvSpPr/>
          <p:nvPr/>
        </p:nvSpPr>
        <p:spPr>
          <a:xfrm rot="19901278">
            <a:off x="5093303" y="4814673"/>
            <a:ext cx="1144275" cy="373529"/>
          </a:xfrm>
          <a:prstGeom prst="rect">
            <a:avLst/>
          </a:prstGeom>
          <a:noFill/>
        </p:spPr>
        <p:txBody>
          <a:bodyPr spcFirstLastPara="1" wrap="none" lIns="74295" tIns="37148" rIns="74295" bIns="37148" numCol="1">
            <a:prstTxWarp prst="textArchDown">
              <a:avLst/>
            </a:prstTxWarp>
            <a:spAutoFit/>
          </a:bodyPr>
          <a:lstStyle/>
          <a:p>
            <a:pPr algn="ctr"/>
            <a:r>
              <a:rPr lang="ru-RU" sz="1000" b="1" dirty="0">
                <a:ln w="0"/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изнес-среда</a:t>
            </a:r>
            <a:endParaRPr lang="en-US" sz="1000" b="1" dirty="0">
              <a:ln w="0"/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5421254" y="1679041"/>
            <a:ext cx="3931920" cy="393798"/>
            <a:chOff x="5786393" y="1337047"/>
            <a:chExt cx="6215653" cy="1004626"/>
          </a:xfrm>
        </p:grpSpPr>
        <p:cxnSp>
          <p:nvCxnSpPr>
            <p:cNvPr id="100" name="Straight Connector 99"/>
            <p:cNvCxnSpPr/>
            <p:nvPr/>
          </p:nvCxnSpPr>
          <p:spPr>
            <a:xfrm flipH="1">
              <a:off x="6694690" y="1337047"/>
              <a:ext cx="5307356" cy="14163"/>
            </a:xfrm>
            <a:prstGeom prst="line">
              <a:avLst/>
            </a:prstGeom>
            <a:ln w="28575">
              <a:solidFill>
                <a:srgbClr val="005EB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/>
          </p:nvCxnSpPr>
          <p:spPr>
            <a:xfrm flipV="1">
              <a:off x="5786393" y="1351210"/>
              <a:ext cx="926180" cy="990463"/>
            </a:xfrm>
            <a:prstGeom prst="line">
              <a:avLst/>
            </a:prstGeom>
            <a:ln w="28575">
              <a:solidFill>
                <a:srgbClr val="005EB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/>
          <p:cNvGrpSpPr/>
          <p:nvPr/>
        </p:nvGrpSpPr>
        <p:grpSpPr>
          <a:xfrm>
            <a:off x="6427094" y="2855316"/>
            <a:ext cx="2926080" cy="202350"/>
            <a:chOff x="7219757" y="3017414"/>
            <a:chExt cx="3906685" cy="121309"/>
          </a:xfrm>
        </p:grpSpPr>
        <p:cxnSp>
          <p:nvCxnSpPr>
            <p:cNvPr id="103" name="Straight Connector 102"/>
            <p:cNvCxnSpPr/>
            <p:nvPr/>
          </p:nvCxnSpPr>
          <p:spPr>
            <a:xfrm flipH="1">
              <a:off x="7829703" y="3020857"/>
              <a:ext cx="3296739" cy="9"/>
            </a:xfrm>
            <a:prstGeom prst="line">
              <a:avLst/>
            </a:prstGeom>
            <a:ln w="28575">
              <a:solidFill>
                <a:srgbClr val="005EB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/>
            <p:cNvCxnSpPr/>
            <p:nvPr/>
          </p:nvCxnSpPr>
          <p:spPr>
            <a:xfrm flipV="1">
              <a:off x="7219757" y="3017414"/>
              <a:ext cx="641114" cy="121309"/>
            </a:xfrm>
            <a:prstGeom prst="line">
              <a:avLst/>
            </a:prstGeom>
            <a:ln w="28575">
              <a:solidFill>
                <a:srgbClr val="005EB8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" name="Group 104"/>
          <p:cNvGrpSpPr/>
          <p:nvPr/>
        </p:nvGrpSpPr>
        <p:grpSpPr>
          <a:xfrm flipH="1" flipV="1">
            <a:off x="6009958" y="4657108"/>
            <a:ext cx="3343216" cy="1286492"/>
            <a:chOff x="-550457" y="2811979"/>
            <a:chExt cx="4009568" cy="374717"/>
          </a:xfrm>
        </p:grpSpPr>
        <p:cxnSp>
          <p:nvCxnSpPr>
            <p:cNvPr id="106" name="Straight Connector 105"/>
            <p:cNvCxnSpPr/>
            <p:nvPr/>
          </p:nvCxnSpPr>
          <p:spPr>
            <a:xfrm flipH="1" flipV="1">
              <a:off x="2504281" y="2811979"/>
              <a:ext cx="954830" cy="374717"/>
            </a:xfrm>
            <a:prstGeom prst="line">
              <a:avLst/>
            </a:prstGeom>
            <a:ln w="2857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/>
            <p:cNvCxnSpPr/>
            <p:nvPr/>
          </p:nvCxnSpPr>
          <p:spPr>
            <a:xfrm flipV="1">
              <a:off x="-550457" y="2819453"/>
              <a:ext cx="3065092" cy="0"/>
            </a:xfrm>
            <a:prstGeom prst="line">
              <a:avLst/>
            </a:prstGeom>
            <a:ln w="2857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8" name="Group 107"/>
          <p:cNvGrpSpPr/>
          <p:nvPr/>
        </p:nvGrpSpPr>
        <p:grpSpPr>
          <a:xfrm flipV="1">
            <a:off x="1535713" y="5113419"/>
            <a:ext cx="3493488" cy="1140665"/>
            <a:chOff x="-676744" y="2813210"/>
            <a:chExt cx="4115234" cy="463675"/>
          </a:xfrm>
        </p:grpSpPr>
        <p:cxnSp>
          <p:nvCxnSpPr>
            <p:cNvPr id="109" name="Straight Connector 108"/>
            <p:cNvCxnSpPr/>
            <p:nvPr/>
          </p:nvCxnSpPr>
          <p:spPr>
            <a:xfrm flipH="1" flipV="1">
              <a:off x="2661755" y="2813210"/>
              <a:ext cx="776735" cy="463675"/>
            </a:xfrm>
            <a:prstGeom prst="line">
              <a:avLst/>
            </a:prstGeom>
            <a:ln w="2857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 flipV="1">
              <a:off x="-676744" y="2813210"/>
              <a:ext cx="3357159" cy="0"/>
            </a:xfrm>
            <a:prstGeom prst="line">
              <a:avLst/>
            </a:prstGeom>
            <a:ln w="28575">
              <a:solidFill>
                <a:schemeClr val="accent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1" name="Group 110"/>
          <p:cNvGrpSpPr/>
          <p:nvPr/>
        </p:nvGrpSpPr>
        <p:grpSpPr>
          <a:xfrm>
            <a:off x="813910" y="2936556"/>
            <a:ext cx="2651760" cy="221431"/>
            <a:chOff x="-3773920" y="1754952"/>
            <a:chExt cx="8260953" cy="587902"/>
          </a:xfrm>
        </p:grpSpPr>
        <p:cxnSp>
          <p:nvCxnSpPr>
            <p:cNvPr id="112" name="Straight Connector 111"/>
            <p:cNvCxnSpPr/>
            <p:nvPr/>
          </p:nvCxnSpPr>
          <p:spPr>
            <a:xfrm>
              <a:off x="-3773920" y="1754952"/>
              <a:ext cx="6690489" cy="0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 flipH="1" flipV="1">
              <a:off x="2884602" y="1754952"/>
              <a:ext cx="1602431" cy="587902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4" name="Group 113"/>
          <p:cNvGrpSpPr/>
          <p:nvPr/>
        </p:nvGrpSpPr>
        <p:grpSpPr>
          <a:xfrm flipH="1">
            <a:off x="813910" y="1679045"/>
            <a:ext cx="3566160" cy="393795"/>
            <a:chOff x="5389167" y="1337048"/>
            <a:chExt cx="5346459" cy="540387"/>
          </a:xfrm>
        </p:grpSpPr>
        <p:cxnSp>
          <p:nvCxnSpPr>
            <p:cNvPr id="115" name="Straight Connector 114"/>
            <p:cNvCxnSpPr/>
            <p:nvPr/>
          </p:nvCxnSpPr>
          <p:spPr>
            <a:xfrm flipH="1">
              <a:off x="6455915" y="1337048"/>
              <a:ext cx="4279711" cy="7615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 flipV="1">
              <a:off x="5389167" y="1343025"/>
              <a:ext cx="1098472" cy="534410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Rectangle 10"/>
          <p:cNvSpPr>
            <a:spLocks noChangeArrowheads="1"/>
          </p:cNvSpPr>
          <p:nvPr/>
        </p:nvSpPr>
        <p:spPr bwMode="auto">
          <a:xfrm>
            <a:off x="3527519" y="4353970"/>
            <a:ext cx="111667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Инфраструктура</a:t>
            </a:r>
          </a:p>
        </p:txBody>
      </p:sp>
      <p:sp>
        <p:nvSpPr>
          <p:cNvPr id="118" name="Rectangle 10"/>
          <p:cNvSpPr>
            <a:spLocks noChangeArrowheads="1"/>
          </p:cNvSpPr>
          <p:nvPr/>
        </p:nvSpPr>
        <p:spPr bwMode="auto">
          <a:xfrm>
            <a:off x="800734" y="4389487"/>
            <a:ext cx="2820771" cy="110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b="1" kern="0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фраструктура</a:t>
            </a:r>
          </a:p>
          <a:p>
            <a:pPr defTabSz="776234" fontAlgn="base">
              <a:spcBef>
                <a:spcPct val="0"/>
              </a:spcBef>
              <a:spcAft>
                <a:spcPts val="163"/>
              </a:spcAft>
            </a:pP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Банк обладает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техническими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 (система анализа данных, ИТ-платформа, система безопасности) и </a:t>
            </a:r>
            <a:r>
              <a:rPr lang="ru-RU" sz="1000" b="1" kern="0" dirty="0">
                <a:ea typeface="Tahoma" panose="020B0604030504040204" pitchFamily="34" charset="0"/>
                <a:cs typeface="Tahoma" panose="020B0604030504040204" pitchFamily="34" charset="0"/>
              </a:rPr>
              <a:t>профессиональными компетенциями</a:t>
            </a:r>
            <a:r>
              <a:rPr lang="ru-RU" sz="1000" kern="0" dirty="0">
                <a:ea typeface="Tahoma" panose="020B0604030504040204" pitchFamily="34" charset="0"/>
                <a:cs typeface="Tahoma" panose="020B0604030504040204" pitchFamily="34" charset="0"/>
              </a:rPr>
              <a:t>, позволяющими эффективно функционировать всем другим элементам экосистемы</a:t>
            </a:r>
          </a:p>
        </p:txBody>
      </p:sp>
      <p:grpSp>
        <p:nvGrpSpPr>
          <p:cNvPr id="119" name="Group 118"/>
          <p:cNvGrpSpPr/>
          <p:nvPr/>
        </p:nvGrpSpPr>
        <p:grpSpPr>
          <a:xfrm flipV="1">
            <a:off x="789847" y="4149154"/>
            <a:ext cx="2926080" cy="221431"/>
            <a:chOff x="-3773920" y="1754952"/>
            <a:chExt cx="8260953" cy="587902"/>
          </a:xfrm>
        </p:grpSpPr>
        <p:cxnSp>
          <p:nvCxnSpPr>
            <p:cNvPr id="120" name="Straight Connector 119"/>
            <p:cNvCxnSpPr/>
            <p:nvPr/>
          </p:nvCxnSpPr>
          <p:spPr>
            <a:xfrm>
              <a:off x="-3773920" y="1754952"/>
              <a:ext cx="6690489" cy="0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flipH="1" flipV="1">
              <a:off x="2884602" y="1754952"/>
              <a:ext cx="1602431" cy="587902"/>
            </a:xfrm>
            <a:prstGeom prst="line">
              <a:avLst/>
            </a:prstGeom>
            <a:ln w="28575">
              <a:solidFill>
                <a:schemeClr val="tx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3" name="Freeform 6"/>
          <p:cNvSpPr>
            <a:spLocks noEditPoints="1"/>
          </p:cNvSpPr>
          <p:nvPr/>
        </p:nvSpPr>
        <p:spPr bwMode="auto">
          <a:xfrm>
            <a:off x="4230529" y="2148802"/>
            <a:ext cx="349232" cy="379524"/>
          </a:xfrm>
          <a:custGeom>
            <a:avLst/>
            <a:gdLst>
              <a:gd name="T0" fmla="*/ 100 w 233"/>
              <a:gd name="T1" fmla="*/ 249 h 255"/>
              <a:gd name="T2" fmla="*/ 96 w 233"/>
              <a:gd name="T3" fmla="*/ 245 h 255"/>
              <a:gd name="T4" fmla="*/ 92 w 233"/>
              <a:gd name="T5" fmla="*/ 235 h 255"/>
              <a:gd name="T6" fmla="*/ 96 w 233"/>
              <a:gd name="T7" fmla="*/ 224 h 255"/>
              <a:gd name="T8" fmla="*/ 143 w 233"/>
              <a:gd name="T9" fmla="*/ 230 h 255"/>
              <a:gd name="T10" fmla="*/ 143 w 233"/>
              <a:gd name="T11" fmla="*/ 239 h 255"/>
              <a:gd name="T12" fmla="*/ 132 w 233"/>
              <a:gd name="T13" fmla="*/ 245 h 255"/>
              <a:gd name="T14" fmla="*/ 127 w 233"/>
              <a:gd name="T15" fmla="*/ 255 h 255"/>
              <a:gd name="T16" fmla="*/ 60 w 233"/>
              <a:gd name="T17" fmla="*/ 168 h 255"/>
              <a:gd name="T18" fmla="*/ 45 w 233"/>
              <a:gd name="T19" fmla="*/ 197 h 255"/>
              <a:gd name="T20" fmla="*/ 60 w 233"/>
              <a:gd name="T21" fmla="*/ 168 h 255"/>
              <a:gd name="T22" fmla="*/ 167 w 233"/>
              <a:gd name="T23" fmla="*/ 174 h 255"/>
              <a:gd name="T24" fmla="*/ 196 w 233"/>
              <a:gd name="T25" fmla="*/ 189 h 255"/>
              <a:gd name="T26" fmla="*/ 193 w 233"/>
              <a:gd name="T27" fmla="*/ 121 h 255"/>
              <a:gd name="T28" fmla="*/ 224 w 233"/>
              <a:gd name="T29" fmla="*/ 111 h 255"/>
              <a:gd name="T30" fmla="*/ 193 w 233"/>
              <a:gd name="T31" fmla="*/ 121 h 255"/>
              <a:gd name="T32" fmla="*/ 40 w 233"/>
              <a:gd name="T33" fmla="*/ 113 h 255"/>
              <a:gd name="T34" fmla="*/ 9 w 233"/>
              <a:gd name="T35" fmla="*/ 123 h 255"/>
              <a:gd name="T36" fmla="*/ 59 w 233"/>
              <a:gd name="T37" fmla="*/ 66 h 255"/>
              <a:gd name="T38" fmla="*/ 44 w 233"/>
              <a:gd name="T39" fmla="*/ 37 h 255"/>
              <a:gd name="T40" fmla="*/ 59 w 233"/>
              <a:gd name="T41" fmla="*/ 66 h 255"/>
              <a:gd name="T42" fmla="*/ 168 w 233"/>
              <a:gd name="T43" fmla="*/ 59 h 255"/>
              <a:gd name="T44" fmla="*/ 196 w 233"/>
              <a:gd name="T45" fmla="*/ 44 h 255"/>
              <a:gd name="T46" fmla="*/ 121 w 233"/>
              <a:gd name="T47" fmla="*/ 40 h 255"/>
              <a:gd name="T48" fmla="*/ 111 w 233"/>
              <a:gd name="T49" fmla="*/ 9 h 255"/>
              <a:gd name="T50" fmla="*/ 121 w 233"/>
              <a:gd name="T51" fmla="*/ 40 h 255"/>
              <a:gd name="T52" fmla="*/ 104 w 233"/>
              <a:gd name="T53" fmla="*/ 133 h 255"/>
              <a:gd name="T54" fmla="*/ 94 w 233"/>
              <a:gd name="T55" fmla="*/ 106 h 255"/>
              <a:gd name="T56" fmla="*/ 102 w 233"/>
              <a:gd name="T57" fmla="*/ 106 h 255"/>
              <a:gd name="T58" fmla="*/ 109 w 233"/>
              <a:gd name="T59" fmla="*/ 129 h 255"/>
              <a:gd name="T60" fmla="*/ 124 w 233"/>
              <a:gd name="T61" fmla="*/ 129 h 255"/>
              <a:gd name="T62" fmla="*/ 131 w 233"/>
              <a:gd name="T63" fmla="*/ 106 h 255"/>
              <a:gd name="T64" fmla="*/ 139 w 233"/>
              <a:gd name="T65" fmla="*/ 106 h 255"/>
              <a:gd name="T66" fmla="*/ 128 w 233"/>
              <a:gd name="T67" fmla="*/ 133 h 255"/>
              <a:gd name="T68" fmla="*/ 130 w 233"/>
              <a:gd name="T69" fmla="*/ 206 h 255"/>
              <a:gd name="T70" fmla="*/ 131 w 233"/>
              <a:gd name="T71" fmla="*/ 203 h 255"/>
              <a:gd name="T72" fmla="*/ 154 w 233"/>
              <a:gd name="T73" fmla="*/ 149 h 255"/>
              <a:gd name="T74" fmla="*/ 150 w 233"/>
              <a:gd name="T75" fmla="*/ 81 h 255"/>
              <a:gd name="T76" fmla="*/ 78 w 233"/>
              <a:gd name="T77" fmla="*/ 149 h 255"/>
              <a:gd name="T78" fmla="*/ 101 w 233"/>
              <a:gd name="T79" fmla="*/ 203 h 255"/>
              <a:gd name="T80" fmla="*/ 103 w 233"/>
              <a:gd name="T81" fmla="*/ 206 h 255"/>
              <a:gd name="T82" fmla="*/ 119 w 233"/>
              <a:gd name="T83" fmla="*/ 206 h 255"/>
              <a:gd name="T84" fmla="*/ 116 w 233"/>
              <a:gd name="T85" fmla="*/ 134 h 255"/>
              <a:gd name="T86" fmla="*/ 113 w 233"/>
              <a:gd name="T87" fmla="*/ 206 h 255"/>
              <a:gd name="T88" fmla="*/ 104 w 233"/>
              <a:gd name="T89" fmla="*/ 128 h 255"/>
              <a:gd name="T90" fmla="*/ 100 w 233"/>
              <a:gd name="T91" fmla="*/ 110 h 255"/>
              <a:gd name="T92" fmla="*/ 96 w 233"/>
              <a:gd name="T93" fmla="*/ 111 h 255"/>
              <a:gd name="T94" fmla="*/ 104 w 233"/>
              <a:gd name="T95" fmla="*/ 128 h 255"/>
              <a:gd name="T96" fmla="*/ 140 w 233"/>
              <a:gd name="T97" fmla="*/ 115 h 255"/>
              <a:gd name="T98" fmla="*/ 135 w 233"/>
              <a:gd name="T99" fmla="*/ 110 h 255"/>
              <a:gd name="T100" fmla="*/ 129 w 233"/>
              <a:gd name="T101" fmla="*/ 115 h 255"/>
              <a:gd name="T102" fmla="*/ 137 w 233"/>
              <a:gd name="T103" fmla="*/ 218 h 255"/>
              <a:gd name="T104" fmla="*/ 90 w 233"/>
              <a:gd name="T105" fmla="*/ 212 h 255"/>
              <a:gd name="T106" fmla="*/ 159 w 233"/>
              <a:gd name="T107" fmla="*/ 73 h 255"/>
              <a:gd name="T108" fmla="*/ 143 w 233"/>
              <a:gd name="T109" fmla="*/ 212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33" h="255">
                <a:moveTo>
                  <a:pt x="106" y="255"/>
                </a:moveTo>
                <a:cubicBezTo>
                  <a:pt x="103" y="255"/>
                  <a:pt x="100" y="252"/>
                  <a:pt x="100" y="249"/>
                </a:cubicBezTo>
                <a:cubicBezTo>
                  <a:pt x="100" y="247"/>
                  <a:pt x="100" y="246"/>
                  <a:pt x="101" y="245"/>
                </a:cubicBezTo>
                <a:cubicBezTo>
                  <a:pt x="96" y="245"/>
                  <a:pt x="96" y="245"/>
                  <a:pt x="96" y="245"/>
                </a:cubicBezTo>
                <a:cubicBezTo>
                  <a:pt x="93" y="245"/>
                  <a:pt x="90" y="243"/>
                  <a:pt x="90" y="239"/>
                </a:cubicBezTo>
                <a:cubicBezTo>
                  <a:pt x="90" y="238"/>
                  <a:pt x="91" y="236"/>
                  <a:pt x="92" y="235"/>
                </a:cubicBezTo>
                <a:cubicBezTo>
                  <a:pt x="91" y="234"/>
                  <a:pt x="90" y="232"/>
                  <a:pt x="90" y="230"/>
                </a:cubicBezTo>
                <a:cubicBezTo>
                  <a:pt x="90" y="227"/>
                  <a:pt x="93" y="224"/>
                  <a:pt x="96" y="224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40" y="224"/>
                  <a:pt x="143" y="227"/>
                  <a:pt x="143" y="230"/>
                </a:cubicBezTo>
                <a:cubicBezTo>
                  <a:pt x="143" y="232"/>
                  <a:pt x="142" y="234"/>
                  <a:pt x="141" y="235"/>
                </a:cubicBezTo>
                <a:cubicBezTo>
                  <a:pt x="142" y="236"/>
                  <a:pt x="143" y="238"/>
                  <a:pt x="143" y="239"/>
                </a:cubicBezTo>
                <a:cubicBezTo>
                  <a:pt x="143" y="243"/>
                  <a:pt x="140" y="245"/>
                  <a:pt x="137" y="245"/>
                </a:cubicBezTo>
                <a:cubicBezTo>
                  <a:pt x="132" y="245"/>
                  <a:pt x="132" y="245"/>
                  <a:pt x="132" y="245"/>
                </a:cubicBezTo>
                <a:cubicBezTo>
                  <a:pt x="132" y="246"/>
                  <a:pt x="133" y="247"/>
                  <a:pt x="133" y="249"/>
                </a:cubicBezTo>
                <a:cubicBezTo>
                  <a:pt x="133" y="252"/>
                  <a:pt x="130" y="255"/>
                  <a:pt x="127" y="255"/>
                </a:cubicBezTo>
                <a:cubicBezTo>
                  <a:pt x="106" y="255"/>
                  <a:pt x="106" y="255"/>
                  <a:pt x="106" y="255"/>
                </a:cubicBezTo>
                <a:close/>
                <a:moveTo>
                  <a:pt x="60" y="168"/>
                </a:moveTo>
                <a:cubicBezTo>
                  <a:pt x="65" y="164"/>
                  <a:pt x="70" y="169"/>
                  <a:pt x="65" y="174"/>
                </a:cubicBezTo>
                <a:cubicBezTo>
                  <a:pt x="45" y="197"/>
                  <a:pt x="45" y="197"/>
                  <a:pt x="45" y="197"/>
                </a:cubicBezTo>
                <a:cubicBezTo>
                  <a:pt x="39" y="203"/>
                  <a:pt x="30" y="195"/>
                  <a:pt x="37" y="189"/>
                </a:cubicBezTo>
                <a:cubicBezTo>
                  <a:pt x="60" y="168"/>
                  <a:pt x="60" y="168"/>
                  <a:pt x="60" y="168"/>
                </a:cubicBezTo>
                <a:close/>
                <a:moveTo>
                  <a:pt x="173" y="168"/>
                </a:moveTo>
                <a:cubicBezTo>
                  <a:pt x="168" y="164"/>
                  <a:pt x="163" y="169"/>
                  <a:pt x="167" y="174"/>
                </a:cubicBezTo>
                <a:cubicBezTo>
                  <a:pt x="188" y="197"/>
                  <a:pt x="188" y="197"/>
                  <a:pt x="188" y="197"/>
                </a:cubicBezTo>
                <a:cubicBezTo>
                  <a:pt x="194" y="203"/>
                  <a:pt x="203" y="195"/>
                  <a:pt x="196" y="189"/>
                </a:cubicBezTo>
                <a:cubicBezTo>
                  <a:pt x="173" y="168"/>
                  <a:pt x="173" y="168"/>
                  <a:pt x="173" y="168"/>
                </a:cubicBezTo>
                <a:close/>
                <a:moveTo>
                  <a:pt x="193" y="121"/>
                </a:moveTo>
                <a:cubicBezTo>
                  <a:pt x="186" y="121"/>
                  <a:pt x="186" y="114"/>
                  <a:pt x="193" y="113"/>
                </a:cubicBezTo>
                <a:cubicBezTo>
                  <a:pt x="224" y="111"/>
                  <a:pt x="224" y="111"/>
                  <a:pt x="224" y="111"/>
                </a:cubicBezTo>
                <a:cubicBezTo>
                  <a:pt x="233" y="111"/>
                  <a:pt x="233" y="123"/>
                  <a:pt x="224" y="123"/>
                </a:cubicBezTo>
                <a:cubicBezTo>
                  <a:pt x="193" y="121"/>
                  <a:pt x="193" y="121"/>
                  <a:pt x="193" y="121"/>
                </a:cubicBezTo>
                <a:close/>
                <a:moveTo>
                  <a:pt x="40" y="121"/>
                </a:moveTo>
                <a:cubicBezTo>
                  <a:pt x="46" y="121"/>
                  <a:pt x="46" y="114"/>
                  <a:pt x="40" y="113"/>
                </a:cubicBezTo>
                <a:cubicBezTo>
                  <a:pt x="9" y="111"/>
                  <a:pt x="9" y="111"/>
                  <a:pt x="9" y="111"/>
                </a:cubicBezTo>
                <a:cubicBezTo>
                  <a:pt x="0" y="111"/>
                  <a:pt x="0" y="123"/>
                  <a:pt x="9" y="123"/>
                </a:cubicBezTo>
                <a:cubicBezTo>
                  <a:pt x="40" y="121"/>
                  <a:pt x="40" y="121"/>
                  <a:pt x="40" y="121"/>
                </a:cubicBezTo>
                <a:close/>
                <a:moveTo>
                  <a:pt x="59" y="66"/>
                </a:moveTo>
                <a:cubicBezTo>
                  <a:pt x="64" y="70"/>
                  <a:pt x="69" y="65"/>
                  <a:pt x="65" y="60"/>
                </a:cubicBezTo>
                <a:cubicBezTo>
                  <a:pt x="44" y="37"/>
                  <a:pt x="44" y="37"/>
                  <a:pt x="44" y="37"/>
                </a:cubicBezTo>
                <a:cubicBezTo>
                  <a:pt x="38" y="30"/>
                  <a:pt x="29" y="39"/>
                  <a:pt x="36" y="45"/>
                </a:cubicBezTo>
                <a:cubicBezTo>
                  <a:pt x="59" y="66"/>
                  <a:pt x="59" y="66"/>
                  <a:pt x="59" y="66"/>
                </a:cubicBezTo>
                <a:close/>
                <a:moveTo>
                  <a:pt x="173" y="65"/>
                </a:moveTo>
                <a:cubicBezTo>
                  <a:pt x="168" y="69"/>
                  <a:pt x="163" y="64"/>
                  <a:pt x="168" y="59"/>
                </a:cubicBezTo>
                <a:cubicBezTo>
                  <a:pt x="188" y="36"/>
                  <a:pt x="188" y="36"/>
                  <a:pt x="188" y="36"/>
                </a:cubicBezTo>
                <a:cubicBezTo>
                  <a:pt x="194" y="30"/>
                  <a:pt x="203" y="39"/>
                  <a:pt x="196" y="44"/>
                </a:cubicBezTo>
                <a:cubicBezTo>
                  <a:pt x="173" y="65"/>
                  <a:pt x="173" y="65"/>
                  <a:pt x="173" y="65"/>
                </a:cubicBezTo>
                <a:close/>
                <a:moveTo>
                  <a:pt x="121" y="40"/>
                </a:moveTo>
                <a:cubicBezTo>
                  <a:pt x="120" y="46"/>
                  <a:pt x="113" y="46"/>
                  <a:pt x="113" y="40"/>
                </a:cubicBezTo>
                <a:cubicBezTo>
                  <a:pt x="111" y="9"/>
                  <a:pt x="111" y="9"/>
                  <a:pt x="111" y="9"/>
                </a:cubicBezTo>
                <a:cubicBezTo>
                  <a:pt x="111" y="0"/>
                  <a:pt x="123" y="0"/>
                  <a:pt x="123" y="9"/>
                </a:cubicBezTo>
                <a:cubicBezTo>
                  <a:pt x="121" y="40"/>
                  <a:pt x="121" y="40"/>
                  <a:pt x="121" y="40"/>
                </a:cubicBezTo>
                <a:close/>
                <a:moveTo>
                  <a:pt x="109" y="206"/>
                </a:moveTo>
                <a:cubicBezTo>
                  <a:pt x="104" y="133"/>
                  <a:pt x="104" y="133"/>
                  <a:pt x="104" y="133"/>
                </a:cubicBezTo>
                <a:cubicBezTo>
                  <a:pt x="95" y="130"/>
                  <a:pt x="88" y="124"/>
                  <a:pt x="88" y="115"/>
                </a:cubicBezTo>
                <a:cubicBezTo>
                  <a:pt x="88" y="111"/>
                  <a:pt x="90" y="108"/>
                  <a:pt x="94" y="106"/>
                </a:cubicBezTo>
                <a:cubicBezTo>
                  <a:pt x="95" y="106"/>
                  <a:pt x="96" y="105"/>
                  <a:pt x="98" y="105"/>
                </a:cubicBezTo>
                <a:cubicBezTo>
                  <a:pt x="99" y="105"/>
                  <a:pt x="101" y="106"/>
                  <a:pt x="102" y="106"/>
                </a:cubicBezTo>
                <a:cubicBezTo>
                  <a:pt x="105" y="107"/>
                  <a:pt x="108" y="110"/>
                  <a:pt x="108" y="115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11" y="129"/>
                  <a:pt x="114" y="130"/>
                  <a:pt x="116" y="130"/>
                </a:cubicBezTo>
                <a:cubicBezTo>
                  <a:pt x="119" y="130"/>
                  <a:pt x="121" y="129"/>
                  <a:pt x="124" y="129"/>
                </a:cubicBezTo>
                <a:cubicBezTo>
                  <a:pt x="125" y="115"/>
                  <a:pt x="125" y="115"/>
                  <a:pt x="125" y="115"/>
                </a:cubicBezTo>
                <a:cubicBezTo>
                  <a:pt x="125" y="110"/>
                  <a:pt x="128" y="107"/>
                  <a:pt x="131" y="106"/>
                </a:cubicBezTo>
                <a:cubicBezTo>
                  <a:pt x="132" y="106"/>
                  <a:pt x="134" y="105"/>
                  <a:pt x="135" y="105"/>
                </a:cubicBezTo>
                <a:cubicBezTo>
                  <a:pt x="136" y="105"/>
                  <a:pt x="138" y="106"/>
                  <a:pt x="139" y="106"/>
                </a:cubicBezTo>
                <a:cubicBezTo>
                  <a:pt x="142" y="108"/>
                  <a:pt x="145" y="111"/>
                  <a:pt x="145" y="115"/>
                </a:cubicBezTo>
                <a:cubicBezTo>
                  <a:pt x="145" y="124"/>
                  <a:pt x="138" y="130"/>
                  <a:pt x="128" y="133"/>
                </a:cubicBezTo>
                <a:cubicBezTo>
                  <a:pt x="124" y="206"/>
                  <a:pt x="124" y="206"/>
                  <a:pt x="124" y="206"/>
                </a:cubicBezTo>
                <a:cubicBezTo>
                  <a:pt x="130" y="206"/>
                  <a:pt x="130" y="206"/>
                  <a:pt x="130" y="206"/>
                </a:cubicBezTo>
                <a:cubicBezTo>
                  <a:pt x="130" y="206"/>
                  <a:pt x="131" y="205"/>
                  <a:pt x="131" y="205"/>
                </a:cubicBezTo>
                <a:cubicBezTo>
                  <a:pt x="131" y="203"/>
                  <a:pt x="131" y="203"/>
                  <a:pt x="131" y="203"/>
                </a:cubicBezTo>
                <a:cubicBezTo>
                  <a:pt x="132" y="191"/>
                  <a:pt x="135" y="182"/>
                  <a:pt x="140" y="172"/>
                </a:cubicBezTo>
                <a:cubicBezTo>
                  <a:pt x="145" y="164"/>
                  <a:pt x="150" y="156"/>
                  <a:pt x="154" y="149"/>
                </a:cubicBezTo>
                <a:cubicBezTo>
                  <a:pt x="161" y="138"/>
                  <a:pt x="164" y="128"/>
                  <a:pt x="164" y="115"/>
                </a:cubicBezTo>
                <a:cubicBezTo>
                  <a:pt x="164" y="103"/>
                  <a:pt x="159" y="90"/>
                  <a:pt x="150" y="81"/>
                </a:cubicBezTo>
                <a:cubicBezTo>
                  <a:pt x="120" y="51"/>
                  <a:pt x="68" y="73"/>
                  <a:pt x="68" y="115"/>
                </a:cubicBezTo>
                <a:cubicBezTo>
                  <a:pt x="68" y="128"/>
                  <a:pt x="72" y="138"/>
                  <a:pt x="78" y="149"/>
                </a:cubicBezTo>
                <a:cubicBezTo>
                  <a:pt x="83" y="156"/>
                  <a:pt x="88" y="164"/>
                  <a:pt x="92" y="172"/>
                </a:cubicBezTo>
                <a:cubicBezTo>
                  <a:pt x="98" y="182"/>
                  <a:pt x="101" y="191"/>
                  <a:pt x="101" y="203"/>
                </a:cubicBezTo>
                <a:cubicBezTo>
                  <a:pt x="102" y="205"/>
                  <a:pt x="102" y="205"/>
                  <a:pt x="102" y="205"/>
                </a:cubicBezTo>
                <a:cubicBezTo>
                  <a:pt x="102" y="205"/>
                  <a:pt x="102" y="206"/>
                  <a:pt x="103" y="206"/>
                </a:cubicBezTo>
                <a:cubicBezTo>
                  <a:pt x="109" y="206"/>
                  <a:pt x="109" y="206"/>
                  <a:pt x="109" y="206"/>
                </a:cubicBezTo>
                <a:close/>
                <a:moveTo>
                  <a:pt x="119" y="206"/>
                </a:moveTo>
                <a:cubicBezTo>
                  <a:pt x="124" y="134"/>
                  <a:pt x="124" y="134"/>
                  <a:pt x="124" y="134"/>
                </a:cubicBezTo>
                <a:cubicBezTo>
                  <a:pt x="121" y="134"/>
                  <a:pt x="119" y="134"/>
                  <a:pt x="116" y="134"/>
                </a:cubicBezTo>
                <a:cubicBezTo>
                  <a:pt x="114" y="134"/>
                  <a:pt x="111" y="134"/>
                  <a:pt x="109" y="134"/>
                </a:cubicBezTo>
                <a:cubicBezTo>
                  <a:pt x="113" y="206"/>
                  <a:pt x="113" y="206"/>
                  <a:pt x="113" y="206"/>
                </a:cubicBezTo>
                <a:cubicBezTo>
                  <a:pt x="119" y="206"/>
                  <a:pt x="119" y="206"/>
                  <a:pt x="119" y="206"/>
                </a:cubicBezTo>
                <a:close/>
                <a:moveTo>
                  <a:pt x="104" y="128"/>
                </a:moveTo>
                <a:cubicBezTo>
                  <a:pt x="103" y="115"/>
                  <a:pt x="103" y="115"/>
                  <a:pt x="103" y="115"/>
                </a:cubicBezTo>
                <a:cubicBezTo>
                  <a:pt x="103" y="113"/>
                  <a:pt x="102" y="111"/>
                  <a:pt x="100" y="110"/>
                </a:cubicBezTo>
                <a:cubicBezTo>
                  <a:pt x="99" y="110"/>
                  <a:pt x="99" y="110"/>
                  <a:pt x="98" y="110"/>
                </a:cubicBezTo>
                <a:cubicBezTo>
                  <a:pt x="97" y="110"/>
                  <a:pt x="96" y="110"/>
                  <a:pt x="96" y="111"/>
                </a:cubicBezTo>
                <a:cubicBezTo>
                  <a:pt x="94" y="111"/>
                  <a:pt x="93" y="113"/>
                  <a:pt x="93" y="115"/>
                </a:cubicBezTo>
                <a:cubicBezTo>
                  <a:pt x="93" y="121"/>
                  <a:pt x="98" y="125"/>
                  <a:pt x="104" y="128"/>
                </a:cubicBezTo>
                <a:close/>
                <a:moveTo>
                  <a:pt x="129" y="128"/>
                </a:moveTo>
                <a:cubicBezTo>
                  <a:pt x="135" y="125"/>
                  <a:pt x="140" y="121"/>
                  <a:pt x="140" y="115"/>
                </a:cubicBezTo>
                <a:cubicBezTo>
                  <a:pt x="140" y="113"/>
                  <a:pt x="139" y="111"/>
                  <a:pt x="137" y="111"/>
                </a:cubicBezTo>
                <a:cubicBezTo>
                  <a:pt x="136" y="110"/>
                  <a:pt x="136" y="110"/>
                  <a:pt x="135" y="110"/>
                </a:cubicBezTo>
                <a:cubicBezTo>
                  <a:pt x="134" y="110"/>
                  <a:pt x="133" y="110"/>
                  <a:pt x="133" y="110"/>
                </a:cubicBezTo>
                <a:cubicBezTo>
                  <a:pt x="131" y="111"/>
                  <a:pt x="130" y="113"/>
                  <a:pt x="129" y="115"/>
                </a:cubicBezTo>
                <a:cubicBezTo>
                  <a:pt x="129" y="128"/>
                  <a:pt x="129" y="128"/>
                  <a:pt x="129" y="128"/>
                </a:cubicBezTo>
                <a:close/>
                <a:moveTo>
                  <a:pt x="137" y="218"/>
                </a:moveTo>
                <a:cubicBezTo>
                  <a:pt x="96" y="218"/>
                  <a:pt x="96" y="218"/>
                  <a:pt x="96" y="218"/>
                </a:cubicBezTo>
                <a:cubicBezTo>
                  <a:pt x="93" y="218"/>
                  <a:pt x="90" y="215"/>
                  <a:pt x="90" y="212"/>
                </a:cubicBezTo>
                <a:cubicBezTo>
                  <a:pt x="90" y="166"/>
                  <a:pt x="57" y="159"/>
                  <a:pt x="57" y="115"/>
                </a:cubicBezTo>
                <a:cubicBezTo>
                  <a:pt x="57" y="62"/>
                  <a:pt x="121" y="36"/>
                  <a:pt x="159" y="73"/>
                </a:cubicBezTo>
                <a:cubicBezTo>
                  <a:pt x="169" y="84"/>
                  <a:pt x="176" y="99"/>
                  <a:pt x="176" y="115"/>
                </a:cubicBezTo>
                <a:cubicBezTo>
                  <a:pt x="176" y="159"/>
                  <a:pt x="143" y="166"/>
                  <a:pt x="143" y="212"/>
                </a:cubicBezTo>
                <a:cubicBezTo>
                  <a:pt x="143" y="215"/>
                  <a:pt x="140" y="218"/>
                  <a:pt x="137" y="21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ru-RU" sz="900">
              <a:solidFill>
                <a:prstClr val="black"/>
              </a:solidFill>
            </a:endParaRPr>
          </a:p>
        </p:txBody>
      </p:sp>
      <p:sp>
        <p:nvSpPr>
          <p:cNvPr id="124" name="Freeform 382"/>
          <p:cNvSpPr>
            <a:spLocks noEditPoints="1"/>
          </p:cNvSpPr>
          <p:nvPr/>
        </p:nvSpPr>
        <p:spPr bwMode="auto">
          <a:xfrm>
            <a:off x="5283770" y="2201386"/>
            <a:ext cx="461418" cy="308786"/>
          </a:xfrm>
          <a:custGeom>
            <a:avLst/>
            <a:gdLst/>
            <a:ahLst/>
            <a:cxnLst>
              <a:cxn ang="0">
                <a:pos x="103" y="124"/>
              </a:cxn>
              <a:cxn ang="0">
                <a:pos x="150" y="56"/>
              </a:cxn>
              <a:cxn ang="0">
                <a:pos x="103" y="0"/>
              </a:cxn>
              <a:cxn ang="0">
                <a:pos x="57" y="56"/>
              </a:cxn>
              <a:cxn ang="0">
                <a:pos x="103" y="124"/>
              </a:cxn>
              <a:cxn ang="0">
                <a:pos x="206" y="221"/>
              </a:cxn>
              <a:cxn ang="0">
                <a:pos x="127" y="144"/>
              </a:cxn>
              <a:cxn ang="0">
                <a:pos x="123" y="134"/>
              </a:cxn>
              <a:cxn ang="0">
                <a:pos x="103" y="140"/>
              </a:cxn>
              <a:cxn ang="0">
                <a:pos x="83" y="134"/>
              </a:cxn>
              <a:cxn ang="0">
                <a:pos x="80" y="144"/>
              </a:cxn>
              <a:cxn ang="0">
                <a:pos x="0" y="231"/>
              </a:cxn>
              <a:cxn ang="0">
                <a:pos x="0" y="256"/>
              </a:cxn>
              <a:cxn ang="0">
                <a:pos x="152" y="256"/>
              </a:cxn>
              <a:cxn ang="0">
                <a:pos x="206" y="221"/>
              </a:cxn>
              <a:cxn ang="0">
                <a:pos x="474" y="144"/>
              </a:cxn>
              <a:cxn ang="0">
                <a:pos x="471" y="134"/>
              </a:cxn>
              <a:cxn ang="0">
                <a:pos x="451" y="140"/>
              </a:cxn>
              <a:cxn ang="0">
                <a:pos x="431" y="134"/>
              </a:cxn>
              <a:cxn ang="0">
                <a:pos x="427" y="144"/>
              </a:cxn>
              <a:cxn ang="0">
                <a:pos x="348" y="221"/>
              </a:cxn>
              <a:cxn ang="0">
                <a:pos x="402" y="256"/>
              </a:cxn>
              <a:cxn ang="0">
                <a:pos x="554" y="256"/>
              </a:cxn>
              <a:cxn ang="0">
                <a:pos x="554" y="231"/>
              </a:cxn>
              <a:cxn ang="0">
                <a:pos x="474" y="144"/>
              </a:cxn>
              <a:cxn ang="0">
                <a:pos x="451" y="124"/>
              </a:cxn>
              <a:cxn ang="0">
                <a:pos x="497" y="56"/>
              </a:cxn>
              <a:cxn ang="0">
                <a:pos x="451" y="0"/>
              </a:cxn>
              <a:cxn ang="0">
                <a:pos x="404" y="56"/>
              </a:cxn>
              <a:cxn ang="0">
                <a:pos x="451" y="124"/>
              </a:cxn>
              <a:cxn ang="0">
                <a:pos x="277" y="199"/>
              </a:cxn>
              <a:cxn ang="0">
                <a:pos x="349" y="95"/>
              </a:cxn>
              <a:cxn ang="0">
                <a:pos x="277" y="7"/>
              </a:cxn>
              <a:cxn ang="0">
                <a:pos x="205" y="95"/>
              </a:cxn>
              <a:cxn ang="0">
                <a:pos x="277" y="199"/>
              </a:cxn>
              <a:cxn ang="0">
                <a:pos x="313" y="226"/>
              </a:cxn>
              <a:cxn ang="0">
                <a:pos x="308" y="210"/>
              </a:cxn>
              <a:cxn ang="0">
                <a:pos x="277" y="220"/>
              </a:cxn>
              <a:cxn ang="0">
                <a:pos x="246" y="210"/>
              </a:cxn>
              <a:cxn ang="0">
                <a:pos x="241" y="226"/>
              </a:cxn>
              <a:cxn ang="0">
                <a:pos x="118" y="359"/>
              </a:cxn>
              <a:cxn ang="0">
                <a:pos x="118" y="399"/>
              </a:cxn>
              <a:cxn ang="0">
                <a:pos x="436" y="399"/>
              </a:cxn>
              <a:cxn ang="0">
                <a:pos x="436" y="359"/>
              </a:cxn>
              <a:cxn ang="0">
                <a:pos x="313" y="226"/>
              </a:cxn>
            </a:cxnLst>
            <a:rect l="0" t="0" r="r" b="b"/>
            <a:pathLst>
              <a:path w="554" h="399">
                <a:moveTo>
                  <a:pt x="103" y="124"/>
                </a:moveTo>
                <a:cubicBezTo>
                  <a:pt x="129" y="124"/>
                  <a:pt x="150" y="90"/>
                  <a:pt x="150" y="56"/>
                </a:cubicBezTo>
                <a:cubicBezTo>
                  <a:pt x="150" y="22"/>
                  <a:pt x="129" y="0"/>
                  <a:pt x="103" y="0"/>
                </a:cubicBezTo>
                <a:cubicBezTo>
                  <a:pt x="78" y="0"/>
                  <a:pt x="57" y="22"/>
                  <a:pt x="57" y="56"/>
                </a:cubicBezTo>
                <a:cubicBezTo>
                  <a:pt x="57" y="90"/>
                  <a:pt x="78" y="124"/>
                  <a:pt x="103" y="124"/>
                </a:cubicBezTo>
                <a:close/>
                <a:moveTo>
                  <a:pt x="206" y="221"/>
                </a:moveTo>
                <a:cubicBezTo>
                  <a:pt x="201" y="187"/>
                  <a:pt x="168" y="153"/>
                  <a:pt x="127" y="144"/>
                </a:cubicBezTo>
                <a:cubicBezTo>
                  <a:pt x="124" y="141"/>
                  <a:pt x="123" y="138"/>
                  <a:pt x="123" y="134"/>
                </a:cubicBezTo>
                <a:cubicBezTo>
                  <a:pt x="117" y="138"/>
                  <a:pt x="110" y="140"/>
                  <a:pt x="103" y="140"/>
                </a:cubicBezTo>
                <a:cubicBezTo>
                  <a:pt x="96" y="140"/>
                  <a:pt x="90" y="138"/>
                  <a:pt x="83" y="134"/>
                </a:cubicBezTo>
                <a:cubicBezTo>
                  <a:pt x="84" y="138"/>
                  <a:pt x="83" y="141"/>
                  <a:pt x="80" y="144"/>
                </a:cubicBezTo>
                <a:cubicBezTo>
                  <a:pt x="34" y="153"/>
                  <a:pt x="0" y="194"/>
                  <a:pt x="0" y="231"/>
                </a:cubicBezTo>
                <a:cubicBezTo>
                  <a:pt x="0" y="231"/>
                  <a:pt x="0" y="255"/>
                  <a:pt x="0" y="256"/>
                </a:cubicBezTo>
                <a:cubicBezTo>
                  <a:pt x="152" y="256"/>
                  <a:pt x="152" y="256"/>
                  <a:pt x="152" y="256"/>
                </a:cubicBezTo>
                <a:cubicBezTo>
                  <a:pt x="167" y="242"/>
                  <a:pt x="186" y="230"/>
                  <a:pt x="206" y="221"/>
                </a:cubicBezTo>
                <a:close/>
                <a:moveTo>
                  <a:pt x="474" y="144"/>
                </a:moveTo>
                <a:cubicBezTo>
                  <a:pt x="471" y="141"/>
                  <a:pt x="470" y="138"/>
                  <a:pt x="471" y="134"/>
                </a:cubicBezTo>
                <a:cubicBezTo>
                  <a:pt x="465" y="138"/>
                  <a:pt x="458" y="140"/>
                  <a:pt x="451" y="140"/>
                </a:cubicBezTo>
                <a:cubicBezTo>
                  <a:pt x="444" y="140"/>
                  <a:pt x="437" y="138"/>
                  <a:pt x="431" y="134"/>
                </a:cubicBezTo>
                <a:cubicBezTo>
                  <a:pt x="431" y="138"/>
                  <a:pt x="431" y="141"/>
                  <a:pt x="427" y="144"/>
                </a:cubicBezTo>
                <a:cubicBezTo>
                  <a:pt x="386" y="153"/>
                  <a:pt x="354" y="187"/>
                  <a:pt x="348" y="221"/>
                </a:cubicBezTo>
                <a:cubicBezTo>
                  <a:pt x="368" y="230"/>
                  <a:pt x="387" y="242"/>
                  <a:pt x="402" y="256"/>
                </a:cubicBezTo>
                <a:cubicBezTo>
                  <a:pt x="554" y="256"/>
                  <a:pt x="554" y="256"/>
                  <a:pt x="554" y="256"/>
                </a:cubicBezTo>
                <a:cubicBezTo>
                  <a:pt x="554" y="255"/>
                  <a:pt x="554" y="231"/>
                  <a:pt x="554" y="231"/>
                </a:cubicBezTo>
                <a:cubicBezTo>
                  <a:pt x="554" y="194"/>
                  <a:pt x="520" y="153"/>
                  <a:pt x="474" y="144"/>
                </a:cubicBezTo>
                <a:close/>
                <a:moveTo>
                  <a:pt x="451" y="124"/>
                </a:moveTo>
                <a:cubicBezTo>
                  <a:pt x="476" y="124"/>
                  <a:pt x="497" y="90"/>
                  <a:pt x="497" y="56"/>
                </a:cubicBezTo>
                <a:cubicBezTo>
                  <a:pt x="497" y="22"/>
                  <a:pt x="476" y="0"/>
                  <a:pt x="451" y="0"/>
                </a:cubicBezTo>
                <a:cubicBezTo>
                  <a:pt x="425" y="0"/>
                  <a:pt x="404" y="22"/>
                  <a:pt x="404" y="56"/>
                </a:cubicBezTo>
                <a:cubicBezTo>
                  <a:pt x="404" y="90"/>
                  <a:pt x="425" y="124"/>
                  <a:pt x="451" y="124"/>
                </a:cubicBezTo>
                <a:close/>
                <a:moveTo>
                  <a:pt x="277" y="199"/>
                </a:moveTo>
                <a:cubicBezTo>
                  <a:pt x="317" y="199"/>
                  <a:pt x="349" y="148"/>
                  <a:pt x="349" y="95"/>
                </a:cubicBezTo>
                <a:cubicBezTo>
                  <a:pt x="349" y="42"/>
                  <a:pt x="317" y="7"/>
                  <a:pt x="277" y="7"/>
                </a:cubicBezTo>
                <a:cubicBezTo>
                  <a:pt x="237" y="7"/>
                  <a:pt x="205" y="42"/>
                  <a:pt x="205" y="95"/>
                </a:cubicBezTo>
                <a:cubicBezTo>
                  <a:pt x="205" y="148"/>
                  <a:pt x="237" y="199"/>
                  <a:pt x="277" y="199"/>
                </a:cubicBezTo>
                <a:close/>
                <a:moveTo>
                  <a:pt x="313" y="226"/>
                </a:moveTo>
                <a:cubicBezTo>
                  <a:pt x="308" y="221"/>
                  <a:pt x="307" y="216"/>
                  <a:pt x="308" y="210"/>
                </a:cubicBezTo>
                <a:cubicBezTo>
                  <a:pt x="298" y="216"/>
                  <a:pt x="288" y="220"/>
                  <a:pt x="277" y="220"/>
                </a:cubicBezTo>
                <a:cubicBezTo>
                  <a:pt x="266" y="220"/>
                  <a:pt x="256" y="216"/>
                  <a:pt x="246" y="210"/>
                </a:cubicBezTo>
                <a:cubicBezTo>
                  <a:pt x="247" y="216"/>
                  <a:pt x="246" y="221"/>
                  <a:pt x="241" y="226"/>
                </a:cubicBezTo>
                <a:cubicBezTo>
                  <a:pt x="170" y="240"/>
                  <a:pt x="118" y="303"/>
                  <a:pt x="118" y="359"/>
                </a:cubicBezTo>
                <a:cubicBezTo>
                  <a:pt x="118" y="360"/>
                  <a:pt x="118" y="397"/>
                  <a:pt x="118" y="399"/>
                </a:cubicBezTo>
                <a:cubicBezTo>
                  <a:pt x="436" y="399"/>
                  <a:pt x="436" y="399"/>
                  <a:pt x="436" y="399"/>
                </a:cubicBezTo>
                <a:cubicBezTo>
                  <a:pt x="436" y="397"/>
                  <a:pt x="436" y="360"/>
                  <a:pt x="436" y="359"/>
                </a:cubicBezTo>
                <a:cubicBezTo>
                  <a:pt x="436" y="303"/>
                  <a:pt x="384" y="240"/>
                  <a:pt x="313" y="226"/>
                </a:cubicBezTo>
                <a:close/>
              </a:path>
            </a:pathLst>
          </a:custGeom>
          <a:solidFill>
            <a:srgbClr val="005EB8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prstClr val="black"/>
              </a:solidFill>
            </a:endParaRPr>
          </a:p>
        </p:txBody>
      </p:sp>
      <p:grpSp>
        <p:nvGrpSpPr>
          <p:cNvPr id="125" name="Group 186"/>
          <p:cNvGrpSpPr>
            <a:grpSpLocks noChangeAspect="1"/>
          </p:cNvGrpSpPr>
          <p:nvPr/>
        </p:nvGrpSpPr>
        <p:grpSpPr bwMode="auto">
          <a:xfrm>
            <a:off x="5950906" y="2983883"/>
            <a:ext cx="358514" cy="371427"/>
            <a:chOff x="-2" y="1306"/>
            <a:chExt cx="472" cy="489"/>
          </a:xfrm>
          <a:solidFill>
            <a:srgbClr val="005EB8"/>
          </a:solidFill>
        </p:grpSpPr>
        <p:sp>
          <p:nvSpPr>
            <p:cNvPr id="126" name="Freeform 187"/>
            <p:cNvSpPr>
              <a:spLocks noEditPoints="1"/>
            </p:cNvSpPr>
            <p:nvPr/>
          </p:nvSpPr>
          <p:spPr bwMode="auto">
            <a:xfrm>
              <a:off x="46" y="1405"/>
              <a:ext cx="410" cy="390"/>
            </a:xfrm>
            <a:custGeom>
              <a:avLst/>
              <a:gdLst>
                <a:gd name="T0" fmla="*/ 11 w 171"/>
                <a:gd name="T1" fmla="*/ 162 h 163"/>
                <a:gd name="T2" fmla="*/ 10 w 171"/>
                <a:gd name="T3" fmla="*/ 139 h 163"/>
                <a:gd name="T4" fmla="*/ 65 w 171"/>
                <a:gd name="T5" fmla="*/ 80 h 163"/>
                <a:gd name="T6" fmla="*/ 73 w 171"/>
                <a:gd name="T7" fmla="*/ 66 h 163"/>
                <a:gd name="T8" fmla="*/ 94 w 171"/>
                <a:gd name="T9" fmla="*/ 29 h 163"/>
                <a:gd name="T10" fmla="*/ 97 w 171"/>
                <a:gd name="T11" fmla="*/ 23 h 163"/>
                <a:gd name="T12" fmla="*/ 76 w 171"/>
                <a:gd name="T13" fmla="*/ 25 h 163"/>
                <a:gd name="T14" fmla="*/ 71 w 171"/>
                <a:gd name="T15" fmla="*/ 29 h 163"/>
                <a:gd name="T16" fmla="*/ 55 w 171"/>
                <a:gd name="T17" fmla="*/ 52 h 163"/>
                <a:gd name="T18" fmla="*/ 41 w 171"/>
                <a:gd name="T19" fmla="*/ 68 h 163"/>
                <a:gd name="T20" fmla="*/ 36 w 171"/>
                <a:gd name="T21" fmla="*/ 93 h 163"/>
                <a:gd name="T22" fmla="*/ 19 w 171"/>
                <a:gd name="T23" fmla="*/ 69 h 163"/>
                <a:gd name="T24" fmla="*/ 13 w 171"/>
                <a:gd name="T25" fmla="*/ 56 h 163"/>
                <a:gd name="T26" fmla="*/ 8 w 171"/>
                <a:gd name="T27" fmla="*/ 35 h 163"/>
                <a:gd name="T28" fmla="*/ 10 w 171"/>
                <a:gd name="T29" fmla="*/ 27 h 163"/>
                <a:gd name="T30" fmla="*/ 23 w 171"/>
                <a:gd name="T31" fmla="*/ 29 h 163"/>
                <a:gd name="T32" fmla="*/ 29 w 171"/>
                <a:gd name="T33" fmla="*/ 41 h 163"/>
                <a:gd name="T34" fmla="*/ 47 w 171"/>
                <a:gd name="T35" fmla="*/ 31 h 163"/>
                <a:gd name="T36" fmla="*/ 60 w 171"/>
                <a:gd name="T37" fmla="*/ 12 h 163"/>
                <a:gd name="T38" fmla="*/ 69 w 171"/>
                <a:gd name="T39" fmla="*/ 7 h 163"/>
                <a:gd name="T40" fmla="*/ 121 w 171"/>
                <a:gd name="T41" fmla="*/ 0 h 163"/>
                <a:gd name="T42" fmla="*/ 133 w 171"/>
                <a:gd name="T43" fmla="*/ 11 h 163"/>
                <a:gd name="T44" fmla="*/ 140 w 171"/>
                <a:gd name="T45" fmla="*/ 56 h 163"/>
                <a:gd name="T46" fmla="*/ 144 w 171"/>
                <a:gd name="T47" fmla="*/ 63 h 163"/>
                <a:gd name="T48" fmla="*/ 164 w 171"/>
                <a:gd name="T49" fmla="*/ 78 h 163"/>
                <a:gd name="T50" fmla="*/ 167 w 171"/>
                <a:gd name="T51" fmla="*/ 92 h 163"/>
                <a:gd name="T52" fmla="*/ 153 w 171"/>
                <a:gd name="T53" fmla="*/ 93 h 163"/>
                <a:gd name="T54" fmla="*/ 128 w 171"/>
                <a:gd name="T55" fmla="*/ 75 h 163"/>
                <a:gd name="T56" fmla="*/ 122 w 171"/>
                <a:gd name="T57" fmla="*/ 65 h 163"/>
                <a:gd name="T58" fmla="*/ 119 w 171"/>
                <a:gd name="T59" fmla="*/ 49 h 163"/>
                <a:gd name="T60" fmla="*/ 102 w 171"/>
                <a:gd name="T61" fmla="*/ 79 h 163"/>
                <a:gd name="T62" fmla="*/ 104 w 171"/>
                <a:gd name="T63" fmla="*/ 84 h 163"/>
                <a:gd name="T64" fmla="*/ 120 w 171"/>
                <a:gd name="T65" fmla="*/ 108 h 163"/>
                <a:gd name="T66" fmla="*/ 120 w 171"/>
                <a:gd name="T67" fmla="*/ 125 h 163"/>
                <a:gd name="T68" fmla="*/ 101 w 171"/>
                <a:gd name="T69" fmla="*/ 155 h 163"/>
                <a:gd name="T70" fmla="*/ 84 w 171"/>
                <a:gd name="T71" fmla="*/ 159 h 163"/>
                <a:gd name="T72" fmla="*/ 82 w 171"/>
                <a:gd name="T73" fmla="*/ 142 h 163"/>
                <a:gd name="T74" fmla="*/ 96 w 171"/>
                <a:gd name="T75" fmla="*/ 121 h 163"/>
                <a:gd name="T76" fmla="*/ 95 w 171"/>
                <a:gd name="T77" fmla="*/ 113 h 163"/>
                <a:gd name="T78" fmla="*/ 82 w 171"/>
                <a:gd name="T79" fmla="*/ 93 h 163"/>
                <a:gd name="T80" fmla="*/ 78 w 171"/>
                <a:gd name="T81" fmla="*/ 101 h 163"/>
                <a:gd name="T82" fmla="*/ 27 w 171"/>
                <a:gd name="T83" fmla="*/ 154 h 163"/>
                <a:gd name="T84" fmla="*/ 17 w 171"/>
                <a:gd name="T85" fmla="*/ 162 h 163"/>
                <a:gd name="T86" fmla="*/ 11 w 171"/>
                <a:gd name="T87" fmla="*/ 162 h 163"/>
                <a:gd name="T88" fmla="*/ 37 w 171"/>
                <a:gd name="T89" fmla="*/ 42 h 163"/>
                <a:gd name="T90" fmla="*/ 30 w 171"/>
                <a:gd name="T91" fmla="*/ 45 h 163"/>
                <a:gd name="T92" fmla="*/ 40 w 171"/>
                <a:gd name="T93" fmla="*/ 65 h 163"/>
                <a:gd name="T94" fmla="*/ 45 w 171"/>
                <a:gd name="T95" fmla="*/ 61 h 163"/>
                <a:gd name="T96" fmla="*/ 37 w 171"/>
                <a:gd name="T97" fmla="*/ 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71" h="163">
                  <a:moveTo>
                    <a:pt x="11" y="162"/>
                  </a:moveTo>
                  <a:cubicBezTo>
                    <a:pt x="1" y="154"/>
                    <a:pt x="0" y="149"/>
                    <a:pt x="10" y="139"/>
                  </a:cubicBezTo>
                  <a:cubicBezTo>
                    <a:pt x="28" y="119"/>
                    <a:pt x="47" y="100"/>
                    <a:pt x="65" y="80"/>
                  </a:cubicBezTo>
                  <a:cubicBezTo>
                    <a:pt x="69" y="77"/>
                    <a:pt x="70" y="71"/>
                    <a:pt x="73" y="66"/>
                  </a:cubicBezTo>
                  <a:cubicBezTo>
                    <a:pt x="80" y="54"/>
                    <a:pt x="87" y="42"/>
                    <a:pt x="94" y="29"/>
                  </a:cubicBezTo>
                  <a:cubicBezTo>
                    <a:pt x="95" y="28"/>
                    <a:pt x="96" y="26"/>
                    <a:pt x="97" y="23"/>
                  </a:cubicBezTo>
                  <a:cubicBezTo>
                    <a:pt x="89" y="24"/>
                    <a:pt x="82" y="24"/>
                    <a:pt x="76" y="25"/>
                  </a:cubicBezTo>
                  <a:cubicBezTo>
                    <a:pt x="74" y="25"/>
                    <a:pt x="72" y="28"/>
                    <a:pt x="71" y="29"/>
                  </a:cubicBezTo>
                  <a:cubicBezTo>
                    <a:pt x="66" y="37"/>
                    <a:pt x="60" y="45"/>
                    <a:pt x="55" y="52"/>
                  </a:cubicBezTo>
                  <a:cubicBezTo>
                    <a:pt x="51" y="58"/>
                    <a:pt x="46" y="62"/>
                    <a:pt x="41" y="68"/>
                  </a:cubicBezTo>
                  <a:cubicBezTo>
                    <a:pt x="43" y="76"/>
                    <a:pt x="54" y="87"/>
                    <a:pt x="36" y="93"/>
                  </a:cubicBezTo>
                  <a:cubicBezTo>
                    <a:pt x="30" y="85"/>
                    <a:pt x="23" y="78"/>
                    <a:pt x="19" y="69"/>
                  </a:cubicBezTo>
                  <a:cubicBezTo>
                    <a:pt x="18" y="65"/>
                    <a:pt x="15" y="60"/>
                    <a:pt x="13" y="56"/>
                  </a:cubicBezTo>
                  <a:cubicBezTo>
                    <a:pt x="10" y="49"/>
                    <a:pt x="9" y="42"/>
                    <a:pt x="8" y="35"/>
                  </a:cubicBezTo>
                  <a:cubicBezTo>
                    <a:pt x="7" y="32"/>
                    <a:pt x="5" y="29"/>
                    <a:pt x="10" y="27"/>
                  </a:cubicBezTo>
                  <a:cubicBezTo>
                    <a:pt x="15" y="25"/>
                    <a:pt x="20" y="25"/>
                    <a:pt x="23" y="29"/>
                  </a:cubicBezTo>
                  <a:cubicBezTo>
                    <a:pt x="25" y="33"/>
                    <a:pt x="27" y="38"/>
                    <a:pt x="29" y="41"/>
                  </a:cubicBezTo>
                  <a:cubicBezTo>
                    <a:pt x="38" y="42"/>
                    <a:pt x="43" y="38"/>
                    <a:pt x="47" y="31"/>
                  </a:cubicBezTo>
                  <a:cubicBezTo>
                    <a:pt x="51" y="24"/>
                    <a:pt x="55" y="18"/>
                    <a:pt x="60" y="12"/>
                  </a:cubicBezTo>
                  <a:cubicBezTo>
                    <a:pt x="62" y="10"/>
                    <a:pt x="66" y="7"/>
                    <a:pt x="69" y="7"/>
                  </a:cubicBezTo>
                  <a:cubicBezTo>
                    <a:pt x="86" y="4"/>
                    <a:pt x="104" y="2"/>
                    <a:pt x="121" y="0"/>
                  </a:cubicBezTo>
                  <a:cubicBezTo>
                    <a:pt x="127" y="0"/>
                    <a:pt x="133" y="5"/>
                    <a:pt x="133" y="11"/>
                  </a:cubicBezTo>
                  <a:cubicBezTo>
                    <a:pt x="135" y="26"/>
                    <a:pt x="137" y="41"/>
                    <a:pt x="140" y="56"/>
                  </a:cubicBezTo>
                  <a:cubicBezTo>
                    <a:pt x="140" y="58"/>
                    <a:pt x="142" y="61"/>
                    <a:pt x="144" y="63"/>
                  </a:cubicBezTo>
                  <a:cubicBezTo>
                    <a:pt x="151" y="68"/>
                    <a:pt x="158" y="73"/>
                    <a:pt x="164" y="78"/>
                  </a:cubicBezTo>
                  <a:cubicBezTo>
                    <a:pt x="170" y="82"/>
                    <a:pt x="171" y="88"/>
                    <a:pt x="167" y="92"/>
                  </a:cubicBezTo>
                  <a:cubicBezTo>
                    <a:pt x="164" y="97"/>
                    <a:pt x="158" y="97"/>
                    <a:pt x="153" y="93"/>
                  </a:cubicBezTo>
                  <a:cubicBezTo>
                    <a:pt x="144" y="87"/>
                    <a:pt x="136" y="81"/>
                    <a:pt x="128" y="75"/>
                  </a:cubicBezTo>
                  <a:cubicBezTo>
                    <a:pt x="125" y="72"/>
                    <a:pt x="123" y="68"/>
                    <a:pt x="122" y="65"/>
                  </a:cubicBezTo>
                  <a:cubicBezTo>
                    <a:pt x="120" y="60"/>
                    <a:pt x="120" y="56"/>
                    <a:pt x="119" y="49"/>
                  </a:cubicBezTo>
                  <a:cubicBezTo>
                    <a:pt x="112" y="60"/>
                    <a:pt x="107" y="69"/>
                    <a:pt x="102" y="79"/>
                  </a:cubicBezTo>
                  <a:cubicBezTo>
                    <a:pt x="101" y="80"/>
                    <a:pt x="103" y="83"/>
                    <a:pt x="104" y="84"/>
                  </a:cubicBezTo>
                  <a:cubicBezTo>
                    <a:pt x="109" y="92"/>
                    <a:pt x="114" y="100"/>
                    <a:pt x="120" y="108"/>
                  </a:cubicBezTo>
                  <a:cubicBezTo>
                    <a:pt x="124" y="114"/>
                    <a:pt x="125" y="119"/>
                    <a:pt x="120" y="125"/>
                  </a:cubicBezTo>
                  <a:cubicBezTo>
                    <a:pt x="114" y="135"/>
                    <a:pt x="107" y="145"/>
                    <a:pt x="101" y="155"/>
                  </a:cubicBezTo>
                  <a:cubicBezTo>
                    <a:pt x="96" y="161"/>
                    <a:pt x="89" y="163"/>
                    <a:pt x="84" y="159"/>
                  </a:cubicBezTo>
                  <a:cubicBezTo>
                    <a:pt x="78" y="155"/>
                    <a:pt x="77" y="149"/>
                    <a:pt x="82" y="142"/>
                  </a:cubicBezTo>
                  <a:cubicBezTo>
                    <a:pt x="86" y="135"/>
                    <a:pt x="91" y="128"/>
                    <a:pt x="96" y="121"/>
                  </a:cubicBezTo>
                  <a:cubicBezTo>
                    <a:pt x="97" y="119"/>
                    <a:pt x="97" y="115"/>
                    <a:pt x="95" y="113"/>
                  </a:cubicBezTo>
                  <a:cubicBezTo>
                    <a:pt x="92" y="107"/>
                    <a:pt x="88" y="102"/>
                    <a:pt x="82" y="93"/>
                  </a:cubicBezTo>
                  <a:cubicBezTo>
                    <a:pt x="80" y="97"/>
                    <a:pt x="79" y="99"/>
                    <a:pt x="78" y="101"/>
                  </a:cubicBezTo>
                  <a:cubicBezTo>
                    <a:pt x="61" y="119"/>
                    <a:pt x="44" y="136"/>
                    <a:pt x="27" y="154"/>
                  </a:cubicBezTo>
                  <a:cubicBezTo>
                    <a:pt x="24" y="157"/>
                    <a:pt x="20" y="160"/>
                    <a:pt x="17" y="162"/>
                  </a:cubicBezTo>
                  <a:cubicBezTo>
                    <a:pt x="15" y="162"/>
                    <a:pt x="13" y="162"/>
                    <a:pt x="11" y="162"/>
                  </a:cubicBezTo>
                  <a:close/>
                  <a:moveTo>
                    <a:pt x="37" y="42"/>
                  </a:moveTo>
                  <a:cubicBezTo>
                    <a:pt x="34" y="43"/>
                    <a:pt x="32" y="44"/>
                    <a:pt x="30" y="45"/>
                  </a:cubicBezTo>
                  <a:cubicBezTo>
                    <a:pt x="33" y="52"/>
                    <a:pt x="36" y="58"/>
                    <a:pt x="40" y="65"/>
                  </a:cubicBezTo>
                  <a:cubicBezTo>
                    <a:pt x="42" y="63"/>
                    <a:pt x="43" y="62"/>
                    <a:pt x="45" y="61"/>
                  </a:cubicBezTo>
                  <a:cubicBezTo>
                    <a:pt x="35" y="55"/>
                    <a:pt x="35" y="54"/>
                    <a:pt x="3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00338D"/>
                </a:solidFill>
              </a:endParaRPr>
            </a:p>
          </p:txBody>
        </p:sp>
        <p:sp>
          <p:nvSpPr>
            <p:cNvPr id="127" name="Freeform 188"/>
            <p:cNvSpPr>
              <a:spLocks/>
            </p:cNvSpPr>
            <p:nvPr/>
          </p:nvSpPr>
          <p:spPr bwMode="auto">
            <a:xfrm>
              <a:off x="346" y="1306"/>
              <a:ext cx="124" cy="118"/>
            </a:xfrm>
            <a:custGeom>
              <a:avLst/>
              <a:gdLst>
                <a:gd name="T0" fmla="*/ 28 w 52"/>
                <a:gd name="T1" fmla="*/ 0 h 49"/>
                <a:gd name="T2" fmla="*/ 36 w 52"/>
                <a:gd name="T3" fmla="*/ 3 h 49"/>
                <a:gd name="T4" fmla="*/ 49 w 52"/>
                <a:gd name="T5" fmla="*/ 32 h 49"/>
                <a:gd name="T6" fmla="*/ 23 w 52"/>
                <a:gd name="T7" fmla="*/ 49 h 49"/>
                <a:gd name="T8" fmla="*/ 1 w 52"/>
                <a:gd name="T9" fmla="*/ 26 h 49"/>
                <a:gd name="T10" fmla="*/ 18 w 52"/>
                <a:gd name="T11" fmla="*/ 2 h 49"/>
                <a:gd name="T12" fmla="*/ 23 w 52"/>
                <a:gd name="T13" fmla="*/ 0 h 49"/>
                <a:gd name="T14" fmla="*/ 28 w 52"/>
                <a:gd name="T1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49">
                  <a:moveTo>
                    <a:pt x="28" y="0"/>
                  </a:moveTo>
                  <a:cubicBezTo>
                    <a:pt x="31" y="1"/>
                    <a:pt x="33" y="2"/>
                    <a:pt x="36" y="3"/>
                  </a:cubicBezTo>
                  <a:cubicBezTo>
                    <a:pt x="46" y="8"/>
                    <a:pt x="52" y="20"/>
                    <a:pt x="49" y="32"/>
                  </a:cubicBezTo>
                  <a:cubicBezTo>
                    <a:pt x="46" y="43"/>
                    <a:pt x="35" y="49"/>
                    <a:pt x="23" y="49"/>
                  </a:cubicBezTo>
                  <a:cubicBezTo>
                    <a:pt x="11" y="48"/>
                    <a:pt x="2" y="39"/>
                    <a:pt x="1" y="26"/>
                  </a:cubicBezTo>
                  <a:cubicBezTo>
                    <a:pt x="0" y="16"/>
                    <a:pt x="8" y="5"/>
                    <a:pt x="18" y="2"/>
                  </a:cubicBezTo>
                  <a:cubicBezTo>
                    <a:pt x="20" y="1"/>
                    <a:pt x="21" y="1"/>
                    <a:pt x="23" y="0"/>
                  </a:cubicBezTo>
                  <a:cubicBezTo>
                    <a:pt x="25" y="0"/>
                    <a:pt x="26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00338D"/>
                </a:solidFill>
              </a:endParaRPr>
            </a:p>
          </p:txBody>
        </p:sp>
        <p:sp>
          <p:nvSpPr>
            <p:cNvPr id="128" name="Freeform 189"/>
            <p:cNvSpPr>
              <a:spLocks/>
            </p:cNvSpPr>
            <p:nvPr/>
          </p:nvSpPr>
          <p:spPr bwMode="auto">
            <a:xfrm>
              <a:off x="-2" y="1479"/>
              <a:ext cx="127" cy="172"/>
            </a:xfrm>
            <a:custGeom>
              <a:avLst/>
              <a:gdLst>
                <a:gd name="T0" fmla="*/ 24 w 53"/>
                <a:gd name="T1" fmla="*/ 0 h 72"/>
                <a:gd name="T2" fmla="*/ 31 w 53"/>
                <a:gd name="T3" fmla="*/ 29 h 72"/>
                <a:gd name="T4" fmla="*/ 30 w 53"/>
                <a:gd name="T5" fmla="*/ 32 h 72"/>
                <a:gd name="T6" fmla="*/ 31 w 53"/>
                <a:gd name="T7" fmla="*/ 37 h 72"/>
                <a:gd name="T8" fmla="*/ 53 w 53"/>
                <a:gd name="T9" fmla="*/ 62 h 72"/>
                <a:gd name="T10" fmla="*/ 34 w 53"/>
                <a:gd name="T11" fmla="*/ 71 h 72"/>
                <a:gd name="T12" fmla="*/ 23 w 53"/>
                <a:gd name="T13" fmla="*/ 67 h 72"/>
                <a:gd name="T14" fmla="*/ 2 w 53"/>
                <a:gd name="T15" fmla="*/ 20 h 72"/>
                <a:gd name="T16" fmla="*/ 6 w 53"/>
                <a:gd name="T17" fmla="*/ 9 h 72"/>
                <a:gd name="T18" fmla="*/ 24 w 53"/>
                <a:gd name="T19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" h="72">
                  <a:moveTo>
                    <a:pt x="24" y="0"/>
                  </a:moveTo>
                  <a:cubicBezTo>
                    <a:pt x="26" y="10"/>
                    <a:pt x="29" y="19"/>
                    <a:pt x="31" y="29"/>
                  </a:cubicBezTo>
                  <a:cubicBezTo>
                    <a:pt x="31" y="30"/>
                    <a:pt x="30" y="31"/>
                    <a:pt x="30" y="32"/>
                  </a:cubicBezTo>
                  <a:cubicBezTo>
                    <a:pt x="30" y="34"/>
                    <a:pt x="30" y="36"/>
                    <a:pt x="31" y="37"/>
                  </a:cubicBezTo>
                  <a:cubicBezTo>
                    <a:pt x="42" y="42"/>
                    <a:pt x="44" y="54"/>
                    <a:pt x="53" y="62"/>
                  </a:cubicBezTo>
                  <a:cubicBezTo>
                    <a:pt x="46" y="65"/>
                    <a:pt x="40" y="68"/>
                    <a:pt x="34" y="71"/>
                  </a:cubicBezTo>
                  <a:cubicBezTo>
                    <a:pt x="29" y="72"/>
                    <a:pt x="25" y="71"/>
                    <a:pt x="23" y="67"/>
                  </a:cubicBezTo>
                  <a:cubicBezTo>
                    <a:pt x="16" y="51"/>
                    <a:pt x="9" y="35"/>
                    <a:pt x="2" y="20"/>
                  </a:cubicBezTo>
                  <a:cubicBezTo>
                    <a:pt x="0" y="15"/>
                    <a:pt x="1" y="11"/>
                    <a:pt x="6" y="9"/>
                  </a:cubicBezTo>
                  <a:cubicBezTo>
                    <a:pt x="11" y="6"/>
                    <a:pt x="17" y="3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srgbClr val="00338D"/>
                </a:solidFill>
              </a:endParaRPr>
            </a:p>
          </p:txBody>
        </p:sp>
      </p:grpSp>
      <p:sp>
        <p:nvSpPr>
          <p:cNvPr id="129" name="Freeform 19"/>
          <p:cNvSpPr>
            <a:spLocks noEditPoints="1"/>
          </p:cNvSpPr>
          <p:nvPr/>
        </p:nvSpPr>
        <p:spPr bwMode="auto">
          <a:xfrm>
            <a:off x="5654228" y="4078792"/>
            <a:ext cx="441864" cy="366760"/>
          </a:xfrm>
          <a:custGeom>
            <a:avLst/>
            <a:gdLst>
              <a:gd name="T0" fmla="*/ 696 w 696"/>
              <a:gd name="T1" fmla="*/ 69 h 634"/>
              <a:gd name="T2" fmla="*/ 696 w 696"/>
              <a:gd name="T3" fmla="*/ 408 h 634"/>
              <a:gd name="T4" fmla="*/ 627 w 696"/>
              <a:gd name="T5" fmla="*/ 477 h 634"/>
              <a:gd name="T6" fmla="*/ 568 w 696"/>
              <a:gd name="T7" fmla="*/ 477 h 634"/>
              <a:gd name="T8" fmla="*/ 561 w 696"/>
              <a:gd name="T9" fmla="*/ 437 h 634"/>
              <a:gd name="T10" fmla="*/ 556 w 696"/>
              <a:gd name="T11" fmla="*/ 412 h 634"/>
              <a:gd name="T12" fmla="*/ 624 w 696"/>
              <a:gd name="T13" fmla="*/ 412 h 634"/>
              <a:gd name="T14" fmla="*/ 624 w 696"/>
              <a:gd name="T15" fmla="*/ 65 h 634"/>
              <a:gd name="T16" fmla="*/ 72 w 696"/>
              <a:gd name="T17" fmla="*/ 65 h 634"/>
              <a:gd name="T18" fmla="*/ 72 w 696"/>
              <a:gd name="T19" fmla="*/ 412 h 634"/>
              <a:gd name="T20" fmla="*/ 216 w 696"/>
              <a:gd name="T21" fmla="*/ 412 h 634"/>
              <a:gd name="T22" fmla="*/ 217 w 696"/>
              <a:gd name="T23" fmla="*/ 413 h 634"/>
              <a:gd name="T24" fmla="*/ 228 w 696"/>
              <a:gd name="T25" fmla="*/ 430 h 634"/>
              <a:gd name="T26" fmla="*/ 237 w 696"/>
              <a:gd name="T27" fmla="*/ 448 h 634"/>
              <a:gd name="T28" fmla="*/ 256 w 696"/>
              <a:gd name="T29" fmla="*/ 477 h 634"/>
              <a:gd name="T30" fmla="*/ 69 w 696"/>
              <a:gd name="T31" fmla="*/ 477 h 634"/>
              <a:gd name="T32" fmla="*/ 0 w 696"/>
              <a:gd name="T33" fmla="*/ 408 h 634"/>
              <a:gd name="T34" fmla="*/ 0 w 696"/>
              <a:gd name="T35" fmla="*/ 69 h 634"/>
              <a:gd name="T36" fmla="*/ 69 w 696"/>
              <a:gd name="T37" fmla="*/ 0 h 634"/>
              <a:gd name="T38" fmla="*/ 627 w 696"/>
              <a:gd name="T39" fmla="*/ 0 h 634"/>
              <a:gd name="T40" fmla="*/ 696 w 696"/>
              <a:gd name="T41" fmla="*/ 69 h 634"/>
              <a:gd name="T42" fmla="*/ 598 w 696"/>
              <a:gd name="T43" fmla="*/ 554 h 634"/>
              <a:gd name="T44" fmla="*/ 564 w 696"/>
              <a:gd name="T45" fmla="*/ 521 h 634"/>
              <a:gd name="T46" fmla="*/ 541 w 696"/>
              <a:gd name="T47" fmla="*/ 484 h 634"/>
              <a:gd name="T48" fmla="*/ 518 w 696"/>
              <a:gd name="T49" fmla="*/ 364 h 634"/>
              <a:gd name="T50" fmla="*/ 461 w 696"/>
              <a:gd name="T51" fmla="*/ 293 h 634"/>
              <a:gd name="T52" fmla="*/ 448 w 696"/>
              <a:gd name="T53" fmla="*/ 299 h 634"/>
              <a:gd name="T54" fmla="*/ 417 w 696"/>
              <a:gd name="T55" fmla="*/ 274 h 634"/>
              <a:gd name="T56" fmla="*/ 394 w 696"/>
              <a:gd name="T57" fmla="*/ 281 h 634"/>
              <a:gd name="T58" fmla="*/ 373 w 696"/>
              <a:gd name="T59" fmla="*/ 255 h 634"/>
              <a:gd name="T60" fmla="*/ 342 w 696"/>
              <a:gd name="T61" fmla="*/ 259 h 634"/>
              <a:gd name="T62" fmla="*/ 333 w 696"/>
              <a:gd name="T63" fmla="*/ 277 h 634"/>
              <a:gd name="T64" fmla="*/ 331 w 696"/>
              <a:gd name="T65" fmla="*/ 303 h 634"/>
              <a:gd name="T66" fmla="*/ 295 w 696"/>
              <a:gd name="T67" fmla="*/ 215 h 634"/>
              <a:gd name="T68" fmla="*/ 271 w 696"/>
              <a:gd name="T69" fmla="*/ 141 h 634"/>
              <a:gd name="T70" fmla="*/ 249 w 696"/>
              <a:gd name="T71" fmla="*/ 123 h 634"/>
              <a:gd name="T72" fmla="*/ 228 w 696"/>
              <a:gd name="T73" fmla="*/ 158 h 634"/>
              <a:gd name="T74" fmla="*/ 249 w 696"/>
              <a:gd name="T75" fmla="*/ 243 h 634"/>
              <a:gd name="T76" fmla="*/ 289 w 696"/>
              <a:gd name="T77" fmla="*/ 354 h 634"/>
              <a:gd name="T78" fmla="*/ 295 w 696"/>
              <a:gd name="T79" fmla="*/ 384 h 634"/>
              <a:gd name="T80" fmla="*/ 278 w 696"/>
              <a:gd name="T81" fmla="*/ 360 h 634"/>
              <a:gd name="T82" fmla="*/ 266 w 696"/>
              <a:gd name="T83" fmla="*/ 347 h 634"/>
              <a:gd name="T84" fmla="*/ 240 w 696"/>
              <a:gd name="T85" fmla="*/ 319 h 634"/>
              <a:gd name="T86" fmla="*/ 191 w 696"/>
              <a:gd name="T87" fmla="*/ 314 h 634"/>
              <a:gd name="T88" fmla="*/ 196 w 696"/>
              <a:gd name="T89" fmla="*/ 336 h 634"/>
              <a:gd name="T90" fmla="*/ 213 w 696"/>
              <a:gd name="T91" fmla="*/ 351 h 634"/>
              <a:gd name="T92" fmla="*/ 230 w 696"/>
              <a:gd name="T93" fmla="*/ 383 h 634"/>
              <a:gd name="T94" fmla="*/ 250 w 696"/>
              <a:gd name="T95" fmla="*/ 413 h 634"/>
              <a:gd name="T96" fmla="*/ 263 w 696"/>
              <a:gd name="T97" fmla="*/ 437 h 634"/>
              <a:gd name="T98" fmla="*/ 291 w 696"/>
              <a:gd name="T99" fmla="*/ 474 h 634"/>
              <a:gd name="T100" fmla="*/ 393 w 696"/>
              <a:gd name="T101" fmla="*/ 567 h 634"/>
              <a:gd name="T102" fmla="*/ 440 w 696"/>
              <a:gd name="T103" fmla="*/ 616 h 634"/>
              <a:gd name="T104" fmla="*/ 598 w 696"/>
              <a:gd name="T105" fmla="*/ 554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96" h="634">
                <a:moveTo>
                  <a:pt x="696" y="69"/>
                </a:moveTo>
                <a:cubicBezTo>
                  <a:pt x="696" y="408"/>
                  <a:pt x="696" y="408"/>
                  <a:pt x="696" y="408"/>
                </a:cubicBezTo>
                <a:cubicBezTo>
                  <a:pt x="696" y="446"/>
                  <a:pt x="665" y="477"/>
                  <a:pt x="627" y="477"/>
                </a:cubicBezTo>
                <a:cubicBezTo>
                  <a:pt x="568" y="477"/>
                  <a:pt x="568" y="477"/>
                  <a:pt x="568" y="477"/>
                </a:cubicBezTo>
                <a:cubicBezTo>
                  <a:pt x="567" y="472"/>
                  <a:pt x="564" y="453"/>
                  <a:pt x="561" y="437"/>
                </a:cubicBezTo>
                <a:cubicBezTo>
                  <a:pt x="559" y="428"/>
                  <a:pt x="558" y="420"/>
                  <a:pt x="556" y="412"/>
                </a:cubicBezTo>
                <a:cubicBezTo>
                  <a:pt x="624" y="412"/>
                  <a:pt x="624" y="412"/>
                  <a:pt x="624" y="412"/>
                </a:cubicBezTo>
                <a:cubicBezTo>
                  <a:pt x="624" y="65"/>
                  <a:pt x="624" y="65"/>
                  <a:pt x="624" y="65"/>
                </a:cubicBezTo>
                <a:cubicBezTo>
                  <a:pt x="72" y="65"/>
                  <a:pt x="72" y="65"/>
                  <a:pt x="72" y="65"/>
                </a:cubicBezTo>
                <a:cubicBezTo>
                  <a:pt x="72" y="412"/>
                  <a:pt x="72" y="412"/>
                  <a:pt x="72" y="412"/>
                </a:cubicBezTo>
                <a:cubicBezTo>
                  <a:pt x="216" y="412"/>
                  <a:pt x="216" y="412"/>
                  <a:pt x="216" y="412"/>
                </a:cubicBezTo>
                <a:cubicBezTo>
                  <a:pt x="216" y="413"/>
                  <a:pt x="216" y="413"/>
                  <a:pt x="217" y="413"/>
                </a:cubicBezTo>
                <a:cubicBezTo>
                  <a:pt x="222" y="422"/>
                  <a:pt x="226" y="427"/>
                  <a:pt x="228" y="430"/>
                </a:cubicBezTo>
                <a:cubicBezTo>
                  <a:pt x="229" y="432"/>
                  <a:pt x="233" y="438"/>
                  <a:pt x="237" y="448"/>
                </a:cubicBezTo>
                <a:cubicBezTo>
                  <a:pt x="241" y="456"/>
                  <a:pt x="248" y="466"/>
                  <a:pt x="256" y="477"/>
                </a:cubicBezTo>
                <a:cubicBezTo>
                  <a:pt x="69" y="477"/>
                  <a:pt x="69" y="477"/>
                  <a:pt x="69" y="477"/>
                </a:cubicBezTo>
                <a:cubicBezTo>
                  <a:pt x="31" y="477"/>
                  <a:pt x="0" y="446"/>
                  <a:pt x="0" y="408"/>
                </a:cubicBezTo>
                <a:cubicBezTo>
                  <a:pt x="0" y="69"/>
                  <a:pt x="0" y="69"/>
                  <a:pt x="0" y="69"/>
                </a:cubicBezTo>
                <a:cubicBezTo>
                  <a:pt x="0" y="31"/>
                  <a:pt x="31" y="0"/>
                  <a:pt x="69" y="0"/>
                </a:cubicBezTo>
                <a:cubicBezTo>
                  <a:pt x="627" y="0"/>
                  <a:pt x="627" y="0"/>
                  <a:pt x="627" y="0"/>
                </a:cubicBezTo>
                <a:cubicBezTo>
                  <a:pt x="665" y="0"/>
                  <a:pt x="696" y="31"/>
                  <a:pt x="696" y="69"/>
                </a:cubicBezTo>
                <a:close/>
                <a:moveTo>
                  <a:pt x="598" y="554"/>
                </a:moveTo>
                <a:cubicBezTo>
                  <a:pt x="582" y="539"/>
                  <a:pt x="568" y="525"/>
                  <a:pt x="564" y="521"/>
                </a:cubicBezTo>
                <a:cubicBezTo>
                  <a:pt x="556" y="511"/>
                  <a:pt x="543" y="492"/>
                  <a:pt x="541" y="484"/>
                </a:cubicBezTo>
                <a:cubicBezTo>
                  <a:pt x="539" y="476"/>
                  <a:pt x="521" y="374"/>
                  <a:pt x="518" y="364"/>
                </a:cubicBezTo>
                <a:cubicBezTo>
                  <a:pt x="511" y="334"/>
                  <a:pt x="495" y="292"/>
                  <a:pt x="461" y="293"/>
                </a:cubicBezTo>
                <a:cubicBezTo>
                  <a:pt x="454" y="293"/>
                  <a:pt x="448" y="299"/>
                  <a:pt x="448" y="299"/>
                </a:cubicBezTo>
                <a:cubicBezTo>
                  <a:pt x="448" y="299"/>
                  <a:pt x="439" y="276"/>
                  <a:pt x="417" y="274"/>
                </a:cubicBezTo>
                <a:cubicBezTo>
                  <a:pt x="402" y="273"/>
                  <a:pt x="394" y="281"/>
                  <a:pt x="394" y="281"/>
                </a:cubicBezTo>
                <a:cubicBezTo>
                  <a:pt x="394" y="281"/>
                  <a:pt x="384" y="259"/>
                  <a:pt x="373" y="255"/>
                </a:cubicBezTo>
                <a:cubicBezTo>
                  <a:pt x="362" y="252"/>
                  <a:pt x="346" y="255"/>
                  <a:pt x="342" y="259"/>
                </a:cubicBezTo>
                <a:cubicBezTo>
                  <a:pt x="339" y="264"/>
                  <a:pt x="334" y="267"/>
                  <a:pt x="333" y="277"/>
                </a:cubicBezTo>
                <a:cubicBezTo>
                  <a:pt x="331" y="287"/>
                  <a:pt x="331" y="303"/>
                  <a:pt x="331" y="303"/>
                </a:cubicBezTo>
                <a:cubicBezTo>
                  <a:pt x="331" y="303"/>
                  <a:pt x="300" y="230"/>
                  <a:pt x="295" y="215"/>
                </a:cubicBezTo>
                <a:cubicBezTo>
                  <a:pt x="290" y="198"/>
                  <a:pt x="276" y="149"/>
                  <a:pt x="271" y="141"/>
                </a:cubicBezTo>
                <a:cubicBezTo>
                  <a:pt x="266" y="132"/>
                  <a:pt x="262" y="121"/>
                  <a:pt x="249" y="123"/>
                </a:cubicBezTo>
                <a:cubicBezTo>
                  <a:pt x="237" y="124"/>
                  <a:pt x="223" y="133"/>
                  <a:pt x="228" y="158"/>
                </a:cubicBezTo>
                <a:cubicBezTo>
                  <a:pt x="232" y="183"/>
                  <a:pt x="244" y="224"/>
                  <a:pt x="249" y="243"/>
                </a:cubicBezTo>
                <a:cubicBezTo>
                  <a:pt x="254" y="262"/>
                  <a:pt x="282" y="331"/>
                  <a:pt x="289" y="354"/>
                </a:cubicBezTo>
                <a:cubicBezTo>
                  <a:pt x="295" y="376"/>
                  <a:pt x="295" y="384"/>
                  <a:pt x="295" y="384"/>
                </a:cubicBezTo>
                <a:cubicBezTo>
                  <a:pt x="295" y="384"/>
                  <a:pt x="284" y="367"/>
                  <a:pt x="278" y="360"/>
                </a:cubicBezTo>
                <a:cubicBezTo>
                  <a:pt x="272" y="352"/>
                  <a:pt x="266" y="347"/>
                  <a:pt x="266" y="347"/>
                </a:cubicBezTo>
                <a:cubicBezTo>
                  <a:pt x="266" y="347"/>
                  <a:pt x="255" y="327"/>
                  <a:pt x="240" y="319"/>
                </a:cubicBezTo>
                <a:cubicBezTo>
                  <a:pt x="224" y="310"/>
                  <a:pt x="203" y="303"/>
                  <a:pt x="191" y="314"/>
                </a:cubicBezTo>
                <a:cubicBezTo>
                  <a:pt x="179" y="325"/>
                  <a:pt x="191" y="333"/>
                  <a:pt x="196" y="336"/>
                </a:cubicBezTo>
                <a:cubicBezTo>
                  <a:pt x="201" y="340"/>
                  <a:pt x="210" y="347"/>
                  <a:pt x="213" y="351"/>
                </a:cubicBezTo>
                <a:cubicBezTo>
                  <a:pt x="215" y="356"/>
                  <a:pt x="226" y="379"/>
                  <a:pt x="230" y="383"/>
                </a:cubicBezTo>
                <a:cubicBezTo>
                  <a:pt x="233" y="388"/>
                  <a:pt x="246" y="407"/>
                  <a:pt x="250" y="413"/>
                </a:cubicBezTo>
                <a:cubicBezTo>
                  <a:pt x="254" y="418"/>
                  <a:pt x="260" y="430"/>
                  <a:pt x="263" y="437"/>
                </a:cubicBezTo>
                <a:cubicBezTo>
                  <a:pt x="266" y="444"/>
                  <a:pt x="276" y="459"/>
                  <a:pt x="291" y="474"/>
                </a:cubicBezTo>
                <a:cubicBezTo>
                  <a:pt x="306" y="489"/>
                  <a:pt x="379" y="553"/>
                  <a:pt x="393" y="567"/>
                </a:cubicBezTo>
                <a:cubicBezTo>
                  <a:pt x="401" y="575"/>
                  <a:pt x="421" y="596"/>
                  <a:pt x="440" y="616"/>
                </a:cubicBezTo>
                <a:cubicBezTo>
                  <a:pt x="459" y="634"/>
                  <a:pt x="610" y="565"/>
                  <a:pt x="598" y="55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ru-RU" sz="900">
              <a:solidFill>
                <a:prstClr val="black"/>
              </a:solidFill>
            </a:endParaRPr>
          </a:p>
        </p:txBody>
      </p:sp>
      <p:grpSp>
        <p:nvGrpSpPr>
          <p:cNvPr id="130" name="Group 129"/>
          <p:cNvGrpSpPr/>
          <p:nvPr/>
        </p:nvGrpSpPr>
        <p:grpSpPr>
          <a:xfrm>
            <a:off x="4733834" y="4546530"/>
            <a:ext cx="413859" cy="328923"/>
            <a:chOff x="3051629" y="6074099"/>
            <a:chExt cx="686196" cy="559234"/>
          </a:xfrm>
          <a:solidFill>
            <a:schemeClr val="accent1"/>
          </a:solidFill>
        </p:grpSpPr>
        <p:sp>
          <p:nvSpPr>
            <p:cNvPr id="131" name="Freeform 83"/>
            <p:cNvSpPr>
              <a:spLocks noEditPoints="1"/>
            </p:cNvSpPr>
            <p:nvPr/>
          </p:nvSpPr>
          <p:spPr bwMode="auto">
            <a:xfrm>
              <a:off x="3495993" y="6074099"/>
              <a:ext cx="241832" cy="250900"/>
            </a:xfrm>
            <a:custGeom>
              <a:avLst/>
              <a:gdLst>
                <a:gd name="T0" fmla="*/ 32 w 34"/>
                <a:gd name="T1" fmla="*/ 14 h 35"/>
                <a:gd name="T2" fmla="*/ 30 w 34"/>
                <a:gd name="T3" fmla="*/ 10 h 35"/>
                <a:gd name="T4" fmla="*/ 31 w 34"/>
                <a:gd name="T5" fmla="*/ 7 h 35"/>
                <a:gd name="T6" fmla="*/ 27 w 34"/>
                <a:gd name="T7" fmla="*/ 4 h 35"/>
                <a:gd name="T8" fmla="*/ 25 w 34"/>
                <a:gd name="T9" fmla="*/ 5 h 35"/>
                <a:gd name="T10" fmla="*/ 22 w 34"/>
                <a:gd name="T11" fmla="*/ 6 h 35"/>
                <a:gd name="T12" fmla="*/ 20 w 34"/>
                <a:gd name="T13" fmla="*/ 1 h 35"/>
                <a:gd name="T14" fmla="*/ 14 w 34"/>
                <a:gd name="T15" fmla="*/ 0 h 35"/>
                <a:gd name="T16" fmla="*/ 14 w 34"/>
                <a:gd name="T17" fmla="*/ 3 h 35"/>
                <a:gd name="T18" fmla="*/ 11 w 34"/>
                <a:gd name="T19" fmla="*/ 6 h 35"/>
                <a:gd name="T20" fmla="*/ 8 w 34"/>
                <a:gd name="T21" fmla="*/ 4 h 35"/>
                <a:gd name="T22" fmla="*/ 6 w 34"/>
                <a:gd name="T23" fmla="*/ 4 h 35"/>
                <a:gd name="T24" fmla="*/ 3 w 34"/>
                <a:gd name="T25" fmla="*/ 8 h 35"/>
                <a:gd name="T26" fmla="*/ 5 w 34"/>
                <a:gd name="T27" fmla="*/ 13 h 35"/>
                <a:gd name="T28" fmla="*/ 1 w 34"/>
                <a:gd name="T29" fmla="*/ 14 h 35"/>
                <a:gd name="T30" fmla="*/ 0 w 34"/>
                <a:gd name="T31" fmla="*/ 20 h 35"/>
                <a:gd name="T32" fmla="*/ 2 w 34"/>
                <a:gd name="T33" fmla="*/ 21 h 35"/>
                <a:gd name="T34" fmla="*/ 4 w 34"/>
                <a:gd name="T35" fmla="*/ 26 h 35"/>
                <a:gd name="T36" fmla="*/ 3 w 34"/>
                <a:gd name="T37" fmla="*/ 28 h 35"/>
                <a:gd name="T38" fmla="*/ 7 w 34"/>
                <a:gd name="T39" fmla="*/ 32 h 35"/>
                <a:gd name="T40" fmla="*/ 9 w 34"/>
                <a:gd name="T41" fmla="*/ 31 h 35"/>
                <a:gd name="T42" fmla="*/ 12 w 34"/>
                <a:gd name="T43" fmla="*/ 30 h 35"/>
                <a:gd name="T44" fmla="*/ 14 w 34"/>
                <a:gd name="T45" fmla="*/ 34 h 35"/>
                <a:gd name="T46" fmla="*/ 19 w 34"/>
                <a:gd name="T47" fmla="*/ 35 h 35"/>
                <a:gd name="T48" fmla="*/ 20 w 34"/>
                <a:gd name="T49" fmla="*/ 33 h 35"/>
                <a:gd name="T50" fmla="*/ 23 w 34"/>
                <a:gd name="T51" fmla="*/ 30 h 35"/>
                <a:gd name="T52" fmla="*/ 26 w 34"/>
                <a:gd name="T53" fmla="*/ 32 h 35"/>
                <a:gd name="T54" fmla="*/ 27 w 34"/>
                <a:gd name="T55" fmla="*/ 32 h 35"/>
                <a:gd name="T56" fmla="*/ 31 w 34"/>
                <a:gd name="T57" fmla="*/ 27 h 35"/>
                <a:gd name="T58" fmla="*/ 29 w 34"/>
                <a:gd name="T59" fmla="*/ 23 h 35"/>
                <a:gd name="T60" fmla="*/ 33 w 34"/>
                <a:gd name="T61" fmla="*/ 21 h 35"/>
                <a:gd name="T62" fmla="*/ 34 w 34"/>
                <a:gd name="T63" fmla="*/ 15 h 35"/>
                <a:gd name="T64" fmla="*/ 17 w 34"/>
                <a:gd name="T65" fmla="*/ 24 h 35"/>
                <a:gd name="T66" fmla="*/ 17 w 34"/>
                <a:gd name="T67" fmla="*/ 12 h 35"/>
                <a:gd name="T68" fmla="*/ 17 w 34"/>
                <a:gd name="T69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4" h="35">
                  <a:moveTo>
                    <a:pt x="33" y="14"/>
                  </a:moveTo>
                  <a:cubicBezTo>
                    <a:pt x="32" y="14"/>
                    <a:pt x="32" y="14"/>
                    <a:pt x="32" y="14"/>
                  </a:cubicBezTo>
                  <a:cubicBezTo>
                    <a:pt x="31" y="14"/>
                    <a:pt x="29" y="14"/>
                    <a:pt x="29" y="13"/>
                  </a:cubicBezTo>
                  <a:cubicBezTo>
                    <a:pt x="29" y="12"/>
                    <a:pt x="29" y="10"/>
                    <a:pt x="30" y="10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8"/>
                    <a:pt x="31" y="8"/>
                    <a:pt x="31" y="7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5"/>
                    <a:pt x="24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1" y="5"/>
                    <a:pt x="20" y="4"/>
                    <a:pt x="20" y="3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0"/>
                    <a:pt x="19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1"/>
                    <a:pt x="14" y="1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4"/>
                    <a:pt x="13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0" y="6"/>
                    <a:pt x="9" y="5"/>
                    <a:pt x="9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2"/>
                    <a:pt x="5" y="13"/>
                  </a:cubicBezTo>
                  <a:cubicBezTo>
                    <a:pt x="4" y="14"/>
                    <a:pt x="3" y="14"/>
                    <a:pt x="2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1"/>
                    <a:pt x="1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1"/>
                    <a:pt x="4" y="22"/>
                    <a:pt x="5" y="23"/>
                  </a:cubicBezTo>
                  <a:cubicBezTo>
                    <a:pt x="5" y="24"/>
                    <a:pt x="5" y="25"/>
                    <a:pt x="4" y="26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8"/>
                    <a:pt x="3" y="28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7" y="32"/>
                    <a:pt x="8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0"/>
                    <a:pt x="10" y="30"/>
                    <a:pt x="11" y="30"/>
                  </a:cubicBezTo>
                  <a:cubicBezTo>
                    <a:pt x="11" y="30"/>
                    <a:pt x="12" y="30"/>
                    <a:pt x="12" y="30"/>
                  </a:cubicBezTo>
                  <a:cubicBezTo>
                    <a:pt x="13" y="30"/>
                    <a:pt x="14" y="31"/>
                    <a:pt x="14" y="33"/>
                  </a:cubicBezTo>
                  <a:cubicBezTo>
                    <a:pt x="14" y="34"/>
                    <a:pt x="14" y="34"/>
                    <a:pt x="14" y="34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5"/>
                    <a:pt x="20" y="35"/>
                    <a:pt x="20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1"/>
                    <a:pt x="21" y="30"/>
                    <a:pt x="22" y="30"/>
                  </a:cubicBezTo>
                  <a:cubicBezTo>
                    <a:pt x="22" y="30"/>
                    <a:pt x="23" y="30"/>
                    <a:pt x="23" y="30"/>
                  </a:cubicBezTo>
                  <a:cubicBezTo>
                    <a:pt x="24" y="30"/>
                    <a:pt x="24" y="30"/>
                    <a:pt x="25" y="31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1" y="28"/>
                    <a:pt x="31" y="27"/>
                    <a:pt x="31" y="27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29" y="25"/>
                    <a:pt x="29" y="24"/>
                    <a:pt x="29" y="23"/>
                  </a:cubicBezTo>
                  <a:cubicBezTo>
                    <a:pt x="29" y="22"/>
                    <a:pt x="31" y="21"/>
                    <a:pt x="32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21"/>
                    <a:pt x="34" y="21"/>
                    <a:pt x="34" y="2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4"/>
                    <a:pt x="33" y="14"/>
                  </a:cubicBezTo>
                  <a:close/>
                  <a:moveTo>
                    <a:pt x="17" y="24"/>
                  </a:moveTo>
                  <a:cubicBezTo>
                    <a:pt x="14" y="24"/>
                    <a:pt x="11" y="21"/>
                    <a:pt x="11" y="18"/>
                  </a:cubicBezTo>
                  <a:cubicBezTo>
                    <a:pt x="11" y="14"/>
                    <a:pt x="14" y="12"/>
                    <a:pt x="17" y="12"/>
                  </a:cubicBezTo>
                  <a:cubicBezTo>
                    <a:pt x="20" y="12"/>
                    <a:pt x="23" y="14"/>
                    <a:pt x="23" y="18"/>
                  </a:cubicBezTo>
                  <a:cubicBezTo>
                    <a:pt x="23" y="21"/>
                    <a:pt x="20" y="24"/>
                    <a:pt x="1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solidFill>
                  <a:prstClr val="black"/>
                </a:solidFill>
              </a:endParaRPr>
            </a:p>
          </p:txBody>
        </p:sp>
        <p:grpSp>
          <p:nvGrpSpPr>
            <p:cNvPr id="132" name="Group 131"/>
            <p:cNvGrpSpPr/>
            <p:nvPr/>
          </p:nvGrpSpPr>
          <p:grpSpPr>
            <a:xfrm>
              <a:off x="3051629" y="6143624"/>
              <a:ext cx="486685" cy="489709"/>
              <a:chOff x="5394779" y="3952874"/>
              <a:chExt cx="486685" cy="489709"/>
            </a:xfrm>
            <a:grpFill/>
          </p:grpSpPr>
          <p:sp>
            <p:nvSpPr>
              <p:cNvPr id="133" name="Freeform 82"/>
              <p:cNvSpPr>
                <a:spLocks noEditPoints="1"/>
              </p:cNvSpPr>
              <p:nvPr/>
            </p:nvSpPr>
            <p:spPr bwMode="auto">
              <a:xfrm>
                <a:off x="5394779" y="3952874"/>
                <a:ext cx="486685" cy="489709"/>
              </a:xfrm>
              <a:custGeom>
                <a:avLst/>
                <a:gdLst>
                  <a:gd name="T0" fmla="*/ 63 w 68"/>
                  <a:gd name="T1" fmla="*/ 27 h 68"/>
                  <a:gd name="T2" fmla="*/ 59 w 68"/>
                  <a:gd name="T3" fmla="*/ 18 h 68"/>
                  <a:gd name="T4" fmla="*/ 61 w 68"/>
                  <a:gd name="T5" fmla="*/ 13 h 68"/>
                  <a:gd name="T6" fmla="*/ 53 w 68"/>
                  <a:gd name="T7" fmla="*/ 6 h 68"/>
                  <a:gd name="T8" fmla="*/ 50 w 68"/>
                  <a:gd name="T9" fmla="*/ 8 h 68"/>
                  <a:gd name="T10" fmla="*/ 44 w 68"/>
                  <a:gd name="T11" fmla="*/ 10 h 68"/>
                  <a:gd name="T12" fmla="*/ 40 w 68"/>
                  <a:gd name="T13" fmla="*/ 1 h 68"/>
                  <a:gd name="T14" fmla="*/ 29 w 68"/>
                  <a:gd name="T15" fmla="*/ 0 h 68"/>
                  <a:gd name="T16" fmla="*/ 27 w 68"/>
                  <a:gd name="T17" fmla="*/ 4 h 68"/>
                  <a:gd name="T18" fmla="*/ 22 w 68"/>
                  <a:gd name="T19" fmla="*/ 10 h 68"/>
                  <a:gd name="T20" fmla="*/ 16 w 68"/>
                  <a:gd name="T21" fmla="*/ 6 h 68"/>
                  <a:gd name="T22" fmla="*/ 13 w 68"/>
                  <a:gd name="T23" fmla="*/ 6 h 68"/>
                  <a:gd name="T24" fmla="*/ 6 w 68"/>
                  <a:gd name="T25" fmla="*/ 16 h 68"/>
                  <a:gd name="T26" fmla="*/ 10 w 68"/>
                  <a:gd name="T27" fmla="*/ 24 h 68"/>
                  <a:gd name="T28" fmla="*/ 1 w 68"/>
                  <a:gd name="T29" fmla="*/ 27 h 68"/>
                  <a:gd name="T30" fmla="*/ 0 w 68"/>
                  <a:gd name="T31" fmla="*/ 39 h 68"/>
                  <a:gd name="T32" fmla="*/ 4 w 68"/>
                  <a:gd name="T33" fmla="*/ 41 h 68"/>
                  <a:gd name="T34" fmla="*/ 8 w 68"/>
                  <a:gd name="T35" fmla="*/ 50 h 68"/>
                  <a:gd name="T36" fmla="*/ 6 w 68"/>
                  <a:gd name="T37" fmla="*/ 55 h 68"/>
                  <a:gd name="T38" fmla="*/ 14 w 68"/>
                  <a:gd name="T39" fmla="*/ 62 h 68"/>
                  <a:gd name="T40" fmla="*/ 18 w 68"/>
                  <a:gd name="T41" fmla="*/ 59 h 68"/>
                  <a:gd name="T42" fmla="*/ 24 w 68"/>
                  <a:gd name="T43" fmla="*/ 58 h 68"/>
                  <a:gd name="T44" fmla="*/ 27 w 68"/>
                  <a:gd name="T45" fmla="*/ 66 h 68"/>
                  <a:gd name="T46" fmla="*/ 39 w 68"/>
                  <a:gd name="T47" fmla="*/ 68 h 68"/>
                  <a:gd name="T48" fmla="*/ 40 w 68"/>
                  <a:gd name="T49" fmla="*/ 63 h 68"/>
                  <a:gd name="T50" fmla="*/ 46 w 68"/>
                  <a:gd name="T51" fmla="*/ 58 h 68"/>
                  <a:gd name="T52" fmla="*/ 52 w 68"/>
                  <a:gd name="T53" fmla="*/ 62 h 68"/>
                  <a:gd name="T54" fmla="*/ 55 w 68"/>
                  <a:gd name="T55" fmla="*/ 62 h 68"/>
                  <a:gd name="T56" fmla="*/ 61 w 68"/>
                  <a:gd name="T57" fmla="*/ 52 h 68"/>
                  <a:gd name="T58" fmla="*/ 58 w 68"/>
                  <a:gd name="T59" fmla="*/ 44 h 68"/>
                  <a:gd name="T60" fmla="*/ 66 w 68"/>
                  <a:gd name="T61" fmla="*/ 41 h 68"/>
                  <a:gd name="T62" fmla="*/ 68 w 68"/>
                  <a:gd name="T63" fmla="*/ 29 h 68"/>
                  <a:gd name="T64" fmla="*/ 34 w 68"/>
                  <a:gd name="T65" fmla="*/ 53 h 68"/>
                  <a:gd name="T66" fmla="*/ 34 w 68"/>
                  <a:gd name="T67" fmla="*/ 14 h 68"/>
                  <a:gd name="T68" fmla="*/ 34 w 68"/>
                  <a:gd name="T69" fmla="*/ 5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8" h="68">
                    <a:moveTo>
                      <a:pt x="66" y="27"/>
                    </a:moveTo>
                    <a:cubicBezTo>
                      <a:pt x="63" y="27"/>
                      <a:pt x="63" y="27"/>
                      <a:pt x="63" y="27"/>
                    </a:cubicBezTo>
                    <a:cubicBezTo>
                      <a:pt x="61" y="27"/>
                      <a:pt x="59" y="26"/>
                      <a:pt x="58" y="24"/>
                    </a:cubicBezTo>
                    <a:cubicBezTo>
                      <a:pt x="57" y="22"/>
                      <a:pt x="58" y="19"/>
                      <a:pt x="59" y="18"/>
                    </a:cubicBezTo>
                    <a:cubicBezTo>
                      <a:pt x="61" y="16"/>
                      <a:pt x="61" y="16"/>
                      <a:pt x="61" y="16"/>
                    </a:cubicBezTo>
                    <a:cubicBezTo>
                      <a:pt x="62" y="15"/>
                      <a:pt x="62" y="14"/>
                      <a:pt x="61" y="13"/>
                    </a:cubicBezTo>
                    <a:cubicBezTo>
                      <a:pt x="55" y="6"/>
                      <a:pt x="55" y="6"/>
                      <a:pt x="55" y="6"/>
                    </a:cubicBezTo>
                    <a:cubicBezTo>
                      <a:pt x="54" y="6"/>
                      <a:pt x="54" y="6"/>
                      <a:pt x="53" y="6"/>
                    </a:cubicBezTo>
                    <a:cubicBezTo>
                      <a:pt x="53" y="6"/>
                      <a:pt x="52" y="6"/>
                      <a:pt x="52" y="6"/>
                    </a:cubicBezTo>
                    <a:cubicBezTo>
                      <a:pt x="50" y="8"/>
                      <a:pt x="50" y="8"/>
                      <a:pt x="50" y="8"/>
                    </a:cubicBezTo>
                    <a:cubicBezTo>
                      <a:pt x="49" y="9"/>
                      <a:pt x="47" y="10"/>
                      <a:pt x="46" y="10"/>
                    </a:cubicBezTo>
                    <a:cubicBezTo>
                      <a:pt x="45" y="10"/>
                      <a:pt x="44" y="10"/>
                      <a:pt x="44" y="10"/>
                    </a:cubicBezTo>
                    <a:cubicBezTo>
                      <a:pt x="42" y="9"/>
                      <a:pt x="40" y="7"/>
                      <a:pt x="40" y="4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0" y="1"/>
                      <a:pt x="40" y="0"/>
                      <a:pt x="39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8" y="0"/>
                      <a:pt x="27" y="1"/>
                      <a:pt x="27" y="1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7" y="7"/>
                      <a:pt x="26" y="9"/>
                      <a:pt x="24" y="10"/>
                    </a:cubicBezTo>
                    <a:cubicBezTo>
                      <a:pt x="23" y="10"/>
                      <a:pt x="23" y="10"/>
                      <a:pt x="22" y="10"/>
                    </a:cubicBezTo>
                    <a:cubicBezTo>
                      <a:pt x="20" y="10"/>
                      <a:pt x="19" y="9"/>
                      <a:pt x="18" y="8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6"/>
                      <a:pt x="15" y="6"/>
                      <a:pt x="14" y="6"/>
                    </a:cubicBezTo>
                    <a:cubicBezTo>
                      <a:pt x="14" y="6"/>
                      <a:pt x="13" y="6"/>
                      <a:pt x="13" y="6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4"/>
                      <a:pt x="6" y="15"/>
                      <a:pt x="6" y="16"/>
                    </a:cubicBezTo>
                    <a:cubicBezTo>
                      <a:pt x="8" y="18"/>
                      <a:pt x="8" y="18"/>
                      <a:pt x="8" y="18"/>
                    </a:cubicBezTo>
                    <a:cubicBezTo>
                      <a:pt x="10" y="19"/>
                      <a:pt x="10" y="22"/>
                      <a:pt x="10" y="24"/>
                    </a:cubicBezTo>
                    <a:cubicBezTo>
                      <a:pt x="9" y="26"/>
                      <a:pt x="7" y="27"/>
                      <a:pt x="4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0" y="27"/>
                      <a:pt x="0" y="28"/>
                      <a:pt x="0" y="2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40"/>
                      <a:pt x="0" y="41"/>
                      <a:pt x="1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7" y="41"/>
                      <a:pt x="9" y="42"/>
                      <a:pt x="10" y="44"/>
                    </a:cubicBezTo>
                    <a:cubicBezTo>
                      <a:pt x="10" y="46"/>
                      <a:pt x="10" y="49"/>
                      <a:pt x="8" y="50"/>
                    </a:cubicBezTo>
                    <a:cubicBezTo>
                      <a:pt x="6" y="52"/>
                      <a:pt x="6" y="52"/>
                      <a:pt x="6" y="52"/>
                    </a:cubicBezTo>
                    <a:cubicBezTo>
                      <a:pt x="6" y="53"/>
                      <a:pt x="6" y="54"/>
                      <a:pt x="6" y="55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13" y="62"/>
                      <a:pt x="14" y="62"/>
                      <a:pt x="14" y="62"/>
                    </a:cubicBezTo>
                    <a:cubicBezTo>
                      <a:pt x="15" y="62"/>
                      <a:pt x="15" y="62"/>
                      <a:pt x="16" y="62"/>
                    </a:cubicBezTo>
                    <a:cubicBezTo>
                      <a:pt x="18" y="59"/>
                      <a:pt x="18" y="59"/>
                      <a:pt x="18" y="59"/>
                    </a:cubicBezTo>
                    <a:cubicBezTo>
                      <a:pt x="19" y="58"/>
                      <a:pt x="20" y="58"/>
                      <a:pt x="22" y="58"/>
                    </a:cubicBezTo>
                    <a:cubicBezTo>
                      <a:pt x="23" y="58"/>
                      <a:pt x="23" y="58"/>
                      <a:pt x="24" y="58"/>
                    </a:cubicBezTo>
                    <a:cubicBezTo>
                      <a:pt x="26" y="59"/>
                      <a:pt x="27" y="61"/>
                      <a:pt x="27" y="63"/>
                    </a:cubicBezTo>
                    <a:cubicBezTo>
                      <a:pt x="27" y="66"/>
                      <a:pt x="27" y="66"/>
                      <a:pt x="27" y="66"/>
                    </a:cubicBezTo>
                    <a:cubicBezTo>
                      <a:pt x="27" y="67"/>
                      <a:pt x="28" y="68"/>
                      <a:pt x="29" y="68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0" y="68"/>
                      <a:pt x="40" y="67"/>
                      <a:pt x="40" y="66"/>
                    </a:cubicBezTo>
                    <a:cubicBezTo>
                      <a:pt x="40" y="63"/>
                      <a:pt x="40" y="63"/>
                      <a:pt x="40" y="63"/>
                    </a:cubicBezTo>
                    <a:cubicBezTo>
                      <a:pt x="40" y="61"/>
                      <a:pt x="42" y="59"/>
                      <a:pt x="44" y="58"/>
                    </a:cubicBezTo>
                    <a:cubicBezTo>
                      <a:pt x="44" y="58"/>
                      <a:pt x="45" y="58"/>
                      <a:pt x="46" y="58"/>
                    </a:cubicBezTo>
                    <a:cubicBezTo>
                      <a:pt x="47" y="58"/>
                      <a:pt x="49" y="58"/>
                      <a:pt x="50" y="59"/>
                    </a:cubicBezTo>
                    <a:cubicBezTo>
                      <a:pt x="52" y="62"/>
                      <a:pt x="52" y="62"/>
                      <a:pt x="52" y="62"/>
                    </a:cubicBezTo>
                    <a:cubicBezTo>
                      <a:pt x="52" y="62"/>
                      <a:pt x="53" y="62"/>
                      <a:pt x="53" y="62"/>
                    </a:cubicBezTo>
                    <a:cubicBezTo>
                      <a:pt x="54" y="62"/>
                      <a:pt x="54" y="62"/>
                      <a:pt x="55" y="62"/>
                    </a:cubicBezTo>
                    <a:cubicBezTo>
                      <a:pt x="61" y="55"/>
                      <a:pt x="61" y="55"/>
                      <a:pt x="61" y="55"/>
                    </a:cubicBezTo>
                    <a:cubicBezTo>
                      <a:pt x="62" y="54"/>
                      <a:pt x="62" y="53"/>
                      <a:pt x="61" y="52"/>
                    </a:cubicBezTo>
                    <a:cubicBezTo>
                      <a:pt x="59" y="50"/>
                      <a:pt x="59" y="50"/>
                      <a:pt x="59" y="50"/>
                    </a:cubicBezTo>
                    <a:cubicBezTo>
                      <a:pt x="58" y="49"/>
                      <a:pt x="57" y="46"/>
                      <a:pt x="58" y="44"/>
                    </a:cubicBezTo>
                    <a:cubicBezTo>
                      <a:pt x="59" y="42"/>
                      <a:pt x="61" y="41"/>
                      <a:pt x="63" y="41"/>
                    </a:cubicBezTo>
                    <a:cubicBezTo>
                      <a:pt x="66" y="41"/>
                      <a:pt x="66" y="41"/>
                      <a:pt x="66" y="41"/>
                    </a:cubicBezTo>
                    <a:cubicBezTo>
                      <a:pt x="67" y="41"/>
                      <a:pt x="68" y="40"/>
                      <a:pt x="68" y="39"/>
                    </a:cubicBezTo>
                    <a:cubicBezTo>
                      <a:pt x="68" y="29"/>
                      <a:pt x="68" y="29"/>
                      <a:pt x="68" y="29"/>
                    </a:cubicBezTo>
                    <a:cubicBezTo>
                      <a:pt x="68" y="28"/>
                      <a:pt x="67" y="27"/>
                      <a:pt x="66" y="27"/>
                    </a:cubicBezTo>
                    <a:close/>
                    <a:moveTo>
                      <a:pt x="34" y="53"/>
                    </a:moveTo>
                    <a:cubicBezTo>
                      <a:pt x="23" y="53"/>
                      <a:pt x="14" y="45"/>
                      <a:pt x="14" y="34"/>
                    </a:cubicBezTo>
                    <a:cubicBezTo>
                      <a:pt x="14" y="23"/>
                      <a:pt x="23" y="14"/>
                      <a:pt x="34" y="14"/>
                    </a:cubicBezTo>
                    <a:cubicBezTo>
                      <a:pt x="45" y="14"/>
                      <a:pt x="53" y="23"/>
                      <a:pt x="53" y="34"/>
                    </a:cubicBezTo>
                    <a:cubicBezTo>
                      <a:pt x="53" y="45"/>
                      <a:pt x="45" y="53"/>
                      <a:pt x="34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Oval 84"/>
              <p:cNvSpPr>
                <a:spLocks noChangeArrowheads="1"/>
              </p:cNvSpPr>
              <p:nvPr/>
            </p:nvSpPr>
            <p:spPr bwMode="auto">
              <a:xfrm>
                <a:off x="5536853" y="4097974"/>
                <a:ext cx="202534" cy="199511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4295" tIns="37148" rIns="74295" bIns="37148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35" name="Freeform 137"/>
          <p:cNvSpPr>
            <a:spLocks noEditPoints="1"/>
          </p:cNvSpPr>
          <p:nvPr/>
        </p:nvSpPr>
        <p:spPr bwMode="auto">
          <a:xfrm>
            <a:off x="3843222" y="4023075"/>
            <a:ext cx="356332" cy="312183"/>
          </a:xfrm>
          <a:custGeom>
            <a:avLst/>
            <a:gdLst>
              <a:gd name="T0" fmla="*/ 93 w 285"/>
              <a:gd name="T1" fmla="*/ 252 h 263"/>
              <a:gd name="T2" fmla="*/ 72 w 285"/>
              <a:gd name="T3" fmla="*/ 252 h 263"/>
              <a:gd name="T4" fmla="*/ 132 w 285"/>
              <a:gd name="T5" fmla="*/ 252 h 263"/>
              <a:gd name="T6" fmla="*/ 111 w 285"/>
              <a:gd name="T7" fmla="*/ 252 h 263"/>
              <a:gd name="T8" fmla="*/ 171 w 285"/>
              <a:gd name="T9" fmla="*/ 252 h 263"/>
              <a:gd name="T10" fmla="*/ 150 w 285"/>
              <a:gd name="T11" fmla="*/ 252 h 263"/>
              <a:gd name="T12" fmla="*/ 210 w 285"/>
              <a:gd name="T13" fmla="*/ 252 h 263"/>
              <a:gd name="T14" fmla="*/ 189 w 285"/>
              <a:gd name="T15" fmla="*/ 252 h 263"/>
              <a:gd name="T16" fmla="*/ 72 w 285"/>
              <a:gd name="T17" fmla="*/ 10 h 263"/>
              <a:gd name="T18" fmla="*/ 93 w 285"/>
              <a:gd name="T19" fmla="*/ 10 h 263"/>
              <a:gd name="T20" fmla="*/ 111 w 285"/>
              <a:gd name="T21" fmla="*/ 10 h 263"/>
              <a:gd name="T22" fmla="*/ 132 w 285"/>
              <a:gd name="T23" fmla="*/ 10 h 263"/>
              <a:gd name="T24" fmla="*/ 150 w 285"/>
              <a:gd name="T25" fmla="*/ 10 h 263"/>
              <a:gd name="T26" fmla="*/ 171 w 285"/>
              <a:gd name="T27" fmla="*/ 10 h 263"/>
              <a:gd name="T28" fmla="*/ 189 w 285"/>
              <a:gd name="T29" fmla="*/ 10 h 263"/>
              <a:gd name="T30" fmla="*/ 210 w 285"/>
              <a:gd name="T31" fmla="*/ 10 h 263"/>
              <a:gd name="T32" fmla="*/ 19 w 285"/>
              <a:gd name="T33" fmla="*/ 86 h 263"/>
              <a:gd name="T34" fmla="*/ 46 w 285"/>
              <a:gd name="T35" fmla="*/ 76 h 263"/>
              <a:gd name="T36" fmla="*/ 0 w 285"/>
              <a:gd name="T37" fmla="*/ 80 h 263"/>
              <a:gd name="T38" fmla="*/ 4 w 285"/>
              <a:gd name="T39" fmla="*/ 105 h 263"/>
              <a:gd name="T40" fmla="*/ 19 w 285"/>
              <a:gd name="T41" fmla="*/ 124 h 263"/>
              <a:gd name="T42" fmla="*/ 46 w 285"/>
              <a:gd name="T43" fmla="*/ 114 h 263"/>
              <a:gd name="T44" fmla="*/ 19 w 285"/>
              <a:gd name="T45" fmla="*/ 96 h 263"/>
              <a:gd name="T46" fmla="*/ 7 w 285"/>
              <a:gd name="T47" fmla="*/ 140 h 263"/>
              <a:gd name="T48" fmla="*/ 0 w 285"/>
              <a:gd name="T49" fmla="*/ 171 h 263"/>
              <a:gd name="T50" fmla="*/ 22 w 285"/>
              <a:gd name="T51" fmla="*/ 152 h 263"/>
              <a:gd name="T52" fmla="*/ 24 w 285"/>
              <a:gd name="T53" fmla="*/ 134 h 263"/>
              <a:gd name="T54" fmla="*/ 7 w 285"/>
              <a:gd name="T55" fmla="*/ 178 h 263"/>
              <a:gd name="T56" fmla="*/ 0 w 285"/>
              <a:gd name="T57" fmla="*/ 201 h 263"/>
              <a:gd name="T58" fmla="*/ 19 w 285"/>
              <a:gd name="T59" fmla="*/ 194 h 263"/>
              <a:gd name="T60" fmla="*/ 46 w 285"/>
              <a:gd name="T61" fmla="*/ 172 h 263"/>
              <a:gd name="T62" fmla="*/ 262 w 285"/>
              <a:gd name="T63" fmla="*/ 57 h 263"/>
              <a:gd name="T64" fmla="*/ 262 w 285"/>
              <a:gd name="T65" fmla="*/ 76 h 263"/>
              <a:gd name="T66" fmla="*/ 285 w 285"/>
              <a:gd name="T67" fmla="*/ 95 h 263"/>
              <a:gd name="T68" fmla="*/ 278 w 285"/>
              <a:gd name="T69" fmla="*/ 102 h 263"/>
              <a:gd name="T70" fmla="*/ 237 w 285"/>
              <a:gd name="T71" fmla="*/ 96 h 263"/>
              <a:gd name="T72" fmla="*/ 266 w 285"/>
              <a:gd name="T73" fmla="*/ 118 h 263"/>
              <a:gd name="T74" fmla="*/ 285 w 285"/>
              <a:gd name="T75" fmla="*/ 118 h 263"/>
              <a:gd name="T76" fmla="*/ 278 w 285"/>
              <a:gd name="T77" fmla="*/ 140 h 263"/>
              <a:gd name="T78" fmla="*/ 237 w 285"/>
              <a:gd name="T79" fmla="*/ 134 h 263"/>
              <a:gd name="T80" fmla="*/ 266 w 285"/>
              <a:gd name="T81" fmla="*/ 156 h 263"/>
              <a:gd name="T82" fmla="*/ 285 w 285"/>
              <a:gd name="T83" fmla="*/ 156 h 263"/>
              <a:gd name="T84" fmla="*/ 278 w 285"/>
              <a:gd name="T85" fmla="*/ 178 h 263"/>
              <a:gd name="T86" fmla="*/ 237 w 285"/>
              <a:gd name="T87" fmla="*/ 172 h 263"/>
              <a:gd name="T88" fmla="*/ 266 w 285"/>
              <a:gd name="T89" fmla="*/ 194 h 263"/>
              <a:gd name="T90" fmla="*/ 285 w 285"/>
              <a:gd name="T91" fmla="*/ 201 h 263"/>
              <a:gd name="T92" fmla="*/ 278 w 285"/>
              <a:gd name="T93" fmla="*/ 178 h 263"/>
              <a:gd name="T94" fmla="*/ 68 w 285"/>
              <a:gd name="T95" fmla="*/ 38 h 263"/>
              <a:gd name="T96" fmla="*/ 58 w 285"/>
              <a:gd name="T97" fmla="*/ 49 h 263"/>
              <a:gd name="T98" fmla="*/ 61 w 285"/>
              <a:gd name="T99" fmla="*/ 203 h 263"/>
              <a:gd name="T100" fmla="*/ 223 w 285"/>
              <a:gd name="T101" fmla="*/ 203 h 263"/>
              <a:gd name="T102" fmla="*/ 226 w 285"/>
              <a:gd name="T103" fmla="*/ 49 h 263"/>
              <a:gd name="T104" fmla="*/ 181 w 285"/>
              <a:gd name="T105" fmla="*/ 161 h 263"/>
              <a:gd name="T106" fmla="*/ 181 w 285"/>
              <a:gd name="T107" fmla="*/ 83 h 2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85" h="263">
                <a:moveTo>
                  <a:pt x="72" y="252"/>
                </a:moveTo>
                <a:cubicBezTo>
                  <a:pt x="72" y="258"/>
                  <a:pt x="77" y="263"/>
                  <a:pt x="82" y="263"/>
                </a:cubicBezTo>
                <a:cubicBezTo>
                  <a:pt x="88" y="263"/>
                  <a:pt x="93" y="258"/>
                  <a:pt x="93" y="252"/>
                </a:cubicBezTo>
                <a:cubicBezTo>
                  <a:pt x="93" y="218"/>
                  <a:pt x="93" y="218"/>
                  <a:pt x="93" y="218"/>
                </a:cubicBezTo>
                <a:cubicBezTo>
                  <a:pt x="72" y="218"/>
                  <a:pt x="72" y="218"/>
                  <a:pt x="72" y="218"/>
                </a:cubicBezTo>
                <a:lnTo>
                  <a:pt x="72" y="252"/>
                </a:lnTo>
                <a:close/>
                <a:moveTo>
                  <a:pt x="111" y="252"/>
                </a:moveTo>
                <a:cubicBezTo>
                  <a:pt x="111" y="258"/>
                  <a:pt x="116" y="263"/>
                  <a:pt x="121" y="263"/>
                </a:cubicBezTo>
                <a:cubicBezTo>
                  <a:pt x="127" y="263"/>
                  <a:pt x="132" y="258"/>
                  <a:pt x="132" y="252"/>
                </a:cubicBezTo>
                <a:cubicBezTo>
                  <a:pt x="132" y="218"/>
                  <a:pt x="132" y="218"/>
                  <a:pt x="132" y="218"/>
                </a:cubicBezTo>
                <a:cubicBezTo>
                  <a:pt x="111" y="218"/>
                  <a:pt x="111" y="218"/>
                  <a:pt x="111" y="218"/>
                </a:cubicBezTo>
                <a:lnTo>
                  <a:pt x="111" y="252"/>
                </a:lnTo>
                <a:close/>
                <a:moveTo>
                  <a:pt x="150" y="252"/>
                </a:moveTo>
                <a:cubicBezTo>
                  <a:pt x="150" y="258"/>
                  <a:pt x="155" y="263"/>
                  <a:pt x="160" y="263"/>
                </a:cubicBezTo>
                <a:cubicBezTo>
                  <a:pt x="166" y="263"/>
                  <a:pt x="171" y="258"/>
                  <a:pt x="171" y="252"/>
                </a:cubicBezTo>
                <a:cubicBezTo>
                  <a:pt x="171" y="218"/>
                  <a:pt x="171" y="218"/>
                  <a:pt x="171" y="218"/>
                </a:cubicBezTo>
                <a:cubicBezTo>
                  <a:pt x="150" y="218"/>
                  <a:pt x="150" y="218"/>
                  <a:pt x="150" y="218"/>
                </a:cubicBezTo>
                <a:lnTo>
                  <a:pt x="150" y="252"/>
                </a:lnTo>
                <a:close/>
                <a:moveTo>
                  <a:pt x="189" y="252"/>
                </a:moveTo>
                <a:cubicBezTo>
                  <a:pt x="189" y="258"/>
                  <a:pt x="193" y="263"/>
                  <a:pt x="199" y="263"/>
                </a:cubicBezTo>
                <a:cubicBezTo>
                  <a:pt x="205" y="263"/>
                  <a:pt x="210" y="258"/>
                  <a:pt x="210" y="252"/>
                </a:cubicBezTo>
                <a:cubicBezTo>
                  <a:pt x="210" y="218"/>
                  <a:pt x="210" y="218"/>
                  <a:pt x="210" y="218"/>
                </a:cubicBezTo>
                <a:cubicBezTo>
                  <a:pt x="189" y="218"/>
                  <a:pt x="189" y="218"/>
                  <a:pt x="189" y="218"/>
                </a:cubicBezTo>
                <a:lnTo>
                  <a:pt x="189" y="252"/>
                </a:lnTo>
                <a:close/>
                <a:moveTo>
                  <a:pt x="93" y="10"/>
                </a:moveTo>
                <a:cubicBezTo>
                  <a:pt x="93" y="4"/>
                  <a:pt x="88" y="0"/>
                  <a:pt x="82" y="0"/>
                </a:cubicBezTo>
                <a:cubicBezTo>
                  <a:pt x="77" y="0"/>
                  <a:pt x="72" y="4"/>
                  <a:pt x="72" y="10"/>
                </a:cubicBezTo>
                <a:cubicBezTo>
                  <a:pt x="72" y="27"/>
                  <a:pt x="72" y="27"/>
                  <a:pt x="72" y="27"/>
                </a:cubicBezTo>
                <a:cubicBezTo>
                  <a:pt x="93" y="27"/>
                  <a:pt x="93" y="27"/>
                  <a:pt x="93" y="27"/>
                </a:cubicBezTo>
                <a:lnTo>
                  <a:pt x="93" y="10"/>
                </a:lnTo>
                <a:close/>
                <a:moveTo>
                  <a:pt x="132" y="10"/>
                </a:moveTo>
                <a:cubicBezTo>
                  <a:pt x="132" y="4"/>
                  <a:pt x="127" y="0"/>
                  <a:pt x="121" y="0"/>
                </a:cubicBezTo>
                <a:cubicBezTo>
                  <a:pt x="116" y="0"/>
                  <a:pt x="111" y="4"/>
                  <a:pt x="111" y="10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32" y="27"/>
                  <a:pt x="132" y="27"/>
                  <a:pt x="132" y="27"/>
                </a:cubicBezTo>
                <a:lnTo>
                  <a:pt x="132" y="10"/>
                </a:lnTo>
                <a:close/>
                <a:moveTo>
                  <a:pt x="171" y="10"/>
                </a:moveTo>
                <a:cubicBezTo>
                  <a:pt x="171" y="4"/>
                  <a:pt x="166" y="0"/>
                  <a:pt x="160" y="0"/>
                </a:cubicBezTo>
                <a:cubicBezTo>
                  <a:pt x="155" y="0"/>
                  <a:pt x="150" y="4"/>
                  <a:pt x="150" y="10"/>
                </a:cubicBezTo>
                <a:cubicBezTo>
                  <a:pt x="150" y="27"/>
                  <a:pt x="150" y="27"/>
                  <a:pt x="150" y="27"/>
                </a:cubicBezTo>
                <a:cubicBezTo>
                  <a:pt x="171" y="27"/>
                  <a:pt x="171" y="27"/>
                  <a:pt x="171" y="27"/>
                </a:cubicBezTo>
                <a:lnTo>
                  <a:pt x="171" y="10"/>
                </a:lnTo>
                <a:close/>
                <a:moveTo>
                  <a:pt x="210" y="10"/>
                </a:moveTo>
                <a:cubicBezTo>
                  <a:pt x="210" y="4"/>
                  <a:pt x="205" y="0"/>
                  <a:pt x="199" y="0"/>
                </a:cubicBezTo>
                <a:cubicBezTo>
                  <a:pt x="193" y="0"/>
                  <a:pt x="189" y="4"/>
                  <a:pt x="189" y="10"/>
                </a:cubicBezTo>
                <a:cubicBezTo>
                  <a:pt x="189" y="27"/>
                  <a:pt x="189" y="27"/>
                  <a:pt x="189" y="27"/>
                </a:cubicBezTo>
                <a:cubicBezTo>
                  <a:pt x="210" y="27"/>
                  <a:pt x="210" y="27"/>
                  <a:pt x="210" y="27"/>
                </a:cubicBezTo>
                <a:lnTo>
                  <a:pt x="210" y="10"/>
                </a:lnTo>
                <a:close/>
                <a:moveTo>
                  <a:pt x="0" y="80"/>
                </a:moveTo>
                <a:cubicBezTo>
                  <a:pt x="0" y="95"/>
                  <a:pt x="0" y="95"/>
                  <a:pt x="0" y="95"/>
                </a:cubicBezTo>
                <a:cubicBezTo>
                  <a:pt x="5" y="90"/>
                  <a:pt x="11" y="87"/>
                  <a:pt x="19" y="86"/>
                </a:cubicBezTo>
                <a:cubicBezTo>
                  <a:pt x="19" y="80"/>
                  <a:pt x="19" y="80"/>
                  <a:pt x="19" y="80"/>
                </a:cubicBezTo>
                <a:cubicBezTo>
                  <a:pt x="19" y="78"/>
                  <a:pt x="20" y="76"/>
                  <a:pt x="22" y="76"/>
                </a:cubicBezTo>
                <a:cubicBezTo>
                  <a:pt x="46" y="76"/>
                  <a:pt x="46" y="76"/>
                  <a:pt x="46" y="76"/>
                </a:cubicBezTo>
                <a:cubicBezTo>
                  <a:pt x="46" y="57"/>
                  <a:pt x="46" y="57"/>
                  <a:pt x="46" y="57"/>
                </a:cubicBezTo>
                <a:cubicBezTo>
                  <a:pt x="22" y="57"/>
                  <a:pt x="22" y="57"/>
                  <a:pt x="22" y="57"/>
                </a:cubicBezTo>
                <a:cubicBezTo>
                  <a:pt x="10" y="57"/>
                  <a:pt x="0" y="67"/>
                  <a:pt x="0" y="80"/>
                </a:cubicBezTo>
                <a:close/>
                <a:moveTo>
                  <a:pt x="19" y="96"/>
                </a:moveTo>
                <a:cubicBezTo>
                  <a:pt x="14" y="97"/>
                  <a:pt x="10" y="99"/>
                  <a:pt x="6" y="102"/>
                </a:cubicBezTo>
                <a:cubicBezTo>
                  <a:pt x="5" y="103"/>
                  <a:pt x="4" y="104"/>
                  <a:pt x="4" y="105"/>
                </a:cubicBezTo>
                <a:cubicBezTo>
                  <a:pt x="1" y="109"/>
                  <a:pt x="0" y="113"/>
                  <a:pt x="0" y="118"/>
                </a:cubicBezTo>
                <a:cubicBezTo>
                  <a:pt x="0" y="133"/>
                  <a:pt x="0" y="133"/>
                  <a:pt x="0" y="133"/>
                </a:cubicBezTo>
                <a:cubicBezTo>
                  <a:pt x="5" y="128"/>
                  <a:pt x="11" y="125"/>
                  <a:pt x="19" y="124"/>
                </a:cubicBezTo>
                <a:cubicBezTo>
                  <a:pt x="19" y="118"/>
                  <a:pt x="19" y="118"/>
                  <a:pt x="19" y="118"/>
                </a:cubicBezTo>
                <a:cubicBezTo>
                  <a:pt x="19" y="116"/>
                  <a:pt x="20" y="114"/>
                  <a:pt x="22" y="114"/>
                </a:cubicBezTo>
                <a:cubicBezTo>
                  <a:pt x="46" y="114"/>
                  <a:pt x="46" y="114"/>
                  <a:pt x="46" y="114"/>
                </a:cubicBezTo>
                <a:cubicBezTo>
                  <a:pt x="46" y="96"/>
                  <a:pt x="46" y="96"/>
                  <a:pt x="46" y="96"/>
                </a:cubicBezTo>
                <a:cubicBezTo>
                  <a:pt x="22" y="96"/>
                  <a:pt x="22" y="96"/>
                  <a:pt x="22" y="96"/>
                </a:cubicBezTo>
                <a:cubicBezTo>
                  <a:pt x="21" y="96"/>
                  <a:pt x="20" y="96"/>
                  <a:pt x="19" y="96"/>
                </a:cubicBezTo>
                <a:close/>
                <a:moveTo>
                  <a:pt x="22" y="134"/>
                </a:moveTo>
                <a:cubicBezTo>
                  <a:pt x="21" y="134"/>
                  <a:pt x="20" y="134"/>
                  <a:pt x="19" y="134"/>
                </a:cubicBezTo>
                <a:cubicBezTo>
                  <a:pt x="14" y="135"/>
                  <a:pt x="10" y="137"/>
                  <a:pt x="7" y="140"/>
                </a:cubicBezTo>
                <a:cubicBezTo>
                  <a:pt x="5" y="141"/>
                  <a:pt x="5" y="142"/>
                  <a:pt x="4" y="143"/>
                </a:cubicBezTo>
                <a:cubicBezTo>
                  <a:pt x="1" y="147"/>
                  <a:pt x="0" y="151"/>
                  <a:pt x="0" y="156"/>
                </a:cubicBezTo>
                <a:cubicBezTo>
                  <a:pt x="0" y="171"/>
                  <a:pt x="0" y="171"/>
                  <a:pt x="0" y="171"/>
                </a:cubicBezTo>
                <a:cubicBezTo>
                  <a:pt x="5" y="166"/>
                  <a:pt x="11" y="163"/>
                  <a:pt x="19" y="162"/>
                </a:cubicBezTo>
                <a:cubicBezTo>
                  <a:pt x="19" y="156"/>
                  <a:pt x="19" y="156"/>
                  <a:pt x="19" y="156"/>
                </a:cubicBezTo>
                <a:cubicBezTo>
                  <a:pt x="19" y="154"/>
                  <a:pt x="20" y="152"/>
                  <a:pt x="22" y="152"/>
                </a:cubicBezTo>
                <a:cubicBezTo>
                  <a:pt x="46" y="152"/>
                  <a:pt x="46" y="152"/>
                  <a:pt x="46" y="152"/>
                </a:cubicBezTo>
                <a:cubicBezTo>
                  <a:pt x="46" y="134"/>
                  <a:pt x="46" y="134"/>
                  <a:pt x="46" y="134"/>
                </a:cubicBezTo>
                <a:cubicBezTo>
                  <a:pt x="24" y="134"/>
                  <a:pt x="24" y="134"/>
                  <a:pt x="24" y="134"/>
                </a:cubicBezTo>
                <a:lnTo>
                  <a:pt x="22" y="134"/>
                </a:lnTo>
                <a:close/>
                <a:moveTo>
                  <a:pt x="19" y="172"/>
                </a:moveTo>
                <a:cubicBezTo>
                  <a:pt x="14" y="173"/>
                  <a:pt x="10" y="175"/>
                  <a:pt x="7" y="178"/>
                </a:cubicBezTo>
                <a:cubicBezTo>
                  <a:pt x="5" y="179"/>
                  <a:pt x="5" y="180"/>
                  <a:pt x="4" y="181"/>
                </a:cubicBezTo>
                <a:cubicBezTo>
                  <a:pt x="1" y="185"/>
                  <a:pt x="0" y="189"/>
                  <a:pt x="0" y="194"/>
                </a:cubicBezTo>
                <a:cubicBezTo>
                  <a:pt x="0" y="201"/>
                  <a:pt x="0" y="201"/>
                  <a:pt x="0" y="201"/>
                </a:cubicBezTo>
                <a:cubicBezTo>
                  <a:pt x="0" y="207"/>
                  <a:pt x="4" y="211"/>
                  <a:pt x="9" y="211"/>
                </a:cubicBezTo>
                <a:cubicBezTo>
                  <a:pt x="14" y="211"/>
                  <a:pt x="19" y="207"/>
                  <a:pt x="19" y="201"/>
                </a:cubicBezTo>
                <a:cubicBezTo>
                  <a:pt x="19" y="194"/>
                  <a:pt x="19" y="194"/>
                  <a:pt x="19" y="194"/>
                </a:cubicBezTo>
                <a:cubicBezTo>
                  <a:pt x="19" y="192"/>
                  <a:pt x="20" y="190"/>
                  <a:pt x="22" y="190"/>
                </a:cubicBezTo>
                <a:cubicBezTo>
                  <a:pt x="46" y="190"/>
                  <a:pt x="46" y="190"/>
                  <a:pt x="46" y="190"/>
                </a:cubicBezTo>
                <a:cubicBezTo>
                  <a:pt x="46" y="172"/>
                  <a:pt x="46" y="172"/>
                  <a:pt x="46" y="172"/>
                </a:cubicBezTo>
                <a:cubicBezTo>
                  <a:pt x="22" y="172"/>
                  <a:pt x="22" y="172"/>
                  <a:pt x="22" y="172"/>
                </a:cubicBezTo>
                <a:cubicBezTo>
                  <a:pt x="21" y="172"/>
                  <a:pt x="20" y="172"/>
                  <a:pt x="19" y="172"/>
                </a:cubicBezTo>
                <a:close/>
                <a:moveTo>
                  <a:pt x="262" y="57"/>
                </a:moveTo>
                <a:cubicBezTo>
                  <a:pt x="237" y="57"/>
                  <a:pt x="237" y="57"/>
                  <a:pt x="237" y="57"/>
                </a:cubicBezTo>
                <a:cubicBezTo>
                  <a:pt x="237" y="76"/>
                  <a:pt x="237" y="76"/>
                  <a:pt x="237" y="76"/>
                </a:cubicBezTo>
                <a:cubicBezTo>
                  <a:pt x="262" y="76"/>
                  <a:pt x="262" y="76"/>
                  <a:pt x="262" y="76"/>
                </a:cubicBezTo>
                <a:cubicBezTo>
                  <a:pt x="264" y="76"/>
                  <a:pt x="266" y="78"/>
                  <a:pt x="266" y="80"/>
                </a:cubicBezTo>
                <a:cubicBezTo>
                  <a:pt x="266" y="86"/>
                  <a:pt x="266" y="86"/>
                  <a:pt x="266" y="86"/>
                </a:cubicBezTo>
                <a:cubicBezTo>
                  <a:pt x="273" y="87"/>
                  <a:pt x="280" y="90"/>
                  <a:pt x="285" y="95"/>
                </a:cubicBezTo>
                <a:cubicBezTo>
                  <a:pt x="285" y="80"/>
                  <a:pt x="285" y="80"/>
                  <a:pt x="285" y="80"/>
                </a:cubicBezTo>
                <a:cubicBezTo>
                  <a:pt x="285" y="67"/>
                  <a:pt x="275" y="57"/>
                  <a:pt x="262" y="57"/>
                </a:cubicBezTo>
                <a:close/>
                <a:moveTo>
                  <a:pt x="278" y="102"/>
                </a:moveTo>
                <a:cubicBezTo>
                  <a:pt x="275" y="99"/>
                  <a:pt x="271" y="97"/>
                  <a:pt x="266" y="96"/>
                </a:cubicBezTo>
                <a:cubicBezTo>
                  <a:pt x="265" y="96"/>
                  <a:pt x="263" y="96"/>
                  <a:pt x="262" y="96"/>
                </a:cubicBezTo>
                <a:cubicBezTo>
                  <a:pt x="237" y="96"/>
                  <a:pt x="237" y="96"/>
                  <a:pt x="237" y="96"/>
                </a:cubicBezTo>
                <a:cubicBezTo>
                  <a:pt x="237" y="114"/>
                  <a:pt x="237" y="114"/>
                  <a:pt x="237" y="114"/>
                </a:cubicBezTo>
                <a:cubicBezTo>
                  <a:pt x="262" y="114"/>
                  <a:pt x="262" y="114"/>
                  <a:pt x="262" y="114"/>
                </a:cubicBezTo>
                <a:cubicBezTo>
                  <a:pt x="264" y="114"/>
                  <a:pt x="266" y="116"/>
                  <a:pt x="266" y="118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3" y="125"/>
                  <a:pt x="280" y="128"/>
                  <a:pt x="285" y="133"/>
                </a:cubicBezTo>
                <a:cubicBezTo>
                  <a:pt x="285" y="118"/>
                  <a:pt x="285" y="118"/>
                  <a:pt x="285" y="118"/>
                </a:cubicBezTo>
                <a:cubicBezTo>
                  <a:pt x="285" y="113"/>
                  <a:pt x="283" y="109"/>
                  <a:pt x="281" y="105"/>
                </a:cubicBezTo>
                <a:cubicBezTo>
                  <a:pt x="280" y="104"/>
                  <a:pt x="279" y="103"/>
                  <a:pt x="278" y="102"/>
                </a:cubicBezTo>
                <a:close/>
                <a:moveTo>
                  <a:pt x="278" y="140"/>
                </a:moveTo>
                <a:cubicBezTo>
                  <a:pt x="275" y="137"/>
                  <a:pt x="271" y="135"/>
                  <a:pt x="266" y="134"/>
                </a:cubicBezTo>
                <a:cubicBezTo>
                  <a:pt x="265" y="134"/>
                  <a:pt x="263" y="134"/>
                  <a:pt x="262" y="134"/>
                </a:cubicBezTo>
                <a:cubicBezTo>
                  <a:pt x="237" y="134"/>
                  <a:pt x="237" y="134"/>
                  <a:pt x="237" y="134"/>
                </a:cubicBezTo>
                <a:cubicBezTo>
                  <a:pt x="237" y="152"/>
                  <a:pt x="237" y="152"/>
                  <a:pt x="237" y="152"/>
                </a:cubicBezTo>
                <a:cubicBezTo>
                  <a:pt x="262" y="152"/>
                  <a:pt x="262" y="152"/>
                  <a:pt x="262" y="152"/>
                </a:cubicBezTo>
                <a:cubicBezTo>
                  <a:pt x="264" y="152"/>
                  <a:pt x="266" y="154"/>
                  <a:pt x="266" y="156"/>
                </a:cubicBezTo>
                <a:cubicBezTo>
                  <a:pt x="266" y="162"/>
                  <a:pt x="266" y="162"/>
                  <a:pt x="266" y="162"/>
                </a:cubicBezTo>
                <a:cubicBezTo>
                  <a:pt x="273" y="163"/>
                  <a:pt x="280" y="166"/>
                  <a:pt x="285" y="171"/>
                </a:cubicBezTo>
                <a:cubicBezTo>
                  <a:pt x="285" y="156"/>
                  <a:pt x="285" y="156"/>
                  <a:pt x="285" y="156"/>
                </a:cubicBezTo>
                <a:cubicBezTo>
                  <a:pt x="285" y="151"/>
                  <a:pt x="283" y="147"/>
                  <a:pt x="281" y="143"/>
                </a:cubicBezTo>
                <a:cubicBezTo>
                  <a:pt x="280" y="142"/>
                  <a:pt x="279" y="141"/>
                  <a:pt x="278" y="140"/>
                </a:cubicBezTo>
                <a:close/>
                <a:moveTo>
                  <a:pt x="278" y="178"/>
                </a:moveTo>
                <a:cubicBezTo>
                  <a:pt x="275" y="175"/>
                  <a:pt x="271" y="173"/>
                  <a:pt x="266" y="172"/>
                </a:cubicBezTo>
                <a:cubicBezTo>
                  <a:pt x="265" y="172"/>
                  <a:pt x="263" y="172"/>
                  <a:pt x="262" y="172"/>
                </a:cubicBezTo>
                <a:cubicBezTo>
                  <a:pt x="237" y="172"/>
                  <a:pt x="237" y="172"/>
                  <a:pt x="237" y="172"/>
                </a:cubicBezTo>
                <a:cubicBezTo>
                  <a:pt x="237" y="190"/>
                  <a:pt x="237" y="190"/>
                  <a:pt x="237" y="190"/>
                </a:cubicBezTo>
                <a:cubicBezTo>
                  <a:pt x="262" y="190"/>
                  <a:pt x="262" y="190"/>
                  <a:pt x="262" y="190"/>
                </a:cubicBezTo>
                <a:cubicBezTo>
                  <a:pt x="264" y="190"/>
                  <a:pt x="266" y="192"/>
                  <a:pt x="266" y="194"/>
                </a:cubicBezTo>
                <a:cubicBezTo>
                  <a:pt x="266" y="201"/>
                  <a:pt x="266" y="201"/>
                  <a:pt x="266" y="201"/>
                </a:cubicBezTo>
                <a:cubicBezTo>
                  <a:pt x="266" y="207"/>
                  <a:pt x="270" y="211"/>
                  <a:pt x="275" y="211"/>
                </a:cubicBezTo>
                <a:cubicBezTo>
                  <a:pt x="280" y="211"/>
                  <a:pt x="285" y="207"/>
                  <a:pt x="285" y="201"/>
                </a:cubicBezTo>
                <a:cubicBezTo>
                  <a:pt x="285" y="194"/>
                  <a:pt x="285" y="194"/>
                  <a:pt x="285" y="194"/>
                </a:cubicBezTo>
                <a:cubicBezTo>
                  <a:pt x="285" y="189"/>
                  <a:pt x="283" y="185"/>
                  <a:pt x="281" y="181"/>
                </a:cubicBezTo>
                <a:cubicBezTo>
                  <a:pt x="280" y="180"/>
                  <a:pt x="279" y="179"/>
                  <a:pt x="278" y="178"/>
                </a:cubicBezTo>
                <a:close/>
                <a:moveTo>
                  <a:pt x="223" y="41"/>
                </a:moveTo>
                <a:cubicBezTo>
                  <a:pt x="221" y="40"/>
                  <a:pt x="218" y="38"/>
                  <a:pt x="215" y="38"/>
                </a:cubicBezTo>
                <a:cubicBezTo>
                  <a:pt x="68" y="38"/>
                  <a:pt x="68" y="38"/>
                  <a:pt x="68" y="38"/>
                </a:cubicBezTo>
                <a:cubicBezTo>
                  <a:pt x="66" y="38"/>
                  <a:pt x="63" y="40"/>
                  <a:pt x="61" y="42"/>
                </a:cubicBezTo>
                <a:cubicBezTo>
                  <a:pt x="59" y="43"/>
                  <a:pt x="58" y="45"/>
                  <a:pt x="58" y="47"/>
                </a:cubicBezTo>
                <a:cubicBezTo>
                  <a:pt x="58" y="48"/>
                  <a:pt x="58" y="49"/>
                  <a:pt x="58" y="49"/>
                </a:cubicBezTo>
                <a:cubicBezTo>
                  <a:pt x="58" y="196"/>
                  <a:pt x="58" y="196"/>
                  <a:pt x="58" y="196"/>
                </a:cubicBezTo>
                <a:cubicBezTo>
                  <a:pt x="58" y="197"/>
                  <a:pt x="58" y="199"/>
                  <a:pt x="59" y="200"/>
                </a:cubicBezTo>
                <a:cubicBezTo>
                  <a:pt x="59" y="201"/>
                  <a:pt x="60" y="203"/>
                  <a:pt x="61" y="203"/>
                </a:cubicBezTo>
                <a:cubicBezTo>
                  <a:pt x="63" y="205"/>
                  <a:pt x="66" y="206"/>
                  <a:pt x="68" y="206"/>
                </a:cubicBezTo>
                <a:cubicBezTo>
                  <a:pt x="215" y="206"/>
                  <a:pt x="215" y="206"/>
                  <a:pt x="215" y="206"/>
                </a:cubicBezTo>
                <a:cubicBezTo>
                  <a:pt x="218" y="206"/>
                  <a:pt x="221" y="205"/>
                  <a:pt x="223" y="203"/>
                </a:cubicBezTo>
                <a:cubicBezTo>
                  <a:pt x="223" y="203"/>
                  <a:pt x="224" y="201"/>
                  <a:pt x="225" y="200"/>
                </a:cubicBezTo>
                <a:cubicBezTo>
                  <a:pt x="225" y="199"/>
                  <a:pt x="226" y="197"/>
                  <a:pt x="226" y="196"/>
                </a:cubicBezTo>
                <a:cubicBezTo>
                  <a:pt x="226" y="49"/>
                  <a:pt x="226" y="49"/>
                  <a:pt x="226" y="49"/>
                </a:cubicBezTo>
                <a:cubicBezTo>
                  <a:pt x="226" y="49"/>
                  <a:pt x="226" y="48"/>
                  <a:pt x="226" y="47"/>
                </a:cubicBezTo>
                <a:cubicBezTo>
                  <a:pt x="225" y="45"/>
                  <a:pt x="224" y="43"/>
                  <a:pt x="223" y="41"/>
                </a:cubicBezTo>
                <a:close/>
                <a:moveTo>
                  <a:pt x="181" y="161"/>
                </a:moveTo>
                <a:cubicBezTo>
                  <a:pt x="103" y="161"/>
                  <a:pt x="103" y="161"/>
                  <a:pt x="103" y="161"/>
                </a:cubicBezTo>
                <a:cubicBezTo>
                  <a:pt x="103" y="83"/>
                  <a:pt x="103" y="83"/>
                  <a:pt x="103" y="83"/>
                </a:cubicBezTo>
                <a:cubicBezTo>
                  <a:pt x="181" y="83"/>
                  <a:pt x="181" y="83"/>
                  <a:pt x="181" y="83"/>
                </a:cubicBezTo>
                <a:lnTo>
                  <a:pt x="181" y="16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900">
              <a:solidFill>
                <a:prstClr val="black"/>
              </a:solidFill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3499231" y="2905061"/>
            <a:ext cx="505323" cy="503873"/>
            <a:chOff x="2776538" y="2657475"/>
            <a:chExt cx="720726" cy="720726"/>
          </a:xfrm>
          <a:solidFill>
            <a:schemeClr val="tx2"/>
          </a:solidFill>
        </p:grpSpPr>
        <p:sp>
          <p:nvSpPr>
            <p:cNvPr id="137" name="Freeform 328"/>
            <p:cNvSpPr>
              <a:spLocks/>
            </p:cNvSpPr>
            <p:nvPr/>
          </p:nvSpPr>
          <p:spPr bwMode="auto">
            <a:xfrm>
              <a:off x="2806701" y="3108325"/>
              <a:ext cx="660400" cy="149225"/>
            </a:xfrm>
            <a:custGeom>
              <a:avLst/>
              <a:gdLst/>
              <a:ahLst/>
              <a:cxnLst>
                <a:cxn ang="0">
                  <a:pos x="19" y="56"/>
                </a:cxn>
                <a:cxn ang="0">
                  <a:pos x="199" y="56"/>
                </a:cxn>
                <a:cxn ang="0">
                  <a:pos x="199" y="94"/>
                </a:cxn>
                <a:cxn ang="0">
                  <a:pos x="218" y="94"/>
                </a:cxn>
                <a:cxn ang="0">
                  <a:pos x="218" y="56"/>
                </a:cxn>
                <a:cxn ang="0">
                  <a:pos x="397" y="56"/>
                </a:cxn>
                <a:cxn ang="0">
                  <a:pos x="397" y="94"/>
                </a:cxn>
                <a:cxn ang="0">
                  <a:pos x="416" y="94"/>
                </a:cxn>
                <a:cxn ang="0">
                  <a:pos x="416" y="38"/>
                </a:cxn>
                <a:cxn ang="0">
                  <a:pos x="218" y="38"/>
                </a:cxn>
                <a:cxn ang="0">
                  <a:pos x="218" y="0"/>
                </a:cxn>
                <a:cxn ang="0">
                  <a:pos x="199" y="0"/>
                </a:cxn>
                <a:cxn ang="0">
                  <a:pos x="199" y="38"/>
                </a:cxn>
                <a:cxn ang="0">
                  <a:pos x="0" y="38"/>
                </a:cxn>
                <a:cxn ang="0">
                  <a:pos x="0" y="94"/>
                </a:cxn>
                <a:cxn ang="0">
                  <a:pos x="19" y="94"/>
                </a:cxn>
                <a:cxn ang="0">
                  <a:pos x="19" y="56"/>
                </a:cxn>
              </a:cxnLst>
              <a:rect l="0" t="0" r="r" b="b"/>
              <a:pathLst>
                <a:path w="416" h="94">
                  <a:moveTo>
                    <a:pt x="19" y="56"/>
                  </a:moveTo>
                  <a:lnTo>
                    <a:pt x="199" y="56"/>
                  </a:lnTo>
                  <a:lnTo>
                    <a:pt x="199" y="94"/>
                  </a:lnTo>
                  <a:lnTo>
                    <a:pt x="218" y="94"/>
                  </a:lnTo>
                  <a:lnTo>
                    <a:pt x="218" y="56"/>
                  </a:lnTo>
                  <a:lnTo>
                    <a:pt x="397" y="56"/>
                  </a:lnTo>
                  <a:lnTo>
                    <a:pt x="397" y="94"/>
                  </a:lnTo>
                  <a:lnTo>
                    <a:pt x="416" y="94"/>
                  </a:lnTo>
                  <a:lnTo>
                    <a:pt x="416" y="38"/>
                  </a:lnTo>
                  <a:lnTo>
                    <a:pt x="218" y="38"/>
                  </a:lnTo>
                  <a:lnTo>
                    <a:pt x="218" y="0"/>
                  </a:lnTo>
                  <a:lnTo>
                    <a:pt x="199" y="0"/>
                  </a:lnTo>
                  <a:lnTo>
                    <a:pt x="199" y="38"/>
                  </a:lnTo>
                  <a:lnTo>
                    <a:pt x="0" y="38"/>
                  </a:lnTo>
                  <a:lnTo>
                    <a:pt x="0" y="94"/>
                  </a:lnTo>
                  <a:lnTo>
                    <a:pt x="19" y="94"/>
                  </a:lnTo>
                  <a:lnTo>
                    <a:pt x="19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38" name="Freeform 329"/>
            <p:cNvSpPr>
              <a:spLocks/>
            </p:cNvSpPr>
            <p:nvPr/>
          </p:nvSpPr>
          <p:spPr bwMode="auto">
            <a:xfrm>
              <a:off x="3048001" y="2657475"/>
              <a:ext cx="179388" cy="255588"/>
            </a:xfrm>
            <a:custGeom>
              <a:avLst/>
              <a:gdLst/>
              <a:ahLst/>
              <a:cxnLst>
                <a:cxn ang="0">
                  <a:pos x="7" y="42"/>
                </a:cxn>
                <a:cxn ang="0">
                  <a:pos x="12" y="54"/>
                </a:cxn>
                <a:cxn ang="0">
                  <a:pos x="12" y="60"/>
                </a:cxn>
                <a:cxn ang="0">
                  <a:pos x="24" y="68"/>
                </a:cxn>
                <a:cxn ang="0">
                  <a:pos x="36" y="60"/>
                </a:cxn>
                <a:cxn ang="0">
                  <a:pos x="36" y="54"/>
                </a:cxn>
                <a:cxn ang="0">
                  <a:pos x="41" y="42"/>
                </a:cxn>
                <a:cxn ang="0">
                  <a:pos x="44" y="41"/>
                </a:cxn>
                <a:cxn ang="0">
                  <a:pos x="47" y="30"/>
                </a:cxn>
                <a:cxn ang="0">
                  <a:pos x="44" y="28"/>
                </a:cxn>
                <a:cxn ang="0">
                  <a:pos x="44" y="17"/>
                </a:cxn>
                <a:cxn ang="0">
                  <a:pos x="36" y="6"/>
                </a:cxn>
                <a:cxn ang="0">
                  <a:pos x="24" y="0"/>
                </a:cxn>
                <a:cxn ang="0">
                  <a:pos x="4" y="16"/>
                </a:cxn>
                <a:cxn ang="0">
                  <a:pos x="4" y="28"/>
                </a:cxn>
                <a:cxn ang="0">
                  <a:pos x="1" y="30"/>
                </a:cxn>
                <a:cxn ang="0">
                  <a:pos x="4" y="41"/>
                </a:cxn>
                <a:cxn ang="0">
                  <a:pos x="7" y="42"/>
                </a:cxn>
              </a:cxnLst>
              <a:rect l="0" t="0" r="r" b="b"/>
              <a:pathLst>
                <a:path w="48" h="68">
                  <a:moveTo>
                    <a:pt x="7" y="42"/>
                  </a:moveTo>
                  <a:cubicBezTo>
                    <a:pt x="12" y="54"/>
                    <a:pt x="12" y="54"/>
                    <a:pt x="12" y="54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1" y="42"/>
                    <a:pt x="43" y="42"/>
                    <a:pt x="44" y="41"/>
                  </a:cubicBezTo>
                  <a:cubicBezTo>
                    <a:pt x="47" y="39"/>
                    <a:pt x="48" y="33"/>
                    <a:pt x="47" y="30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3"/>
                    <a:pt x="44" y="17"/>
                  </a:cubicBezTo>
                  <a:cubicBezTo>
                    <a:pt x="44" y="11"/>
                    <a:pt x="42" y="6"/>
                    <a:pt x="36" y="6"/>
                  </a:cubicBezTo>
                  <a:cubicBezTo>
                    <a:pt x="34" y="2"/>
                    <a:pt x="30" y="0"/>
                    <a:pt x="24" y="0"/>
                  </a:cubicBezTo>
                  <a:cubicBezTo>
                    <a:pt x="11" y="0"/>
                    <a:pt x="4" y="7"/>
                    <a:pt x="4" y="16"/>
                  </a:cubicBezTo>
                  <a:cubicBezTo>
                    <a:pt x="4" y="22"/>
                    <a:pt x="4" y="28"/>
                    <a:pt x="4" y="28"/>
                  </a:cubicBezTo>
                  <a:cubicBezTo>
                    <a:pt x="4" y="28"/>
                    <a:pt x="3" y="28"/>
                    <a:pt x="1" y="30"/>
                  </a:cubicBezTo>
                  <a:cubicBezTo>
                    <a:pt x="0" y="33"/>
                    <a:pt x="1" y="39"/>
                    <a:pt x="4" y="41"/>
                  </a:cubicBezTo>
                  <a:cubicBezTo>
                    <a:pt x="5" y="42"/>
                    <a:pt x="7" y="42"/>
                    <a:pt x="7" y="4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39" name="Freeform 330"/>
            <p:cNvSpPr>
              <a:spLocks/>
            </p:cNvSpPr>
            <p:nvPr/>
          </p:nvSpPr>
          <p:spPr bwMode="auto">
            <a:xfrm>
              <a:off x="2927351" y="2897188"/>
              <a:ext cx="420688" cy="180975"/>
            </a:xfrm>
            <a:custGeom>
              <a:avLst/>
              <a:gdLst/>
              <a:ahLst/>
              <a:cxnLst>
                <a:cxn ang="0">
                  <a:pos x="56" y="48"/>
                </a:cxn>
                <a:cxn ang="0">
                  <a:pos x="112" y="41"/>
                </a:cxn>
                <a:cxn ang="0">
                  <a:pos x="103" y="10"/>
                </a:cxn>
                <a:cxn ang="0">
                  <a:pos x="72" y="0"/>
                </a:cxn>
                <a:cxn ang="0">
                  <a:pos x="60" y="38"/>
                </a:cxn>
                <a:cxn ang="0">
                  <a:pos x="60" y="18"/>
                </a:cxn>
                <a:cxn ang="0">
                  <a:pos x="58" y="13"/>
                </a:cxn>
                <a:cxn ang="0">
                  <a:pos x="60" y="10"/>
                </a:cxn>
                <a:cxn ang="0">
                  <a:pos x="56" y="6"/>
                </a:cxn>
                <a:cxn ang="0">
                  <a:pos x="52" y="10"/>
                </a:cxn>
                <a:cxn ang="0">
                  <a:pos x="54" y="13"/>
                </a:cxn>
                <a:cxn ang="0">
                  <a:pos x="52" y="18"/>
                </a:cxn>
                <a:cxn ang="0">
                  <a:pos x="52" y="38"/>
                </a:cxn>
                <a:cxn ang="0">
                  <a:pos x="40" y="0"/>
                </a:cxn>
                <a:cxn ang="0">
                  <a:pos x="9" y="10"/>
                </a:cxn>
                <a:cxn ang="0">
                  <a:pos x="0" y="41"/>
                </a:cxn>
                <a:cxn ang="0">
                  <a:pos x="56" y="48"/>
                </a:cxn>
              </a:cxnLst>
              <a:rect l="0" t="0" r="r" b="b"/>
              <a:pathLst>
                <a:path w="112" h="48">
                  <a:moveTo>
                    <a:pt x="56" y="48"/>
                  </a:moveTo>
                  <a:cubicBezTo>
                    <a:pt x="84" y="48"/>
                    <a:pt x="112" y="43"/>
                    <a:pt x="112" y="41"/>
                  </a:cubicBezTo>
                  <a:cubicBezTo>
                    <a:pt x="112" y="34"/>
                    <a:pt x="107" y="12"/>
                    <a:pt x="103" y="10"/>
                  </a:cubicBezTo>
                  <a:cubicBezTo>
                    <a:pt x="100" y="7"/>
                    <a:pt x="72" y="0"/>
                    <a:pt x="72" y="0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12" y="7"/>
                    <a:pt x="9" y="10"/>
                  </a:cubicBezTo>
                  <a:cubicBezTo>
                    <a:pt x="5" y="12"/>
                    <a:pt x="0" y="34"/>
                    <a:pt x="0" y="41"/>
                  </a:cubicBezTo>
                  <a:cubicBezTo>
                    <a:pt x="0" y="43"/>
                    <a:pt x="28" y="48"/>
                    <a:pt x="56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40" name="Oval 331"/>
            <p:cNvSpPr>
              <a:spLocks noChangeArrowheads="1"/>
            </p:cNvSpPr>
            <p:nvPr/>
          </p:nvSpPr>
          <p:spPr bwMode="auto">
            <a:xfrm>
              <a:off x="3406776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41" name="Oval 332"/>
            <p:cNvSpPr>
              <a:spLocks noChangeArrowheads="1"/>
            </p:cNvSpPr>
            <p:nvPr/>
          </p:nvSpPr>
          <p:spPr bwMode="auto">
            <a:xfrm>
              <a:off x="3092451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142" name="Oval 333"/>
            <p:cNvSpPr>
              <a:spLocks noChangeArrowheads="1"/>
            </p:cNvSpPr>
            <p:nvPr/>
          </p:nvSpPr>
          <p:spPr bwMode="auto">
            <a:xfrm>
              <a:off x="2776538" y="3287713"/>
              <a:ext cx="90488" cy="90488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</p:grpSp>
      <p:sp>
        <p:nvSpPr>
          <p:cNvPr id="87" name="Freeform 5"/>
          <p:cNvSpPr>
            <a:spLocks noEditPoints="1"/>
          </p:cNvSpPr>
          <p:nvPr/>
        </p:nvSpPr>
        <p:spPr bwMode="auto">
          <a:xfrm>
            <a:off x="4716111" y="3265760"/>
            <a:ext cx="457200" cy="457200"/>
          </a:xfrm>
          <a:custGeom>
            <a:avLst/>
            <a:gdLst>
              <a:gd name="T0" fmla="*/ 0 w 349"/>
              <a:gd name="T1" fmla="*/ 175 h 350"/>
              <a:gd name="T2" fmla="*/ 349 w 349"/>
              <a:gd name="T3" fmla="*/ 175 h 350"/>
              <a:gd name="T4" fmla="*/ 164 w 349"/>
              <a:gd name="T5" fmla="*/ 164 h 350"/>
              <a:gd name="T6" fmla="*/ 107 w 349"/>
              <a:gd name="T7" fmla="*/ 95 h 350"/>
              <a:gd name="T8" fmla="*/ 164 w 349"/>
              <a:gd name="T9" fmla="*/ 164 h 350"/>
              <a:gd name="T10" fmla="*/ 107 w 349"/>
              <a:gd name="T11" fmla="*/ 255 h 350"/>
              <a:gd name="T12" fmla="*/ 164 w 349"/>
              <a:gd name="T13" fmla="*/ 186 h 350"/>
              <a:gd name="T14" fmla="*/ 164 w 349"/>
              <a:gd name="T15" fmla="*/ 23 h 350"/>
              <a:gd name="T16" fmla="*/ 115 w 349"/>
              <a:gd name="T17" fmla="*/ 76 h 350"/>
              <a:gd name="T18" fmla="*/ 115 w 349"/>
              <a:gd name="T19" fmla="*/ 33 h 350"/>
              <a:gd name="T20" fmla="*/ 72 w 349"/>
              <a:gd name="T21" fmla="*/ 61 h 350"/>
              <a:gd name="T22" fmla="*/ 56 w 349"/>
              <a:gd name="T23" fmla="*/ 77 h 350"/>
              <a:gd name="T24" fmla="*/ 74 w 349"/>
              <a:gd name="T25" fmla="*/ 164 h 350"/>
              <a:gd name="T26" fmla="*/ 56 w 349"/>
              <a:gd name="T27" fmla="*/ 77 h 350"/>
              <a:gd name="T28" fmla="*/ 74 w 349"/>
              <a:gd name="T29" fmla="*/ 186 h 350"/>
              <a:gd name="T30" fmla="*/ 56 w 349"/>
              <a:gd name="T31" fmla="*/ 273 h 350"/>
              <a:gd name="T32" fmla="*/ 72 w 349"/>
              <a:gd name="T33" fmla="*/ 289 h 350"/>
              <a:gd name="T34" fmla="*/ 115 w 349"/>
              <a:gd name="T35" fmla="*/ 317 h 350"/>
              <a:gd name="T36" fmla="*/ 115 w 349"/>
              <a:gd name="T37" fmla="*/ 275 h 350"/>
              <a:gd name="T38" fmla="*/ 164 w 349"/>
              <a:gd name="T39" fmla="*/ 327 h 350"/>
              <a:gd name="T40" fmla="*/ 328 w 349"/>
              <a:gd name="T41" fmla="*/ 164 h 350"/>
              <a:gd name="T42" fmla="*/ 262 w 349"/>
              <a:gd name="T43" fmla="*/ 89 h 350"/>
              <a:gd name="T44" fmla="*/ 328 w 349"/>
              <a:gd name="T45" fmla="*/ 164 h 350"/>
              <a:gd name="T46" fmla="*/ 255 w 349"/>
              <a:gd name="T47" fmla="*/ 69 h 350"/>
              <a:gd name="T48" fmla="*/ 277 w 349"/>
              <a:gd name="T49" fmla="*/ 61 h 350"/>
              <a:gd name="T50" fmla="*/ 185 w 349"/>
              <a:gd name="T51" fmla="*/ 82 h 350"/>
              <a:gd name="T52" fmla="*/ 234 w 349"/>
              <a:gd name="T53" fmla="*/ 76 h 350"/>
              <a:gd name="T54" fmla="*/ 253 w 349"/>
              <a:gd name="T55" fmla="*/ 164 h 350"/>
              <a:gd name="T56" fmla="*/ 185 w 349"/>
              <a:gd name="T57" fmla="*/ 104 h 350"/>
              <a:gd name="T58" fmla="*/ 185 w 349"/>
              <a:gd name="T59" fmla="*/ 186 h 350"/>
              <a:gd name="T60" fmla="*/ 242 w 349"/>
              <a:gd name="T61" fmla="*/ 255 h 350"/>
              <a:gd name="T62" fmla="*/ 185 w 349"/>
              <a:gd name="T63" fmla="*/ 186 h 350"/>
              <a:gd name="T64" fmla="*/ 185 w 349"/>
              <a:gd name="T65" fmla="*/ 268 h 350"/>
              <a:gd name="T66" fmla="*/ 185 w 349"/>
              <a:gd name="T67" fmla="*/ 327 h 350"/>
              <a:gd name="T68" fmla="*/ 255 w 349"/>
              <a:gd name="T69" fmla="*/ 281 h 350"/>
              <a:gd name="T70" fmla="*/ 234 w 349"/>
              <a:gd name="T71" fmla="*/ 317 h 350"/>
              <a:gd name="T72" fmla="*/ 262 w 349"/>
              <a:gd name="T73" fmla="*/ 261 h 350"/>
              <a:gd name="T74" fmla="*/ 328 w 349"/>
              <a:gd name="T75" fmla="*/ 186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49" h="350">
                <a:moveTo>
                  <a:pt x="174" y="0"/>
                </a:moveTo>
                <a:cubicBezTo>
                  <a:pt x="78" y="0"/>
                  <a:pt x="0" y="79"/>
                  <a:pt x="0" y="175"/>
                </a:cubicBezTo>
                <a:cubicBezTo>
                  <a:pt x="0" y="271"/>
                  <a:pt x="78" y="350"/>
                  <a:pt x="174" y="350"/>
                </a:cubicBezTo>
                <a:cubicBezTo>
                  <a:pt x="271" y="350"/>
                  <a:pt x="349" y="271"/>
                  <a:pt x="349" y="175"/>
                </a:cubicBezTo>
                <a:cubicBezTo>
                  <a:pt x="349" y="79"/>
                  <a:pt x="271" y="0"/>
                  <a:pt x="174" y="0"/>
                </a:cubicBezTo>
                <a:close/>
                <a:moveTo>
                  <a:pt x="164" y="164"/>
                </a:moveTo>
                <a:cubicBezTo>
                  <a:pt x="96" y="164"/>
                  <a:pt x="96" y="164"/>
                  <a:pt x="96" y="164"/>
                </a:cubicBezTo>
                <a:cubicBezTo>
                  <a:pt x="97" y="139"/>
                  <a:pt x="101" y="116"/>
                  <a:pt x="107" y="95"/>
                </a:cubicBezTo>
                <a:cubicBezTo>
                  <a:pt x="126" y="100"/>
                  <a:pt x="145" y="103"/>
                  <a:pt x="164" y="104"/>
                </a:cubicBezTo>
                <a:lnTo>
                  <a:pt x="164" y="164"/>
                </a:lnTo>
                <a:close/>
                <a:moveTo>
                  <a:pt x="164" y="246"/>
                </a:moveTo>
                <a:cubicBezTo>
                  <a:pt x="145" y="247"/>
                  <a:pt x="126" y="250"/>
                  <a:pt x="107" y="255"/>
                </a:cubicBezTo>
                <a:cubicBezTo>
                  <a:pt x="101" y="234"/>
                  <a:pt x="97" y="211"/>
                  <a:pt x="96" y="186"/>
                </a:cubicBezTo>
                <a:cubicBezTo>
                  <a:pt x="164" y="186"/>
                  <a:pt x="164" y="186"/>
                  <a:pt x="164" y="186"/>
                </a:cubicBezTo>
                <a:lnTo>
                  <a:pt x="164" y="246"/>
                </a:lnTo>
                <a:close/>
                <a:moveTo>
                  <a:pt x="164" y="23"/>
                </a:moveTo>
                <a:cubicBezTo>
                  <a:pt x="164" y="82"/>
                  <a:pt x="164" y="82"/>
                  <a:pt x="164" y="82"/>
                </a:cubicBezTo>
                <a:cubicBezTo>
                  <a:pt x="147" y="82"/>
                  <a:pt x="131" y="79"/>
                  <a:pt x="115" y="76"/>
                </a:cubicBezTo>
                <a:cubicBezTo>
                  <a:pt x="127" y="48"/>
                  <a:pt x="144" y="28"/>
                  <a:pt x="164" y="23"/>
                </a:cubicBezTo>
                <a:close/>
                <a:moveTo>
                  <a:pt x="115" y="33"/>
                </a:moveTo>
                <a:cubicBezTo>
                  <a:pt x="107" y="43"/>
                  <a:pt x="100" y="56"/>
                  <a:pt x="94" y="69"/>
                </a:cubicBezTo>
                <a:cubicBezTo>
                  <a:pt x="87" y="67"/>
                  <a:pt x="79" y="64"/>
                  <a:pt x="72" y="61"/>
                </a:cubicBezTo>
                <a:cubicBezTo>
                  <a:pt x="85" y="49"/>
                  <a:pt x="99" y="40"/>
                  <a:pt x="115" y="33"/>
                </a:cubicBezTo>
                <a:close/>
                <a:moveTo>
                  <a:pt x="56" y="77"/>
                </a:moveTo>
                <a:cubicBezTo>
                  <a:pt x="66" y="82"/>
                  <a:pt x="76" y="86"/>
                  <a:pt x="87" y="89"/>
                </a:cubicBezTo>
                <a:cubicBezTo>
                  <a:pt x="80" y="112"/>
                  <a:pt x="75" y="137"/>
                  <a:pt x="74" y="164"/>
                </a:cubicBezTo>
                <a:cubicBezTo>
                  <a:pt x="21" y="164"/>
                  <a:pt x="21" y="164"/>
                  <a:pt x="21" y="164"/>
                </a:cubicBezTo>
                <a:cubicBezTo>
                  <a:pt x="23" y="131"/>
                  <a:pt x="36" y="101"/>
                  <a:pt x="56" y="77"/>
                </a:cubicBezTo>
                <a:close/>
                <a:moveTo>
                  <a:pt x="21" y="186"/>
                </a:moveTo>
                <a:cubicBezTo>
                  <a:pt x="74" y="186"/>
                  <a:pt x="74" y="186"/>
                  <a:pt x="74" y="186"/>
                </a:cubicBezTo>
                <a:cubicBezTo>
                  <a:pt x="75" y="213"/>
                  <a:pt x="80" y="238"/>
                  <a:pt x="87" y="261"/>
                </a:cubicBezTo>
                <a:cubicBezTo>
                  <a:pt x="76" y="264"/>
                  <a:pt x="66" y="268"/>
                  <a:pt x="56" y="273"/>
                </a:cubicBezTo>
                <a:cubicBezTo>
                  <a:pt x="36" y="249"/>
                  <a:pt x="23" y="219"/>
                  <a:pt x="21" y="186"/>
                </a:cubicBezTo>
                <a:close/>
                <a:moveTo>
                  <a:pt x="72" y="289"/>
                </a:moveTo>
                <a:cubicBezTo>
                  <a:pt x="79" y="286"/>
                  <a:pt x="87" y="283"/>
                  <a:pt x="94" y="281"/>
                </a:cubicBezTo>
                <a:cubicBezTo>
                  <a:pt x="100" y="295"/>
                  <a:pt x="107" y="307"/>
                  <a:pt x="115" y="317"/>
                </a:cubicBezTo>
                <a:cubicBezTo>
                  <a:pt x="99" y="310"/>
                  <a:pt x="85" y="301"/>
                  <a:pt x="72" y="289"/>
                </a:cubicBezTo>
                <a:close/>
                <a:moveTo>
                  <a:pt x="115" y="275"/>
                </a:moveTo>
                <a:cubicBezTo>
                  <a:pt x="131" y="271"/>
                  <a:pt x="147" y="268"/>
                  <a:pt x="164" y="268"/>
                </a:cubicBezTo>
                <a:cubicBezTo>
                  <a:pt x="164" y="327"/>
                  <a:pt x="164" y="327"/>
                  <a:pt x="164" y="327"/>
                </a:cubicBezTo>
                <a:cubicBezTo>
                  <a:pt x="145" y="322"/>
                  <a:pt x="127" y="302"/>
                  <a:pt x="115" y="275"/>
                </a:cubicBezTo>
                <a:close/>
                <a:moveTo>
                  <a:pt x="328" y="164"/>
                </a:moveTo>
                <a:cubicBezTo>
                  <a:pt x="274" y="164"/>
                  <a:pt x="274" y="164"/>
                  <a:pt x="274" y="164"/>
                </a:cubicBezTo>
                <a:cubicBezTo>
                  <a:pt x="273" y="137"/>
                  <a:pt x="269" y="112"/>
                  <a:pt x="262" y="89"/>
                </a:cubicBezTo>
                <a:cubicBezTo>
                  <a:pt x="272" y="86"/>
                  <a:pt x="283" y="82"/>
                  <a:pt x="292" y="77"/>
                </a:cubicBezTo>
                <a:cubicBezTo>
                  <a:pt x="313" y="101"/>
                  <a:pt x="325" y="131"/>
                  <a:pt x="328" y="164"/>
                </a:cubicBezTo>
                <a:close/>
                <a:moveTo>
                  <a:pt x="277" y="61"/>
                </a:moveTo>
                <a:cubicBezTo>
                  <a:pt x="270" y="64"/>
                  <a:pt x="262" y="67"/>
                  <a:pt x="255" y="69"/>
                </a:cubicBezTo>
                <a:cubicBezTo>
                  <a:pt x="249" y="55"/>
                  <a:pt x="242" y="43"/>
                  <a:pt x="234" y="33"/>
                </a:cubicBezTo>
                <a:cubicBezTo>
                  <a:pt x="250" y="40"/>
                  <a:pt x="264" y="49"/>
                  <a:pt x="277" y="61"/>
                </a:cubicBezTo>
                <a:close/>
                <a:moveTo>
                  <a:pt x="234" y="76"/>
                </a:moveTo>
                <a:cubicBezTo>
                  <a:pt x="218" y="79"/>
                  <a:pt x="202" y="82"/>
                  <a:pt x="185" y="82"/>
                </a:cubicBezTo>
                <a:cubicBezTo>
                  <a:pt x="185" y="23"/>
                  <a:pt x="185" y="23"/>
                  <a:pt x="185" y="23"/>
                </a:cubicBezTo>
                <a:cubicBezTo>
                  <a:pt x="204" y="28"/>
                  <a:pt x="222" y="48"/>
                  <a:pt x="234" y="76"/>
                </a:cubicBezTo>
                <a:close/>
                <a:moveTo>
                  <a:pt x="242" y="95"/>
                </a:moveTo>
                <a:cubicBezTo>
                  <a:pt x="248" y="116"/>
                  <a:pt x="252" y="139"/>
                  <a:pt x="253" y="164"/>
                </a:cubicBezTo>
                <a:cubicBezTo>
                  <a:pt x="185" y="164"/>
                  <a:pt x="185" y="164"/>
                  <a:pt x="185" y="164"/>
                </a:cubicBezTo>
                <a:cubicBezTo>
                  <a:pt x="185" y="104"/>
                  <a:pt x="185" y="104"/>
                  <a:pt x="185" y="104"/>
                </a:cubicBezTo>
                <a:cubicBezTo>
                  <a:pt x="204" y="103"/>
                  <a:pt x="223" y="100"/>
                  <a:pt x="242" y="95"/>
                </a:cubicBezTo>
                <a:close/>
                <a:moveTo>
                  <a:pt x="185" y="186"/>
                </a:moveTo>
                <a:cubicBezTo>
                  <a:pt x="253" y="186"/>
                  <a:pt x="253" y="186"/>
                  <a:pt x="253" y="186"/>
                </a:cubicBezTo>
                <a:cubicBezTo>
                  <a:pt x="252" y="211"/>
                  <a:pt x="248" y="234"/>
                  <a:pt x="242" y="255"/>
                </a:cubicBezTo>
                <a:cubicBezTo>
                  <a:pt x="223" y="250"/>
                  <a:pt x="204" y="247"/>
                  <a:pt x="185" y="246"/>
                </a:cubicBezTo>
                <a:lnTo>
                  <a:pt x="185" y="186"/>
                </a:lnTo>
                <a:close/>
                <a:moveTo>
                  <a:pt x="185" y="327"/>
                </a:moveTo>
                <a:cubicBezTo>
                  <a:pt x="185" y="268"/>
                  <a:pt x="185" y="268"/>
                  <a:pt x="185" y="268"/>
                </a:cubicBezTo>
                <a:cubicBezTo>
                  <a:pt x="202" y="268"/>
                  <a:pt x="218" y="271"/>
                  <a:pt x="234" y="274"/>
                </a:cubicBezTo>
                <a:cubicBezTo>
                  <a:pt x="222" y="302"/>
                  <a:pt x="204" y="322"/>
                  <a:pt x="185" y="327"/>
                </a:cubicBezTo>
                <a:close/>
                <a:moveTo>
                  <a:pt x="234" y="317"/>
                </a:moveTo>
                <a:cubicBezTo>
                  <a:pt x="242" y="307"/>
                  <a:pt x="249" y="295"/>
                  <a:pt x="255" y="281"/>
                </a:cubicBezTo>
                <a:cubicBezTo>
                  <a:pt x="262" y="283"/>
                  <a:pt x="270" y="286"/>
                  <a:pt x="277" y="289"/>
                </a:cubicBezTo>
                <a:cubicBezTo>
                  <a:pt x="264" y="301"/>
                  <a:pt x="250" y="310"/>
                  <a:pt x="234" y="317"/>
                </a:cubicBezTo>
                <a:close/>
                <a:moveTo>
                  <a:pt x="292" y="273"/>
                </a:moveTo>
                <a:cubicBezTo>
                  <a:pt x="283" y="268"/>
                  <a:pt x="272" y="264"/>
                  <a:pt x="262" y="261"/>
                </a:cubicBezTo>
                <a:cubicBezTo>
                  <a:pt x="269" y="238"/>
                  <a:pt x="273" y="213"/>
                  <a:pt x="274" y="186"/>
                </a:cubicBezTo>
                <a:cubicBezTo>
                  <a:pt x="328" y="186"/>
                  <a:pt x="328" y="186"/>
                  <a:pt x="328" y="186"/>
                </a:cubicBezTo>
                <a:cubicBezTo>
                  <a:pt x="325" y="219"/>
                  <a:pt x="313" y="249"/>
                  <a:pt x="292" y="273"/>
                </a:cubicBezTo>
                <a:close/>
              </a:path>
            </a:pathLst>
          </a:custGeom>
          <a:solidFill>
            <a:srgbClr val="483698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75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79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53" name="Прямоугольник 89"/>
          <p:cNvSpPr/>
          <p:nvPr/>
        </p:nvSpPr>
        <p:spPr>
          <a:xfrm>
            <a:off x="3669631" y="1951951"/>
            <a:ext cx="2598821" cy="3193894"/>
          </a:xfrm>
          <a:prstGeom prst="rect">
            <a:avLst/>
          </a:prstGeom>
          <a:noFill/>
          <a:ln w="28575">
            <a:solidFill>
              <a:srgbClr val="00338D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" name="Rectangle 1"/>
          <p:cNvSpPr/>
          <p:nvPr/>
        </p:nvSpPr>
        <p:spPr>
          <a:xfrm>
            <a:off x="527441" y="1152862"/>
            <a:ext cx="9052560" cy="221742"/>
          </a:xfrm>
          <a:prstGeom prst="rect">
            <a:avLst/>
          </a:prstGeom>
          <a:solidFill>
            <a:srgbClr val="00338D"/>
          </a:solidFill>
          <a:ln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Экосистема</a:t>
            </a:r>
            <a:endParaRPr lang="en-US" sz="1200" b="1" dirty="0" err="1" smtClean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/>
              <a:t>С точки зрения клиента, экосистема – это платформа, в рамках которой возможно удовлетворение широкого перечня финансовых и нефинансовых потребностей</a:t>
            </a:r>
            <a:endParaRPr lang="en-GB" sz="2800" kern="0" dirty="0"/>
          </a:p>
        </p:txBody>
      </p:sp>
      <p:sp>
        <p:nvSpPr>
          <p:cNvPr id="44" name="Овал 79"/>
          <p:cNvSpPr/>
          <p:nvPr/>
        </p:nvSpPr>
        <p:spPr>
          <a:xfrm>
            <a:off x="4066142" y="2171550"/>
            <a:ext cx="1828800" cy="1737360"/>
          </a:xfrm>
          <a:prstGeom prst="ellipse">
            <a:avLst/>
          </a:prstGeom>
          <a:ln w="63500">
            <a:solidFill>
              <a:schemeClr val="tx2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ru-RU" sz="1200" dirty="0" smtClean="0">
                <a:cs typeface="DokChampa" panose="020B0604020202020204" pitchFamily="34" charset="-34"/>
              </a:rPr>
              <a:t>Физ. лицо</a:t>
            </a:r>
            <a:endParaRPr lang="ru-RU" sz="1200" dirty="0">
              <a:cs typeface="DokChampa" panose="020B0604020202020204" pitchFamily="34" charset="-34"/>
            </a:endParaRPr>
          </a:p>
        </p:txBody>
      </p:sp>
      <p:sp>
        <p:nvSpPr>
          <p:cNvPr id="45" name="Овал 80"/>
          <p:cNvSpPr/>
          <p:nvPr/>
        </p:nvSpPr>
        <p:spPr>
          <a:xfrm>
            <a:off x="4066139" y="3075891"/>
            <a:ext cx="1828800" cy="1645920"/>
          </a:xfrm>
          <a:prstGeom prst="ellipse">
            <a:avLst/>
          </a:prstGeom>
          <a:noFill/>
          <a:ln w="63500">
            <a:solidFill>
              <a:srgbClr val="0091D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b"/>
          <a:lstStyle/>
          <a:p>
            <a:pPr algn="ctr"/>
            <a:endParaRPr lang="ru-RU" sz="1200" dirty="0" smtClean="0"/>
          </a:p>
          <a:p>
            <a:pPr algn="ctr"/>
            <a:r>
              <a:rPr lang="ru-RU" sz="1200" dirty="0" smtClean="0"/>
              <a:t>Юр. лицо</a:t>
            </a:r>
            <a:endParaRPr lang="ru-RU" sz="1200" dirty="0"/>
          </a:p>
        </p:txBody>
      </p:sp>
      <p:sp>
        <p:nvSpPr>
          <p:cNvPr id="46" name="TextBox 45"/>
          <p:cNvSpPr txBox="1"/>
          <p:nvPr/>
        </p:nvSpPr>
        <p:spPr>
          <a:xfrm>
            <a:off x="608928" y="1461097"/>
            <a:ext cx="2743200" cy="364401"/>
          </a:xfrm>
          <a:prstGeom prst="rect">
            <a:avLst/>
          </a:prstGeom>
          <a:solidFill>
            <a:srgbClr val="00338D"/>
          </a:solidFill>
          <a:ln w="9525" cap="flat" cmpd="sng" algn="ctr">
            <a:solidFill>
              <a:srgbClr val="0033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defTabSz="957263">
              <a:defRPr sz="1400">
                <a:solidFill>
                  <a:srgbClr val="FFFFFF"/>
                </a:solidFill>
              </a:defRPr>
            </a:lvl1pPr>
          </a:lstStyle>
          <a:p>
            <a:r>
              <a:rPr lang="ru-RU" sz="1200" b="1" dirty="0"/>
              <a:t>Финансовые потребности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7046" y="1865139"/>
            <a:ext cx="286211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Ежедневный банкинг</a:t>
            </a:r>
            <a:endParaRPr lang="en-US" sz="1200" b="1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Дебетовые  карт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Кредитные карт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латеж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еревод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Госуслуг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Гаранти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Безопасные сделки с третьими лицами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6643325" y="1882613"/>
            <a:ext cx="18088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Недвижимость</a:t>
            </a:r>
            <a:endParaRPr lang="en-US" sz="1200" b="1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Ипотека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Страхование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Оценка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Юридическая проверка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6643325" y="3051827"/>
            <a:ext cx="15819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Путешествия и командировки</a:t>
            </a:r>
            <a:endParaRPr lang="en-US" sz="1200" b="1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Авиабилет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Бронь отелей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Аренда авто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Страхование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Мильные карт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Возврат НДС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26732" y="3657132"/>
            <a:ext cx="2862112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Накопления, инвестиции, </a:t>
            </a:r>
            <a:r>
              <a:rPr lang="en-US" sz="1200" b="1" dirty="0"/>
              <a:t>cash management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Депозиты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Акци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Облигаци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Инвестиционное страхование жизн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Управление остаткам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Казначейские услуги (валюта, РЕПО, трансграничные платежи)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 err="1"/>
              <a:t>Робоэдвайзинг</a:t>
            </a:r>
            <a:endParaRPr lang="ru-RU" sz="1200" dirty="0"/>
          </a:p>
        </p:txBody>
      </p:sp>
      <p:sp>
        <p:nvSpPr>
          <p:cNvPr id="52" name="TextBox 51"/>
          <p:cNvSpPr txBox="1"/>
          <p:nvPr/>
        </p:nvSpPr>
        <p:spPr>
          <a:xfrm>
            <a:off x="8109848" y="3051827"/>
            <a:ext cx="147198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Авто</a:t>
            </a:r>
            <a:endParaRPr lang="en-US" sz="1200" b="1" dirty="0"/>
          </a:p>
          <a:p>
            <a:pPr marL="278606" indent="-278606">
              <a:buFont typeface="Arial" panose="020B0604020202020204" pitchFamily="34" charset="0"/>
              <a:buChar char="•"/>
            </a:pPr>
            <a:endParaRPr lang="ru-RU" sz="1200" dirty="0" smtClean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 smtClean="0"/>
              <a:t>Автокредиты</a:t>
            </a:r>
            <a:endParaRPr lang="ru-RU" sz="1200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Страхование</a:t>
            </a:r>
            <a:endParaRPr lang="en-US" sz="1200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Лизинг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одбор авто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Юридическая поддержка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789359" y="1583500"/>
            <a:ext cx="23593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err="1"/>
              <a:t>Омниканальная</a:t>
            </a:r>
            <a:r>
              <a:rPr lang="ru-RU" sz="1200" b="1" dirty="0"/>
              <a:t> точка входа</a:t>
            </a:r>
          </a:p>
        </p:txBody>
      </p:sp>
      <p:sp>
        <p:nvSpPr>
          <p:cNvPr id="65" name="Прямоугольник 102"/>
          <p:cNvSpPr/>
          <p:nvPr/>
        </p:nvSpPr>
        <p:spPr>
          <a:xfrm>
            <a:off x="457570" y="6022836"/>
            <a:ext cx="9047613" cy="3779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Собственные и партнерские С2В, В2С и В2В площадки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643325" y="4580461"/>
            <a:ext cx="286210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/>
              <a:t>Бизнес</a:t>
            </a:r>
            <a:endParaRPr lang="en-US" sz="1200" b="1" dirty="0"/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Открыть бизнес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Масштабировать бизнес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Сервисы для аналитики и учета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роверенные партнеры для масштабирования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8109848" y="1902589"/>
            <a:ext cx="14672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латежи за ЖКХ, налоги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Переводы за аренду</a:t>
            </a:r>
          </a:p>
          <a:p>
            <a:pPr marL="278606" indent="-278606">
              <a:buFont typeface="Arial" panose="020B0604020202020204" pitchFamily="34" charset="0"/>
              <a:buChar char="•"/>
            </a:pPr>
            <a:r>
              <a:rPr lang="ru-RU" sz="1200" dirty="0"/>
              <a:t>Возврат налогов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173214" y="3339100"/>
            <a:ext cx="15916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dk1"/>
                </a:solidFill>
              </a:rPr>
              <a:t>Предприниматель</a:t>
            </a:r>
          </a:p>
        </p:txBody>
      </p:sp>
      <p:sp>
        <p:nvSpPr>
          <p:cNvPr id="7" name="Rectangle 6"/>
          <p:cNvSpPr/>
          <p:nvPr/>
        </p:nvSpPr>
        <p:spPr>
          <a:xfrm>
            <a:off x="529392" y="1143000"/>
            <a:ext cx="9052560" cy="4648520"/>
          </a:xfrm>
          <a:prstGeom prst="rect">
            <a:avLst/>
          </a:prstGeom>
          <a:noFill/>
          <a:ln>
            <a:solidFill>
              <a:srgbClr val="00338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643325" y="1462725"/>
            <a:ext cx="2743200" cy="364728"/>
          </a:xfrm>
          <a:prstGeom prst="rect">
            <a:avLst/>
          </a:prstGeom>
          <a:solidFill>
            <a:srgbClr val="00338D"/>
          </a:solidFill>
          <a:ln w="9525" cap="flat" cmpd="sng" algn="ctr">
            <a:solidFill>
              <a:srgbClr val="00338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defTabSz="957263">
              <a:defRPr sz="1400">
                <a:solidFill>
                  <a:srgbClr val="FFFFFF"/>
                </a:solidFill>
              </a:defRPr>
            </a:lvl1pPr>
          </a:lstStyle>
          <a:p>
            <a:r>
              <a:rPr lang="ru-RU" sz="1200" b="1" dirty="0" err="1" smtClean="0"/>
              <a:t>Квазифинансовые</a:t>
            </a:r>
            <a:r>
              <a:rPr lang="ru-RU" sz="1200" b="1" dirty="0" smtClean="0"/>
              <a:t> и нефинансовые потребности</a:t>
            </a:r>
            <a:endParaRPr lang="ru-RU" sz="1200" b="1" dirty="0"/>
          </a:p>
        </p:txBody>
      </p:sp>
      <p:sp>
        <p:nvSpPr>
          <p:cNvPr id="8" name="Left-Right Arrow 7"/>
          <p:cNvSpPr/>
          <p:nvPr/>
        </p:nvSpPr>
        <p:spPr>
          <a:xfrm>
            <a:off x="6026627" y="2396328"/>
            <a:ext cx="494305" cy="279944"/>
          </a:xfrm>
          <a:prstGeom prst="leftRightArrow">
            <a:avLst/>
          </a:prstGeom>
          <a:solidFill>
            <a:srgbClr val="6D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87" name="Left-Right Arrow 86"/>
          <p:cNvSpPr/>
          <p:nvPr/>
        </p:nvSpPr>
        <p:spPr>
          <a:xfrm>
            <a:off x="6033065" y="4049578"/>
            <a:ext cx="494305" cy="279944"/>
          </a:xfrm>
          <a:prstGeom prst="leftRightArrow">
            <a:avLst/>
          </a:prstGeom>
          <a:solidFill>
            <a:srgbClr val="6D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88" name="Left-Right Arrow 87"/>
          <p:cNvSpPr/>
          <p:nvPr/>
        </p:nvSpPr>
        <p:spPr>
          <a:xfrm>
            <a:off x="3410782" y="2396328"/>
            <a:ext cx="494305" cy="279944"/>
          </a:xfrm>
          <a:prstGeom prst="leftRightArrow">
            <a:avLst/>
          </a:prstGeom>
          <a:solidFill>
            <a:srgbClr val="6D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89" name="Left-Right Arrow 88"/>
          <p:cNvSpPr/>
          <p:nvPr/>
        </p:nvSpPr>
        <p:spPr>
          <a:xfrm>
            <a:off x="3405504" y="4049578"/>
            <a:ext cx="494305" cy="279944"/>
          </a:xfrm>
          <a:prstGeom prst="leftRightArrow">
            <a:avLst/>
          </a:prstGeom>
          <a:solidFill>
            <a:srgbClr val="6D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90" name="Left-Right Arrow 89"/>
          <p:cNvSpPr/>
          <p:nvPr/>
        </p:nvSpPr>
        <p:spPr>
          <a:xfrm rot="5400000">
            <a:off x="4722336" y="5016589"/>
            <a:ext cx="494305" cy="279944"/>
          </a:xfrm>
          <a:prstGeom prst="leftRightArrow">
            <a:avLst/>
          </a:prstGeom>
          <a:solidFill>
            <a:srgbClr val="6D20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91" name="Left-Right Arrow 90"/>
          <p:cNvSpPr/>
          <p:nvPr/>
        </p:nvSpPr>
        <p:spPr>
          <a:xfrm rot="5400000">
            <a:off x="3895961" y="5632004"/>
            <a:ext cx="457200" cy="274320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  <p:sp>
        <p:nvSpPr>
          <p:cNvPr id="92" name="Left-Right Arrow 91"/>
          <p:cNvSpPr/>
          <p:nvPr/>
        </p:nvSpPr>
        <p:spPr>
          <a:xfrm rot="5400000">
            <a:off x="5554838" y="5632003"/>
            <a:ext cx="457200" cy="274320"/>
          </a:xfrm>
          <a:prstGeom prst="leftRightArrow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542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425800" y="1506601"/>
            <a:ext cx="6192000" cy="795269"/>
          </a:xfrm>
        </p:spPr>
        <p:txBody>
          <a:bodyPr/>
          <a:lstStyle/>
          <a:p>
            <a:r>
              <a:rPr lang="ru-RU" sz="8123" dirty="0"/>
              <a:t>Контакты:</a:t>
            </a:r>
            <a:endParaRPr lang="en-US" sz="8123" dirty="0"/>
          </a:p>
        </p:txBody>
      </p:sp>
      <p:sp>
        <p:nvSpPr>
          <p:cNvPr id="15" name="Rectangle 14"/>
          <p:cNvSpPr/>
          <p:nvPr/>
        </p:nvSpPr>
        <p:spPr>
          <a:xfrm>
            <a:off x="3578746" y="2741306"/>
            <a:ext cx="1481527" cy="1455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9846" tIns="49846" rIns="49846" bIns="49846" rtlCol="0" anchor="b"/>
          <a:lstStyle/>
          <a:p>
            <a:r>
              <a:rPr lang="ru-RU" sz="1100" b="1" dirty="0" smtClean="0"/>
              <a:t>Наталья </a:t>
            </a:r>
            <a:r>
              <a:rPr lang="ru-RU" sz="1100" b="1" dirty="0" err="1" smtClean="0"/>
              <a:t>Ракова</a:t>
            </a:r>
            <a:endParaRPr lang="ru-RU" sz="1100" b="1" dirty="0"/>
          </a:p>
          <a:p>
            <a:r>
              <a:rPr lang="ru-RU" sz="1050" dirty="0" smtClean="0">
                <a:solidFill>
                  <a:schemeClr val="bg1"/>
                </a:solidFill>
              </a:rPr>
              <a:t>Партнер, </a:t>
            </a:r>
            <a:r>
              <a:rPr lang="ru-RU" sz="1050" dirty="0">
                <a:solidFill>
                  <a:schemeClr val="bg1"/>
                </a:solidFill>
              </a:rPr>
              <a:t/>
            </a:r>
            <a:br>
              <a:rPr lang="ru-RU" sz="1050" dirty="0">
                <a:solidFill>
                  <a:schemeClr val="bg1"/>
                </a:solidFill>
              </a:rPr>
            </a:br>
            <a:r>
              <a:rPr lang="ru-RU" sz="1050" dirty="0" smtClean="0">
                <a:solidFill>
                  <a:schemeClr val="bg1"/>
                </a:solidFill>
              </a:rPr>
              <a:t>КПМГ </a:t>
            </a:r>
            <a:r>
              <a:rPr lang="ru-RU" sz="1050" dirty="0">
                <a:solidFill>
                  <a:schemeClr val="bg1"/>
                </a:solidFill>
              </a:rPr>
              <a:t>в России и СНГ</a:t>
            </a:r>
          </a:p>
          <a:p>
            <a:r>
              <a:rPr lang="ru-RU" sz="1050" dirty="0">
                <a:solidFill>
                  <a:schemeClr val="bg1"/>
                </a:solidFill>
              </a:rPr>
              <a:t/>
            </a:r>
            <a:br>
              <a:rPr lang="ru-RU" sz="1050" dirty="0">
                <a:solidFill>
                  <a:schemeClr val="bg1"/>
                </a:solidFill>
              </a:rPr>
            </a:br>
            <a:r>
              <a:rPr lang="ru-RU" sz="1050" dirty="0">
                <a:solidFill>
                  <a:schemeClr val="bg1"/>
                </a:solidFill>
              </a:rPr>
              <a:t>T: +7 </a:t>
            </a:r>
            <a:r>
              <a:rPr lang="ru-RU" sz="1050" dirty="0" smtClean="0">
                <a:solidFill>
                  <a:schemeClr val="bg1"/>
                </a:solidFill>
              </a:rPr>
              <a:t>(906</a:t>
            </a:r>
            <a:r>
              <a:rPr lang="ru-RU" sz="1050" dirty="0">
                <a:solidFill>
                  <a:schemeClr val="bg1"/>
                </a:solidFill>
              </a:rPr>
              <a:t>) 789 59 </a:t>
            </a:r>
            <a:r>
              <a:rPr lang="ru-RU" sz="1050" dirty="0" smtClean="0">
                <a:solidFill>
                  <a:schemeClr val="bg1"/>
                </a:solidFill>
              </a:rPr>
              <a:t>50</a:t>
            </a:r>
            <a:endParaRPr lang="ru-RU" sz="1050" dirty="0">
              <a:solidFill>
                <a:schemeClr val="bg1"/>
              </a:solidFill>
            </a:endParaRPr>
          </a:p>
          <a:p>
            <a:r>
              <a:rPr lang="ru-RU" sz="1050" dirty="0">
                <a:solidFill>
                  <a:schemeClr val="bg1"/>
                </a:solidFill>
              </a:rPr>
              <a:t>E: </a:t>
            </a:r>
            <a:r>
              <a:rPr lang="en-US" sz="1050" dirty="0" smtClean="0">
                <a:solidFill>
                  <a:schemeClr val="bg1"/>
                </a:solidFill>
              </a:rPr>
              <a:t>nrakova@kpmg.ru</a:t>
            </a:r>
            <a:endParaRPr lang="en-US" sz="105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9342" y="2742944"/>
            <a:ext cx="988858" cy="1451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59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 Placeholder 3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i="1" dirty="0" smtClean="0"/>
              <a:t>Настоящий документ подготовлен </a:t>
            </a:r>
            <a:r>
              <a:rPr lang="ru-RU" i="1" dirty="0"/>
              <a:t>АО</a:t>
            </a:r>
            <a:r>
              <a:rPr lang="en-US" i="1" dirty="0"/>
              <a:t> </a:t>
            </a:r>
            <a:r>
              <a:rPr lang="ru-RU" i="1" dirty="0"/>
              <a:t>«КПМГ», компанией, зарегистрированной в соответствии с законодательством Российской Федерации, членом сети независимых фирм КПМГ, входящих в ассоциацию KPMG International </a:t>
            </a:r>
            <a:r>
              <a:rPr lang="en-US" i="1" dirty="0"/>
              <a:t>Cooperative</a:t>
            </a:r>
            <a:r>
              <a:rPr lang="ru-RU" i="1" dirty="0"/>
              <a:t> (“</a:t>
            </a:r>
            <a:r>
              <a:rPr lang="en-US" i="1" dirty="0"/>
              <a:t>KPMG International</a:t>
            </a:r>
            <a:r>
              <a:rPr lang="ru-RU" i="1" dirty="0"/>
              <a:t>”), зарегистрированной по законодательству Швейцарии</a:t>
            </a:r>
            <a:r>
              <a:rPr lang="ru-RU" i="1" dirty="0" smtClean="0"/>
              <a:t>.  </a:t>
            </a:r>
            <a:r>
              <a:rPr lang="ru-RU" i="1" dirty="0"/>
              <a:t>KPMG International не оказывает профессиональных услуг клиентам. Ни одна из фирм – членов сети КПМГ не имеет полномочий связывать обязательствами перед третьими лицами KPMG International или любую из фирм – членов сети КПМГ, равно как и KPMG International не вправе связывать такими обязательствами ни одну из фирм – членов сети КПМГ. </a:t>
            </a:r>
            <a:endParaRPr lang="ru-RU" dirty="0"/>
          </a:p>
          <a:p>
            <a:r>
              <a:rPr lang="ru-RU" i="1" dirty="0" smtClean="0"/>
              <a:t>Персональные </a:t>
            </a:r>
            <a:r>
              <a:rPr lang="ru-RU" i="1" dirty="0"/>
              <a:t>данные, содержащиеся в настоящем </a:t>
            </a:r>
            <a:r>
              <a:rPr lang="ru-RU" i="1" dirty="0" smtClean="0"/>
              <a:t>документе, </a:t>
            </a:r>
            <a:r>
              <a:rPr lang="ru-RU" i="1" dirty="0"/>
              <a:t>подлежат обработке в соответствии Федеральным законом от 27.07.2006 </a:t>
            </a:r>
            <a:r>
              <a:rPr lang="en-US" i="1" dirty="0"/>
              <a:t>N</a:t>
            </a:r>
            <a:r>
              <a:rPr lang="ru-RU" i="1" dirty="0"/>
              <a:t> 152-ФЗ "О персональных данных".</a:t>
            </a:r>
            <a:endParaRPr lang="ru-RU" dirty="0"/>
          </a:p>
        </p:txBody>
      </p:sp>
      <p:sp>
        <p:nvSpPr>
          <p:cNvPr id="8" name="Text Placeholder 2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715999" y="5799923"/>
            <a:ext cx="7375525" cy="4123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45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white">
                    <a:lumMod val="65000"/>
                  </a:prstClr>
                </a:solidFill>
              </a:rPr>
              <a:t>© 201</a:t>
            </a:r>
            <a:r>
              <a:rPr lang="ru-RU" dirty="0">
                <a:solidFill>
                  <a:prstClr val="white">
                    <a:lumMod val="65000"/>
                  </a:prstClr>
                </a:solidFill>
              </a:rPr>
              <a:t>8</a:t>
            </a:r>
            <a:r>
              <a:rPr lang="ru-RU" dirty="0" smtClean="0">
                <a:solidFill>
                  <a:prstClr val="white">
                    <a:lumMod val="65000"/>
                  </a:prstClr>
                </a:solidFill>
              </a:rPr>
              <a:t> 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International Cooperative (“KPMG International”), зарегистрированную по законодательству Швейцарии. Все права защищены. 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9" name="Text Placeholder 29"/>
          <p:cNvSpPr txBox="1">
            <a:spLocks/>
          </p:cNvSpPr>
          <p:nvPr/>
        </p:nvSpPr>
        <p:spPr>
          <a:xfrm>
            <a:off x="1715999" y="6283325"/>
            <a:ext cx="7375525" cy="1190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345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540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Tx/>
              <a:buNone/>
              <a:defRPr sz="900" b="0" kern="1200" baseline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white">
                    <a:lumMod val="65000"/>
                  </a:prstClr>
                </a:solidFill>
              </a:rPr>
              <a:t>KPMG и логотип KPMG являются зарегистрированными товарными знаками или товарными знаками ассоциации KPMG International.</a:t>
            </a:r>
            <a:endParaRPr lang="ru-RU" dirty="0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239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1368406" y="6151418"/>
            <a:ext cx="4549001" cy="539500"/>
          </a:xfrm>
          <a:prstGeom prst="rect">
            <a:avLst/>
          </a:prstGeom>
          <a:solidFill>
            <a:schemeClr val="bg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544967" y="6271404"/>
            <a:ext cx="5814033" cy="39681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100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7548131"/>
              </p:ext>
            </p:extLst>
          </p:nvPr>
        </p:nvGraphicFramePr>
        <p:xfrm>
          <a:off x="3205790" y="1988458"/>
          <a:ext cx="5885822" cy="2375776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5418359"/>
                <a:gridCol w="467463"/>
              </a:tblGrid>
              <a:tr h="593944">
                <a:tc>
                  <a:txBody>
                    <a:bodyPr/>
                    <a:lstStyle/>
                    <a:p>
                      <a:pPr marL="358775" indent="0" algn="l" rtl="0" fontAlgn="ctr"/>
                      <a:r>
                        <a:rPr lang="ru-RU" sz="1400" b="1" i="0" u="none" strike="noStrike" baseline="0" dirty="0" smtClean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n-lt"/>
                        </a:rPr>
                        <a:t>Влияние </a:t>
                      </a:r>
                      <a:r>
                        <a:rPr lang="ru-RU" sz="1400" b="1" i="0" u="none" strike="noStrike" baseline="0" dirty="0" err="1" smtClean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n-lt"/>
                        </a:rPr>
                        <a:t>FinTech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n-lt"/>
                        </a:rPr>
                        <a:t> на банковский рынок. Банк будущего</a:t>
                      </a:r>
                      <a:endParaRPr lang="ru-RU" sz="1400" b="1" i="0" u="none" strike="noStrike" dirty="0" smtClean="0">
                        <a:solidFill>
                          <a:schemeClr val="tx2">
                            <a:lumMod val="10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rtl="0" fontAlgn="b"/>
                      <a:endParaRPr lang="en-US" sz="14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</a:tr>
              <a:tr h="593944">
                <a:tc>
                  <a:txBody>
                    <a:bodyPr/>
                    <a:lstStyle/>
                    <a:p>
                      <a:pPr marL="358775" indent="0" algn="l" rtl="0" fontAlgn="ctr"/>
                      <a:r>
                        <a:rPr lang="ru-RU" sz="1400" b="1" i="0" u="none" strike="noStrike" dirty="0" smtClean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n-lt"/>
                        </a:rPr>
                        <a:t>Цифровой банк</a:t>
                      </a: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rtl="0" fontAlgn="b"/>
                      <a:endParaRPr lang="en-US" sz="14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</a:tr>
              <a:tr h="593944">
                <a:tc>
                  <a:txBody>
                    <a:bodyPr/>
                    <a:lstStyle/>
                    <a:p>
                      <a:pPr marL="358775" indent="0" algn="l" rtl="0" fontAlgn="ctr"/>
                      <a:r>
                        <a:rPr lang="ru-RU" sz="1400" b="1" i="0" u="none" strike="noStrike" dirty="0" smtClean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+mn-lt"/>
                        </a:rPr>
                        <a:t>Экосистема</a:t>
                      </a: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rtl="0" fontAlgn="ctr"/>
                      <a:endParaRPr lang="en-US" sz="1400" b="1" i="0" u="none" strike="noStrike" dirty="0" smtClean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100000"/>
                      </a:schemeClr>
                    </a:solidFill>
                  </a:tcPr>
                </a:tc>
              </a:tr>
              <a:tr h="593944">
                <a:tc>
                  <a:txBody>
                    <a:bodyPr/>
                    <a:lstStyle/>
                    <a:p>
                      <a:pPr marL="53975" indent="0" algn="l" rtl="0" fontAlgn="ctr"/>
                      <a:endParaRPr lang="ru-RU" sz="1400" b="1" i="0" u="none" strike="noStrike" dirty="0" smtClean="0">
                        <a:solidFill>
                          <a:schemeClr val="tx2">
                            <a:lumMod val="10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6000" algn="ctr" rtl="0" fontAlgn="ctr"/>
                      <a:endParaRPr lang="en-US" sz="1400" b="1" i="0" u="none" strike="noStrike" dirty="0" smtClean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180000" marB="18000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5790" y="446360"/>
            <a:ext cx="6360060" cy="723600"/>
          </a:xfrm>
        </p:spPr>
        <p:txBody>
          <a:bodyPr/>
          <a:lstStyle/>
          <a:p>
            <a:r>
              <a:rPr lang="ru-RU" sz="5400" dirty="0" smtClean="0"/>
              <a:t>Содержание</a:t>
            </a:r>
            <a:endParaRPr lang="en-US" sz="5400" dirty="0"/>
          </a:p>
        </p:txBody>
      </p:sp>
      <p:pic>
        <p:nvPicPr>
          <p:cNvPr id="96" name="Picture 9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342"/>
            <a:ext cx="2987733" cy="6879341"/>
          </a:xfrm>
          <a:prstGeom prst="rect">
            <a:avLst/>
          </a:prstGeom>
        </p:spPr>
      </p:pic>
      <p:sp>
        <p:nvSpPr>
          <p:cNvPr id="98" name="TextBox 97"/>
          <p:cNvSpPr txBox="1"/>
          <p:nvPr/>
        </p:nvSpPr>
        <p:spPr>
          <a:xfrm>
            <a:off x="3205790" y="6235768"/>
            <a:ext cx="5770914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© 2018 г. АО «КПМГ», компания, зарегистрированная в соответствии с законодательством Российской Федерации, член сети независимых фирм КПМГ, входящих в ассоциацию 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Cooperative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 (“KPMG </a:t>
            </a:r>
            <a:r>
              <a:rPr lang="ru-RU" sz="600" kern="1200" noProof="0" dirty="0" err="1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International</a:t>
            </a:r>
            <a:r>
              <a:rPr lang="ru-RU" sz="600" kern="1200" noProof="0" dirty="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”), зарегистрированную по законодательству Швейцарии. Все права защищены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3205790" y="2174730"/>
            <a:ext cx="228600" cy="228600"/>
          </a:xfrm>
          <a:prstGeom prst="rect">
            <a:avLst/>
          </a:prstGeom>
          <a:solidFill>
            <a:srgbClr val="E36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205790" y="2759789"/>
            <a:ext cx="228600" cy="228600"/>
          </a:xfrm>
          <a:prstGeom prst="rect">
            <a:avLst/>
          </a:prstGeom>
          <a:solidFill>
            <a:srgbClr val="E36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205790" y="3344847"/>
            <a:ext cx="228600" cy="228600"/>
          </a:xfrm>
          <a:prstGeom prst="rect">
            <a:avLst/>
          </a:prstGeom>
          <a:solidFill>
            <a:srgbClr val="E368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2827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12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ru-RU" sz="4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4800" dirty="0" smtClean="0"/>
              <a:t>Влияние </a:t>
            </a:r>
            <a:r>
              <a:rPr lang="en-US" sz="4800" dirty="0" err="1" smtClean="0"/>
              <a:t>FinTech</a:t>
            </a:r>
            <a:r>
              <a:rPr lang="en-US" sz="4800" dirty="0" smtClean="0"/>
              <a:t> </a:t>
            </a:r>
            <a:r>
              <a:rPr lang="ru-RU" sz="4800" dirty="0" smtClean="0"/>
              <a:t>на банковский рынок. Банк будущего</a:t>
            </a:r>
            <a:endParaRPr lang="ru-RU" sz="4800" dirty="0"/>
          </a:p>
        </p:txBody>
      </p:sp>
    </p:spTree>
    <p:extLst>
      <p:ext uri="{BB962C8B-B14F-4D97-AF65-F5344CB8AC3E}">
        <p14:creationId xmlns:p14="http://schemas.microsoft.com/office/powerpoint/2010/main" val="3591876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257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7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 err="1" smtClean="0">
              <a:solidFill>
                <a:schemeClr val="bg1"/>
              </a:solidFill>
              <a:latin typeface="KPMG Cyrillic Extralight" panose="020B0303030202040204" pitchFamily="34" charset="-52"/>
              <a:ea typeface="+mj-ea"/>
              <a:cs typeface="+mj-cs"/>
              <a:sym typeface="KPMG Cyrillic Extralight" panose="020B0303030202040204" pitchFamily="34" charset="-5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28004" y="1725769"/>
            <a:ext cx="5287860" cy="472654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 anchor="t">
            <a:noAutofit/>
          </a:bodyPr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иссионный доход банков и компаний </a:t>
            </a:r>
            <a:r>
              <a:rPr lang="en-US" sz="12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 </a:t>
            </a:r>
            <a:r>
              <a:rPr lang="ru-RU" sz="1200" b="1" dirty="0" smtClean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еликобритании</a:t>
            </a:r>
            <a:endParaRPr lang="ru-RU" sz="1200" b="1" baseline="30000" dirty="0">
              <a:solidFill>
                <a:schemeClr val="tx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825600" y="203863"/>
            <a:ext cx="8254800" cy="1692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ru-RU" sz="2800" dirty="0"/>
              <a:t>Основным трендом на рынке банковских услуг в развитых странах является усиление конкуренции со стороны </a:t>
            </a:r>
            <a:r>
              <a:rPr lang="en-US" sz="2800" dirty="0" smtClean="0"/>
              <a:t>digital </a:t>
            </a:r>
            <a:r>
              <a:rPr lang="ru-RU" sz="2800" dirty="0" smtClean="0"/>
              <a:t>компаний</a:t>
            </a:r>
            <a:r>
              <a:rPr lang="ru-RU" sz="2800" dirty="0"/>
              <a:t>…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1503751" y="2066494"/>
            <a:ext cx="3145966" cy="4329281"/>
            <a:chOff x="522164" y="1882454"/>
            <a:chExt cx="4224336" cy="5284786"/>
          </a:xfrm>
        </p:grpSpPr>
        <p:sp>
          <p:nvSpPr>
            <p:cNvPr id="6" name="Freeform 12"/>
            <p:cNvSpPr>
              <a:spLocks noEditPoints="1"/>
            </p:cNvSpPr>
            <p:nvPr/>
          </p:nvSpPr>
          <p:spPr bwMode="auto">
            <a:xfrm>
              <a:off x="2360488" y="5230491"/>
              <a:ext cx="889000" cy="1136650"/>
            </a:xfrm>
            <a:custGeom>
              <a:avLst/>
              <a:gdLst>
                <a:gd name="T0" fmla="*/ 387 w 402"/>
                <a:gd name="T1" fmla="*/ 395 h 514"/>
                <a:gd name="T2" fmla="*/ 373 w 402"/>
                <a:gd name="T3" fmla="*/ 378 h 514"/>
                <a:gd name="T4" fmla="*/ 351 w 402"/>
                <a:gd name="T5" fmla="*/ 378 h 514"/>
                <a:gd name="T6" fmla="*/ 335 w 402"/>
                <a:gd name="T7" fmla="*/ 361 h 514"/>
                <a:gd name="T8" fmla="*/ 325 w 402"/>
                <a:gd name="T9" fmla="*/ 329 h 514"/>
                <a:gd name="T10" fmla="*/ 331 w 402"/>
                <a:gd name="T11" fmla="*/ 315 h 514"/>
                <a:gd name="T12" fmla="*/ 335 w 402"/>
                <a:gd name="T13" fmla="*/ 294 h 514"/>
                <a:gd name="T14" fmla="*/ 345 w 402"/>
                <a:gd name="T15" fmla="*/ 280 h 514"/>
                <a:gd name="T16" fmla="*/ 338 w 402"/>
                <a:gd name="T17" fmla="*/ 271 h 514"/>
                <a:gd name="T18" fmla="*/ 316 w 402"/>
                <a:gd name="T19" fmla="*/ 260 h 514"/>
                <a:gd name="T20" fmla="*/ 303 w 402"/>
                <a:gd name="T21" fmla="*/ 248 h 514"/>
                <a:gd name="T22" fmla="*/ 321 w 402"/>
                <a:gd name="T23" fmla="*/ 226 h 514"/>
                <a:gd name="T24" fmla="*/ 339 w 402"/>
                <a:gd name="T25" fmla="*/ 222 h 514"/>
                <a:gd name="T26" fmla="*/ 331 w 402"/>
                <a:gd name="T27" fmla="*/ 220 h 514"/>
                <a:gd name="T28" fmla="*/ 318 w 402"/>
                <a:gd name="T29" fmla="*/ 209 h 514"/>
                <a:gd name="T30" fmla="*/ 333 w 402"/>
                <a:gd name="T31" fmla="*/ 186 h 514"/>
                <a:gd name="T32" fmla="*/ 336 w 402"/>
                <a:gd name="T33" fmla="*/ 167 h 514"/>
                <a:gd name="T34" fmla="*/ 316 w 402"/>
                <a:gd name="T35" fmla="*/ 153 h 514"/>
                <a:gd name="T36" fmla="*/ 315 w 402"/>
                <a:gd name="T37" fmla="*/ 141 h 514"/>
                <a:gd name="T38" fmla="*/ 326 w 402"/>
                <a:gd name="T39" fmla="*/ 130 h 514"/>
                <a:gd name="T40" fmla="*/ 336 w 402"/>
                <a:gd name="T41" fmla="*/ 119 h 514"/>
                <a:gd name="T42" fmla="*/ 349 w 402"/>
                <a:gd name="T43" fmla="*/ 115 h 514"/>
                <a:gd name="T44" fmla="*/ 369 w 402"/>
                <a:gd name="T45" fmla="*/ 123 h 514"/>
                <a:gd name="T46" fmla="*/ 380 w 402"/>
                <a:gd name="T47" fmla="*/ 111 h 514"/>
                <a:gd name="T48" fmla="*/ 357 w 402"/>
                <a:gd name="T49" fmla="*/ 85 h 514"/>
                <a:gd name="T50" fmla="*/ 346 w 402"/>
                <a:gd name="T51" fmla="*/ 61 h 514"/>
                <a:gd name="T52" fmla="*/ 337 w 402"/>
                <a:gd name="T53" fmla="*/ 49 h 514"/>
                <a:gd name="T54" fmla="*/ 324 w 402"/>
                <a:gd name="T55" fmla="*/ 41 h 514"/>
                <a:gd name="T56" fmla="*/ 237 w 402"/>
                <a:gd name="T57" fmla="*/ 34 h 514"/>
                <a:gd name="T58" fmla="*/ 168 w 402"/>
                <a:gd name="T59" fmla="*/ 49 h 514"/>
                <a:gd name="T60" fmla="*/ 144 w 402"/>
                <a:gd name="T61" fmla="*/ 75 h 514"/>
                <a:gd name="T62" fmla="*/ 136 w 402"/>
                <a:gd name="T63" fmla="*/ 90 h 514"/>
                <a:gd name="T64" fmla="*/ 99 w 402"/>
                <a:gd name="T65" fmla="*/ 128 h 514"/>
                <a:gd name="T66" fmla="*/ 115 w 402"/>
                <a:gd name="T67" fmla="*/ 151 h 514"/>
                <a:gd name="T68" fmla="*/ 166 w 402"/>
                <a:gd name="T69" fmla="*/ 133 h 514"/>
                <a:gd name="T70" fmla="*/ 179 w 402"/>
                <a:gd name="T71" fmla="*/ 220 h 514"/>
                <a:gd name="T72" fmla="*/ 147 w 402"/>
                <a:gd name="T73" fmla="*/ 303 h 514"/>
                <a:gd name="T74" fmla="*/ 86 w 402"/>
                <a:gd name="T75" fmla="*/ 327 h 514"/>
                <a:gd name="T76" fmla="*/ 25 w 402"/>
                <a:gd name="T77" fmla="*/ 359 h 514"/>
                <a:gd name="T78" fmla="*/ 20 w 402"/>
                <a:gd name="T79" fmla="*/ 418 h 514"/>
                <a:gd name="T80" fmla="*/ 37 w 402"/>
                <a:gd name="T81" fmla="*/ 435 h 514"/>
                <a:gd name="T82" fmla="*/ 50 w 402"/>
                <a:gd name="T83" fmla="*/ 436 h 514"/>
                <a:gd name="T84" fmla="*/ 49 w 402"/>
                <a:gd name="T85" fmla="*/ 460 h 514"/>
                <a:gd name="T86" fmla="*/ 95 w 402"/>
                <a:gd name="T87" fmla="*/ 428 h 514"/>
                <a:gd name="T88" fmla="*/ 184 w 402"/>
                <a:gd name="T89" fmla="*/ 443 h 514"/>
                <a:gd name="T90" fmla="*/ 157 w 402"/>
                <a:gd name="T91" fmla="*/ 453 h 514"/>
                <a:gd name="T92" fmla="*/ 170 w 402"/>
                <a:gd name="T93" fmla="*/ 475 h 514"/>
                <a:gd name="T94" fmla="*/ 229 w 402"/>
                <a:gd name="T95" fmla="*/ 470 h 514"/>
                <a:gd name="T96" fmla="*/ 309 w 402"/>
                <a:gd name="T97" fmla="*/ 513 h 514"/>
                <a:gd name="T98" fmla="*/ 332 w 402"/>
                <a:gd name="T99" fmla="*/ 486 h 514"/>
                <a:gd name="T100" fmla="*/ 398 w 402"/>
                <a:gd name="T101" fmla="*/ 458 h 514"/>
                <a:gd name="T102" fmla="*/ 397 w 402"/>
                <a:gd name="T103" fmla="*/ 435 h 514"/>
                <a:gd name="T104" fmla="*/ 402 w 402"/>
                <a:gd name="T105" fmla="*/ 401 h 514"/>
                <a:gd name="T106" fmla="*/ 157 w 402"/>
                <a:gd name="T107" fmla="*/ 54 h 514"/>
                <a:gd name="T108" fmla="*/ 167 w 402"/>
                <a:gd name="T109" fmla="*/ 29 h 514"/>
                <a:gd name="T110" fmla="*/ 143 w 402"/>
                <a:gd name="T111" fmla="*/ 4 h 514"/>
                <a:gd name="T112" fmla="*/ 102 w 402"/>
                <a:gd name="T113" fmla="*/ 38 h 514"/>
                <a:gd name="T114" fmla="*/ 99 w 402"/>
                <a:gd name="T115" fmla="*/ 32 h 514"/>
                <a:gd name="T116" fmla="*/ 86 w 402"/>
                <a:gd name="T117" fmla="*/ 37 h 5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02" h="514">
                  <a:moveTo>
                    <a:pt x="402" y="401"/>
                  </a:moveTo>
                  <a:cubicBezTo>
                    <a:pt x="402" y="401"/>
                    <a:pt x="402" y="401"/>
                    <a:pt x="402" y="401"/>
                  </a:cubicBezTo>
                  <a:cubicBezTo>
                    <a:pt x="401" y="401"/>
                    <a:pt x="400" y="400"/>
                    <a:pt x="399" y="399"/>
                  </a:cubicBezTo>
                  <a:cubicBezTo>
                    <a:pt x="398" y="399"/>
                    <a:pt x="398" y="398"/>
                    <a:pt x="397" y="397"/>
                  </a:cubicBezTo>
                  <a:cubicBezTo>
                    <a:pt x="397" y="397"/>
                    <a:pt x="397" y="397"/>
                    <a:pt x="397" y="397"/>
                  </a:cubicBezTo>
                  <a:cubicBezTo>
                    <a:pt x="395" y="397"/>
                    <a:pt x="394" y="397"/>
                    <a:pt x="394" y="397"/>
                  </a:cubicBezTo>
                  <a:cubicBezTo>
                    <a:pt x="393" y="397"/>
                    <a:pt x="393" y="397"/>
                    <a:pt x="393" y="397"/>
                  </a:cubicBezTo>
                  <a:cubicBezTo>
                    <a:pt x="393" y="397"/>
                    <a:pt x="393" y="397"/>
                    <a:pt x="392" y="397"/>
                  </a:cubicBezTo>
                  <a:cubicBezTo>
                    <a:pt x="392" y="397"/>
                    <a:pt x="390" y="398"/>
                    <a:pt x="388" y="396"/>
                  </a:cubicBezTo>
                  <a:cubicBezTo>
                    <a:pt x="387" y="396"/>
                    <a:pt x="387" y="395"/>
                    <a:pt x="387" y="395"/>
                  </a:cubicBezTo>
                  <a:cubicBezTo>
                    <a:pt x="386" y="394"/>
                    <a:pt x="385" y="393"/>
                    <a:pt x="384" y="392"/>
                  </a:cubicBezTo>
                  <a:cubicBezTo>
                    <a:pt x="384" y="391"/>
                    <a:pt x="384" y="390"/>
                    <a:pt x="384" y="389"/>
                  </a:cubicBezTo>
                  <a:cubicBezTo>
                    <a:pt x="384" y="389"/>
                    <a:pt x="384" y="388"/>
                    <a:pt x="383" y="387"/>
                  </a:cubicBezTo>
                  <a:cubicBezTo>
                    <a:pt x="382" y="387"/>
                    <a:pt x="382" y="386"/>
                    <a:pt x="381" y="385"/>
                  </a:cubicBezTo>
                  <a:cubicBezTo>
                    <a:pt x="380" y="383"/>
                    <a:pt x="378" y="382"/>
                    <a:pt x="377" y="381"/>
                  </a:cubicBezTo>
                  <a:cubicBezTo>
                    <a:pt x="377" y="381"/>
                    <a:pt x="376" y="380"/>
                    <a:pt x="376" y="379"/>
                  </a:cubicBezTo>
                  <a:cubicBezTo>
                    <a:pt x="375" y="379"/>
                    <a:pt x="375" y="379"/>
                    <a:pt x="375" y="379"/>
                  </a:cubicBezTo>
                  <a:cubicBezTo>
                    <a:pt x="375" y="379"/>
                    <a:pt x="374" y="379"/>
                    <a:pt x="374" y="378"/>
                  </a:cubicBezTo>
                  <a:cubicBezTo>
                    <a:pt x="373" y="378"/>
                    <a:pt x="373" y="378"/>
                    <a:pt x="373" y="378"/>
                  </a:cubicBezTo>
                  <a:cubicBezTo>
                    <a:pt x="373" y="378"/>
                    <a:pt x="373" y="378"/>
                    <a:pt x="373" y="378"/>
                  </a:cubicBezTo>
                  <a:cubicBezTo>
                    <a:pt x="373" y="378"/>
                    <a:pt x="373" y="378"/>
                    <a:pt x="373" y="378"/>
                  </a:cubicBezTo>
                  <a:cubicBezTo>
                    <a:pt x="373" y="378"/>
                    <a:pt x="372" y="378"/>
                    <a:pt x="372" y="377"/>
                  </a:cubicBezTo>
                  <a:cubicBezTo>
                    <a:pt x="370" y="376"/>
                    <a:pt x="369" y="376"/>
                    <a:pt x="369" y="376"/>
                  </a:cubicBezTo>
                  <a:cubicBezTo>
                    <a:pt x="366" y="376"/>
                    <a:pt x="366" y="376"/>
                    <a:pt x="366" y="376"/>
                  </a:cubicBezTo>
                  <a:cubicBezTo>
                    <a:pt x="366" y="376"/>
                    <a:pt x="365" y="377"/>
                    <a:pt x="363" y="377"/>
                  </a:cubicBezTo>
                  <a:cubicBezTo>
                    <a:pt x="361" y="378"/>
                    <a:pt x="360" y="378"/>
                    <a:pt x="360" y="378"/>
                  </a:cubicBezTo>
                  <a:cubicBezTo>
                    <a:pt x="359" y="379"/>
                    <a:pt x="359" y="379"/>
                    <a:pt x="359" y="379"/>
                  </a:cubicBezTo>
                  <a:cubicBezTo>
                    <a:pt x="354" y="380"/>
                    <a:pt x="354" y="380"/>
                    <a:pt x="354" y="380"/>
                  </a:cubicBezTo>
                  <a:cubicBezTo>
                    <a:pt x="353" y="380"/>
                    <a:pt x="352" y="379"/>
                    <a:pt x="351" y="378"/>
                  </a:cubicBezTo>
                  <a:cubicBezTo>
                    <a:pt x="351" y="378"/>
                    <a:pt x="351" y="378"/>
                    <a:pt x="351" y="378"/>
                  </a:cubicBezTo>
                  <a:cubicBezTo>
                    <a:pt x="351" y="377"/>
                    <a:pt x="350" y="376"/>
                    <a:pt x="350" y="376"/>
                  </a:cubicBezTo>
                  <a:cubicBezTo>
                    <a:pt x="347" y="377"/>
                    <a:pt x="346" y="376"/>
                    <a:pt x="345" y="376"/>
                  </a:cubicBezTo>
                  <a:cubicBezTo>
                    <a:pt x="345" y="375"/>
                    <a:pt x="344" y="374"/>
                    <a:pt x="345" y="373"/>
                  </a:cubicBezTo>
                  <a:cubicBezTo>
                    <a:pt x="345" y="372"/>
                    <a:pt x="345" y="372"/>
                    <a:pt x="345" y="372"/>
                  </a:cubicBezTo>
                  <a:cubicBezTo>
                    <a:pt x="344" y="371"/>
                    <a:pt x="344" y="371"/>
                    <a:pt x="344" y="371"/>
                  </a:cubicBezTo>
                  <a:cubicBezTo>
                    <a:pt x="343" y="370"/>
                    <a:pt x="343" y="370"/>
                    <a:pt x="343" y="370"/>
                  </a:cubicBezTo>
                  <a:cubicBezTo>
                    <a:pt x="343" y="369"/>
                    <a:pt x="343" y="369"/>
                    <a:pt x="343" y="369"/>
                  </a:cubicBezTo>
                  <a:cubicBezTo>
                    <a:pt x="342" y="369"/>
                    <a:pt x="341" y="368"/>
                    <a:pt x="340" y="367"/>
                  </a:cubicBezTo>
                  <a:cubicBezTo>
                    <a:pt x="339" y="365"/>
                    <a:pt x="339" y="365"/>
                    <a:pt x="339" y="365"/>
                  </a:cubicBezTo>
                  <a:cubicBezTo>
                    <a:pt x="338" y="364"/>
                    <a:pt x="336" y="363"/>
                    <a:pt x="335" y="361"/>
                  </a:cubicBezTo>
                  <a:cubicBezTo>
                    <a:pt x="334" y="359"/>
                    <a:pt x="332" y="357"/>
                    <a:pt x="332" y="357"/>
                  </a:cubicBezTo>
                  <a:cubicBezTo>
                    <a:pt x="331" y="355"/>
                    <a:pt x="330" y="353"/>
                    <a:pt x="330" y="351"/>
                  </a:cubicBezTo>
                  <a:cubicBezTo>
                    <a:pt x="330" y="345"/>
                    <a:pt x="330" y="345"/>
                    <a:pt x="330" y="345"/>
                  </a:cubicBezTo>
                  <a:cubicBezTo>
                    <a:pt x="330" y="345"/>
                    <a:pt x="330" y="345"/>
                    <a:pt x="330" y="345"/>
                  </a:cubicBezTo>
                  <a:cubicBezTo>
                    <a:pt x="330" y="344"/>
                    <a:pt x="330" y="344"/>
                    <a:pt x="329" y="343"/>
                  </a:cubicBezTo>
                  <a:cubicBezTo>
                    <a:pt x="329" y="343"/>
                    <a:pt x="329" y="343"/>
                    <a:pt x="329" y="343"/>
                  </a:cubicBezTo>
                  <a:cubicBezTo>
                    <a:pt x="328" y="342"/>
                    <a:pt x="327" y="341"/>
                    <a:pt x="327" y="340"/>
                  </a:cubicBezTo>
                  <a:cubicBezTo>
                    <a:pt x="326" y="338"/>
                    <a:pt x="326" y="337"/>
                    <a:pt x="326" y="337"/>
                  </a:cubicBezTo>
                  <a:cubicBezTo>
                    <a:pt x="325" y="336"/>
                    <a:pt x="325" y="335"/>
                    <a:pt x="325" y="333"/>
                  </a:cubicBezTo>
                  <a:cubicBezTo>
                    <a:pt x="325" y="332"/>
                    <a:pt x="325" y="330"/>
                    <a:pt x="325" y="329"/>
                  </a:cubicBezTo>
                  <a:cubicBezTo>
                    <a:pt x="325" y="327"/>
                    <a:pt x="325" y="327"/>
                    <a:pt x="325" y="327"/>
                  </a:cubicBezTo>
                  <a:cubicBezTo>
                    <a:pt x="324" y="326"/>
                    <a:pt x="325" y="325"/>
                    <a:pt x="325" y="325"/>
                  </a:cubicBezTo>
                  <a:cubicBezTo>
                    <a:pt x="325" y="325"/>
                    <a:pt x="324" y="324"/>
                    <a:pt x="324" y="323"/>
                  </a:cubicBezTo>
                  <a:cubicBezTo>
                    <a:pt x="323" y="321"/>
                    <a:pt x="323" y="321"/>
                    <a:pt x="323" y="321"/>
                  </a:cubicBezTo>
                  <a:cubicBezTo>
                    <a:pt x="323" y="320"/>
                    <a:pt x="323" y="320"/>
                    <a:pt x="324" y="319"/>
                  </a:cubicBezTo>
                  <a:cubicBezTo>
                    <a:pt x="325" y="318"/>
                    <a:pt x="325" y="318"/>
                    <a:pt x="325" y="318"/>
                  </a:cubicBezTo>
                  <a:cubicBezTo>
                    <a:pt x="330" y="318"/>
                    <a:pt x="330" y="318"/>
                    <a:pt x="330" y="318"/>
                  </a:cubicBezTo>
                  <a:cubicBezTo>
                    <a:pt x="332" y="317"/>
                    <a:pt x="332" y="317"/>
                    <a:pt x="332" y="317"/>
                  </a:cubicBezTo>
                  <a:cubicBezTo>
                    <a:pt x="332" y="317"/>
                    <a:pt x="332" y="316"/>
                    <a:pt x="333" y="316"/>
                  </a:cubicBezTo>
                  <a:cubicBezTo>
                    <a:pt x="332" y="316"/>
                    <a:pt x="331" y="315"/>
                    <a:pt x="331" y="315"/>
                  </a:cubicBezTo>
                  <a:cubicBezTo>
                    <a:pt x="330" y="315"/>
                    <a:pt x="330" y="315"/>
                    <a:pt x="330" y="315"/>
                  </a:cubicBezTo>
                  <a:cubicBezTo>
                    <a:pt x="329" y="315"/>
                    <a:pt x="328" y="314"/>
                    <a:pt x="328" y="313"/>
                  </a:cubicBezTo>
                  <a:cubicBezTo>
                    <a:pt x="328" y="312"/>
                    <a:pt x="328" y="312"/>
                    <a:pt x="328" y="312"/>
                  </a:cubicBezTo>
                  <a:cubicBezTo>
                    <a:pt x="328" y="311"/>
                    <a:pt x="328" y="311"/>
                    <a:pt x="328" y="311"/>
                  </a:cubicBezTo>
                  <a:cubicBezTo>
                    <a:pt x="331" y="304"/>
                    <a:pt x="331" y="304"/>
                    <a:pt x="331" y="304"/>
                  </a:cubicBezTo>
                  <a:cubicBezTo>
                    <a:pt x="331" y="303"/>
                    <a:pt x="331" y="302"/>
                    <a:pt x="331" y="302"/>
                  </a:cubicBezTo>
                  <a:cubicBezTo>
                    <a:pt x="332" y="301"/>
                    <a:pt x="332" y="301"/>
                    <a:pt x="333" y="300"/>
                  </a:cubicBezTo>
                  <a:cubicBezTo>
                    <a:pt x="333" y="299"/>
                    <a:pt x="333" y="298"/>
                    <a:pt x="334" y="298"/>
                  </a:cubicBezTo>
                  <a:cubicBezTo>
                    <a:pt x="334" y="297"/>
                    <a:pt x="334" y="297"/>
                    <a:pt x="334" y="297"/>
                  </a:cubicBezTo>
                  <a:cubicBezTo>
                    <a:pt x="335" y="294"/>
                    <a:pt x="335" y="294"/>
                    <a:pt x="335" y="294"/>
                  </a:cubicBezTo>
                  <a:cubicBezTo>
                    <a:pt x="335" y="293"/>
                    <a:pt x="336" y="293"/>
                    <a:pt x="336" y="293"/>
                  </a:cubicBezTo>
                  <a:cubicBezTo>
                    <a:pt x="341" y="291"/>
                    <a:pt x="341" y="291"/>
                    <a:pt x="341" y="291"/>
                  </a:cubicBezTo>
                  <a:cubicBezTo>
                    <a:pt x="346" y="289"/>
                    <a:pt x="349" y="289"/>
                    <a:pt x="349" y="289"/>
                  </a:cubicBezTo>
                  <a:cubicBezTo>
                    <a:pt x="349" y="289"/>
                    <a:pt x="349" y="289"/>
                    <a:pt x="349" y="289"/>
                  </a:cubicBezTo>
                  <a:cubicBezTo>
                    <a:pt x="350" y="289"/>
                    <a:pt x="350" y="289"/>
                    <a:pt x="350" y="289"/>
                  </a:cubicBezTo>
                  <a:cubicBezTo>
                    <a:pt x="350" y="289"/>
                    <a:pt x="350" y="288"/>
                    <a:pt x="349" y="288"/>
                  </a:cubicBezTo>
                  <a:cubicBezTo>
                    <a:pt x="348" y="287"/>
                    <a:pt x="346" y="286"/>
                    <a:pt x="346" y="285"/>
                  </a:cubicBezTo>
                  <a:cubicBezTo>
                    <a:pt x="345" y="285"/>
                    <a:pt x="345" y="285"/>
                    <a:pt x="345" y="285"/>
                  </a:cubicBezTo>
                  <a:cubicBezTo>
                    <a:pt x="343" y="284"/>
                    <a:pt x="344" y="282"/>
                    <a:pt x="345" y="281"/>
                  </a:cubicBezTo>
                  <a:cubicBezTo>
                    <a:pt x="345" y="280"/>
                    <a:pt x="345" y="280"/>
                    <a:pt x="345" y="280"/>
                  </a:cubicBezTo>
                  <a:cubicBezTo>
                    <a:pt x="345" y="279"/>
                    <a:pt x="345" y="279"/>
                    <a:pt x="346" y="278"/>
                  </a:cubicBezTo>
                  <a:cubicBezTo>
                    <a:pt x="347" y="276"/>
                    <a:pt x="347" y="276"/>
                    <a:pt x="347" y="276"/>
                  </a:cubicBezTo>
                  <a:cubicBezTo>
                    <a:pt x="349" y="274"/>
                    <a:pt x="350" y="273"/>
                    <a:pt x="351" y="273"/>
                  </a:cubicBezTo>
                  <a:cubicBezTo>
                    <a:pt x="351" y="273"/>
                    <a:pt x="351" y="273"/>
                    <a:pt x="352" y="273"/>
                  </a:cubicBezTo>
                  <a:cubicBezTo>
                    <a:pt x="352" y="273"/>
                    <a:pt x="352" y="273"/>
                    <a:pt x="352" y="273"/>
                  </a:cubicBezTo>
                  <a:cubicBezTo>
                    <a:pt x="352" y="272"/>
                    <a:pt x="352" y="272"/>
                    <a:pt x="352" y="272"/>
                  </a:cubicBezTo>
                  <a:cubicBezTo>
                    <a:pt x="351" y="270"/>
                    <a:pt x="351" y="270"/>
                    <a:pt x="351" y="270"/>
                  </a:cubicBezTo>
                  <a:cubicBezTo>
                    <a:pt x="350" y="270"/>
                    <a:pt x="350" y="270"/>
                    <a:pt x="350" y="270"/>
                  </a:cubicBezTo>
                  <a:cubicBezTo>
                    <a:pt x="349" y="271"/>
                    <a:pt x="348" y="271"/>
                    <a:pt x="348" y="271"/>
                  </a:cubicBezTo>
                  <a:cubicBezTo>
                    <a:pt x="338" y="271"/>
                    <a:pt x="338" y="271"/>
                    <a:pt x="338" y="271"/>
                  </a:cubicBezTo>
                  <a:cubicBezTo>
                    <a:pt x="336" y="270"/>
                    <a:pt x="336" y="270"/>
                    <a:pt x="336" y="270"/>
                  </a:cubicBezTo>
                  <a:cubicBezTo>
                    <a:pt x="336" y="270"/>
                    <a:pt x="335" y="270"/>
                    <a:pt x="333" y="270"/>
                  </a:cubicBezTo>
                  <a:cubicBezTo>
                    <a:pt x="332" y="271"/>
                    <a:pt x="331" y="271"/>
                    <a:pt x="330" y="270"/>
                  </a:cubicBezTo>
                  <a:cubicBezTo>
                    <a:pt x="326" y="267"/>
                    <a:pt x="326" y="267"/>
                    <a:pt x="326" y="267"/>
                  </a:cubicBezTo>
                  <a:cubicBezTo>
                    <a:pt x="326" y="267"/>
                    <a:pt x="325" y="266"/>
                    <a:pt x="324" y="266"/>
                  </a:cubicBezTo>
                  <a:cubicBezTo>
                    <a:pt x="323" y="265"/>
                    <a:pt x="322" y="265"/>
                    <a:pt x="322" y="264"/>
                  </a:cubicBezTo>
                  <a:cubicBezTo>
                    <a:pt x="321" y="264"/>
                    <a:pt x="321" y="264"/>
                    <a:pt x="320" y="264"/>
                  </a:cubicBezTo>
                  <a:cubicBezTo>
                    <a:pt x="319" y="262"/>
                    <a:pt x="319" y="262"/>
                    <a:pt x="319" y="262"/>
                  </a:cubicBezTo>
                  <a:cubicBezTo>
                    <a:pt x="317" y="261"/>
                    <a:pt x="317" y="261"/>
                    <a:pt x="317" y="261"/>
                  </a:cubicBezTo>
                  <a:cubicBezTo>
                    <a:pt x="317" y="260"/>
                    <a:pt x="317" y="260"/>
                    <a:pt x="316" y="260"/>
                  </a:cubicBezTo>
                  <a:cubicBezTo>
                    <a:pt x="316" y="258"/>
                    <a:pt x="316" y="258"/>
                    <a:pt x="316" y="258"/>
                  </a:cubicBezTo>
                  <a:cubicBezTo>
                    <a:pt x="315" y="258"/>
                    <a:pt x="315" y="258"/>
                    <a:pt x="314" y="257"/>
                  </a:cubicBezTo>
                  <a:cubicBezTo>
                    <a:pt x="312" y="255"/>
                    <a:pt x="312" y="255"/>
                    <a:pt x="312" y="255"/>
                  </a:cubicBezTo>
                  <a:cubicBezTo>
                    <a:pt x="310" y="255"/>
                    <a:pt x="310" y="255"/>
                    <a:pt x="310" y="255"/>
                  </a:cubicBezTo>
                  <a:cubicBezTo>
                    <a:pt x="308" y="255"/>
                    <a:pt x="308" y="255"/>
                    <a:pt x="308" y="255"/>
                  </a:cubicBezTo>
                  <a:cubicBezTo>
                    <a:pt x="307" y="255"/>
                    <a:pt x="306" y="254"/>
                    <a:pt x="306" y="253"/>
                  </a:cubicBezTo>
                  <a:cubicBezTo>
                    <a:pt x="306" y="252"/>
                    <a:pt x="306" y="252"/>
                    <a:pt x="306" y="252"/>
                  </a:cubicBezTo>
                  <a:cubicBezTo>
                    <a:pt x="304" y="251"/>
                    <a:pt x="304" y="251"/>
                    <a:pt x="304" y="251"/>
                  </a:cubicBezTo>
                  <a:cubicBezTo>
                    <a:pt x="303" y="251"/>
                    <a:pt x="303" y="250"/>
                    <a:pt x="303" y="249"/>
                  </a:cubicBezTo>
                  <a:cubicBezTo>
                    <a:pt x="303" y="248"/>
                    <a:pt x="303" y="248"/>
                    <a:pt x="303" y="248"/>
                  </a:cubicBezTo>
                  <a:cubicBezTo>
                    <a:pt x="302" y="248"/>
                    <a:pt x="302" y="248"/>
                    <a:pt x="302" y="248"/>
                  </a:cubicBezTo>
                  <a:cubicBezTo>
                    <a:pt x="302" y="248"/>
                    <a:pt x="302" y="248"/>
                    <a:pt x="302" y="248"/>
                  </a:cubicBezTo>
                  <a:cubicBezTo>
                    <a:pt x="305" y="237"/>
                    <a:pt x="305" y="237"/>
                    <a:pt x="305" y="237"/>
                  </a:cubicBezTo>
                  <a:cubicBezTo>
                    <a:pt x="307" y="236"/>
                    <a:pt x="307" y="236"/>
                    <a:pt x="307" y="236"/>
                  </a:cubicBezTo>
                  <a:cubicBezTo>
                    <a:pt x="309" y="233"/>
                    <a:pt x="309" y="233"/>
                    <a:pt x="309" y="233"/>
                  </a:cubicBezTo>
                  <a:cubicBezTo>
                    <a:pt x="310" y="232"/>
                    <a:pt x="310" y="232"/>
                    <a:pt x="310" y="232"/>
                  </a:cubicBezTo>
                  <a:cubicBezTo>
                    <a:pt x="315" y="231"/>
                    <a:pt x="315" y="231"/>
                    <a:pt x="315" y="231"/>
                  </a:cubicBezTo>
                  <a:cubicBezTo>
                    <a:pt x="316" y="230"/>
                    <a:pt x="317" y="229"/>
                    <a:pt x="318" y="228"/>
                  </a:cubicBezTo>
                  <a:cubicBezTo>
                    <a:pt x="319" y="226"/>
                    <a:pt x="320" y="226"/>
                    <a:pt x="321" y="226"/>
                  </a:cubicBezTo>
                  <a:cubicBezTo>
                    <a:pt x="321" y="226"/>
                    <a:pt x="321" y="226"/>
                    <a:pt x="321" y="226"/>
                  </a:cubicBezTo>
                  <a:cubicBezTo>
                    <a:pt x="322" y="226"/>
                    <a:pt x="323" y="227"/>
                    <a:pt x="323" y="227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32" y="224"/>
                    <a:pt x="332" y="224"/>
                    <a:pt x="332" y="224"/>
                  </a:cubicBezTo>
                  <a:cubicBezTo>
                    <a:pt x="333" y="224"/>
                    <a:pt x="333" y="224"/>
                    <a:pt x="333" y="224"/>
                  </a:cubicBezTo>
                  <a:cubicBezTo>
                    <a:pt x="334" y="224"/>
                    <a:pt x="334" y="224"/>
                    <a:pt x="334" y="224"/>
                  </a:cubicBezTo>
                  <a:cubicBezTo>
                    <a:pt x="335" y="222"/>
                    <a:pt x="335" y="222"/>
                    <a:pt x="335" y="222"/>
                  </a:cubicBezTo>
                  <a:cubicBezTo>
                    <a:pt x="336" y="222"/>
                    <a:pt x="337" y="222"/>
                    <a:pt x="338" y="222"/>
                  </a:cubicBezTo>
                  <a:cubicBezTo>
                    <a:pt x="338" y="222"/>
                    <a:pt x="338" y="222"/>
                    <a:pt x="338" y="222"/>
                  </a:cubicBezTo>
                  <a:cubicBezTo>
                    <a:pt x="338" y="222"/>
                    <a:pt x="338" y="222"/>
                    <a:pt x="339" y="222"/>
                  </a:cubicBezTo>
                  <a:cubicBezTo>
                    <a:pt x="339" y="222"/>
                    <a:pt x="339" y="222"/>
                    <a:pt x="339" y="222"/>
                  </a:cubicBezTo>
                  <a:cubicBezTo>
                    <a:pt x="340" y="221"/>
                    <a:pt x="340" y="220"/>
                    <a:pt x="341" y="219"/>
                  </a:cubicBezTo>
                  <a:cubicBezTo>
                    <a:pt x="341" y="218"/>
                    <a:pt x="341" y="218"/>
                    <a:pt x="341" y="218"/>
                  </a:cubicBezTo>
                  <a:cubicBezTo>
                    <a:pt x="341" y="216"/>
                    <a:pt x="341" y="216"/>
                    <a:pt x="341" y="216"/>
                  </a:cubicBezTo>
                  <a:cubicBezTo>
                    <a:pt x="340" y="215"/>
                    <a:pt x="340" y="215"/>
                    <a:pt x="340" y="215"/>
                  </a:cubicBezTo>
                  <a:cubicBezTo>
                    <a:pt x="339" y="215"/>
                    <a:pt x="339" y="215"/>
                    <a:pt x="339" y="215"/>
                  </a:cubicBezTo>
                  <a:cubicBezTo>
                    <a:pt x="337" y="216"/>
                    <a:pt x="337" y="216"/>
                    <a:pt x="337" y="216"/>
                  </a:cubicBezTo>
                  <a:cubicBezTo>
                    <a:pt x="335" y="217"/>
                    <a:pt x="335" y="217"/>
                    <a:pt x="335" y="217"/>
                  </a:cubicBezTo>
                  <a:cubicBezTo>
                    <a:pt x="334" y="218"/>
                    <a:pt x="334" y="218"/>
                    <a:pt x="334" y="218"/>
                  </a:cubicBezTo>
                  <a:cubicBezTo>
                    <a:pt x="333" y="218"/>
                    <a:pt x="333" y="219"/>
                    <a:pt x="332" y="220"/>
                  </a:cubicBezTo>
                  <a:cubicBezTo>
                    <a:pt x="331" y="220"/>
                    <a:pt x="331" y="220"/>
                    <a:pt x="331" y="220"/>
                  </a:cubicBezTo>
                  <a:cubicBezTo>
                    <a:pt x="331" y="221"/>
                    <a:pt x="330" y="222"/>
                    <a:pt x="328" y="223"/>
                  </a:cubicBezTo>
                  <a:cubicBezTo>
                    <a:pt x="328" y="223"/>
                    <a:pt x="328" y="223"/>
                    <a:pt x="328" y="223"/>
                  </a:cubicBezTo>
                  <a:cubicBezTo>
                    <a:pt x="327" y="225"/>
                    <a:pt x="325" y="225"/>
                    <a:pt x="324" y="225"/>
                  </a:cubicBezTo>
                  <a:cubicBezTo>
                    <a:pt x="324" y="225"/>
                    <a:pt x="324" y="225"/>
                    <a:pt x="323" y="226"/>
                  </a:cubicBezTo>
                  <a:cubicBezTo>
                    <a:pt x="322" y="226"/>
                    <a:pt x="320" y="226"/>
                    <a:pt x="320" y="226"/>
                  </a:cubicBezTo>
                  <a:cubicBezTo>
                    <a:pt x="319" y="225"/>
                    <a:pt x="319" y="225"/>
                    <a:pt x="319" y="225"/>
                  </a:cubicBezTo>
                  <a:cubicBezTo>
                    <a:pt x="317" y="223"/>
                    <a:pt x="317" y="223"/>
                    <a:pt x="317" y="223"/>
                  </a:cubicBezTo>
                  <a:cubicBezTo>
                    <a:pt x="316" y="222"/>
                    <a:pt x="316" y="222"/>
                    <a:pt x="316" y="221"/>
                  </a:cubicBezTo>
                  <a:cubicBezTo>
                    <a:pt x="316" y="211"/>
                    <a:pt x="316" y="211"/>
                    <a:pt x="316" y="211"/>
                  </a:cubicBezTo>
                  <a:cubicBezTo>
                    <a:pt x="316" y="210"/>
                    <a:pt x="317" y="209"/>
                    <a:pt x="318" y="209"/>
                  </a:cubicBezTo>
                  <a:cubicBezTo>
                    <a:pt x="320" y="209"/>
                    <a:pt x="320" y="209"/>
                    <a:pt x="320" y="209"/>
                  </a:cubicBezTo>
                  <a:cubicBezTo>
                    <a:pt x="323" y="208"/>
                    <a:pt x="323" y="208"/>
                    <a:pt x="323" y="208"/>
                  </a:cubicBezTo>
                  <a:cubicBezTo>
                    <a:pt x="323" y="208"/>
                    <a:pt x="323" y="208"/>
                    <a:pt x="323" y="208"/>
                  </a:cubicBezTo>
                  <a:cubicBezTo>
                    <a:pt x="324" y="207"/>
                    <a:pt x="324" y="205"/>
                    <a:pt x="324" y="204"/>
                  </a:cubicBezTo>
                  <a:cubicBezTo>
                    <a:pt x="324" y="202"/>
                    <a:pt x="325" y="201"/>
                    <a:pt x="326" y="201"/>
                  </a:cubicBezTo>
                  <a:cubicBezTo>
                    <a:pt x="327" y="201"/>
                    <a:pt x="327" y="201"/>
                    <a:pt x="327" y="201"/>
                  </a:cubicBezTo>
                  <a:cubicBezTo>
                    <a:pt x="328" y="199"/>
                    <a:pt x="328" y="199"/>
                    <a:pt x="328" y="199"/>
                  </a:cubicBezTo>
                  <a:cubicBezTo>
                    <a:pt x="329" y="196"/>
                    <a:pt x="329" y="196"/>
                    <a:pt x="329" y="196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33" y="186"/>
                    <a:pt x="333" y="186"/>
                    <a:pt x="333" y="186"/>
                  </a:cubicBezTo>
                  <a:cubicBezTo>
                    <a:pt x="333" y="185"/>
                    <a:pt x="334" y="183"/>
                    <a:pt x="334" y="182"/>
                  </a:cubicBezTo>
                  <a:cubicBezTo>
                    <a:pt x="334" y="180"/>
                    <a:pt x="336" y="178"/>
                    <a:pt x="336" y="177"/>
                  </a:cubicBezTo>
                  <a:cubicBezTo>
                    <a:pt x="337" y="177"/>
                    <a:pt x="337" y="176"/>
                    <a:pt x="337" y="176"/>
                  </a:cubicBezTo>
                  <a:cubicBezTo>
                    <a:pt x="337" y="175"/>
                    <a:pt x="338" y="174"/>
                    <a:pt x="339" y="174"/>
                  </a:cubicBezTo>
                  <a:cubicBezTo>
                    <a:pt x="342" y="174"/>
                    <a:pt x="342" y="174"/>
                    <a:pt x="342" y="174"/>
                  </a:cubicBezTo>
                  <a:cubicBezTo>
                    <a:pt x="341" y="174"/>
                    <a:pt x="341" y="173"/>
                    <a:pt x="341" y="173"/>
                  </a:cubicBezTo>
                  <a:cubicBezTo>
                    <a:pt x="341" y="171"/>
                    <a:pt x="341" y="171"/>
                    <a:pt x="341" y="171"/>
                  </a:cubicBezTo>
                  <a:cubicBezTo>
                    <a:pt x="338" y="169"/>
                    <a:pt x="338" y="169"/>
                    <a:pt x="338" y="169"/>
                  </a:cubicBezTo>
                  <a:cubicBezTo>
                    <a:pt x="337" y="167"/>
                    <a:pt x="337" y="167"/>
                    <a:pt x="337" y="167"/>
                  </a:cubicBezTo>
                  <a:cubicBezTo>
                    <a:pt x="336" y="167"/>
                    <a:pt x="336" y="167"/>
                    <a:pt x="336" y="167"/>
                  </a:cubicBezTo>
                  <a:cubicBezTo>
                    <a:pt x="335" y="167"/>
                    <a:pt x="335" y="167"/>
                    <a:pt x="334" y="166"/>
                  </a:cubicBezTo>
                  <a:cubicBezTo>
                    <a:pt x="333" y="164"/>
                    <a:pt x="333" y="164"/>
                    <a:pt x="333" y="164"/>
                  </a:cubicBezTo>
                  <a:cubicBezTo>
                    <a:pt x="325" y="164"/>
                    <a:pt x="325" y="164"/>
                    <a:pt x="325" y="164"/>
                  </a:cubicBezTo>
                  <a:cubicBezTo>
                    <a:pt x="324" y="164"/>
                    <a:pt x="324" y="164"/>
                    <a:pt x="324" y="164"/>
                  </a:cubicBezTo>
                  <a:cubicBezTo>
                    <a:pt x="320" y="161"/>
                    <a:pt x="320" y="161"/>
                    <a:pt x="320" y="161"/>
                  </a:cubicBezTo>
                  <a:cubicBezTo>
                    <a:pt x="320" y="156"/>
                    <a:pt x="320" y="156"/>
                    <a:pt x="320" y="156"/>
                  </a:cubicBezTo>
                  <a:cubicBezTo>
                    <a:pt x="320" y="156"/>
                    <a:pt x="320" y="156"/>
                    <a:pt x="320" y="156"/>
                  </a:cubicBezTo>
                  <a:cubicBezTo>
                    <a:pt x="320" y="156"/>
                    <a:pt x="320" y="156"/>
                    <a:pt x="319" y="156"/>
                  </a:cubicBezTo>
                  <a:cubicBezTo>
                    <a:pt x="319" y="157"/>
                    <a:pt x="319" y="157"/>
                    <a:pt x="319" y="157"/>
                  </a:cubicBezTo>
                  <a:cubicBezTo>
                    <a:pt x="316" y="153"/>
                    <a:pt x="316" y="153"/>
                    <a:pt x="316" y="153"/>
                  </a:cubicBezTo>
                  <a:cubicBezTo>
                    <a:pt x="316" y="153"/>
                    <a:pt x="316" y="153"/>
                    <a:pt x="316" y="153"/>
                  </a:cubicBezTo>
                  <a:cubicBezTo>
                    <a:pt x="317" y="153"/>
                    <a:pt x="317" y="153"/>
                    <a:pt x="317" y="153"/>
                  </a:cubicBezTo>
                  <a:cubicBezTo>
                    <a:pt x="317" y="152"/>
                    <a:pt x="317" y="152"/>
                    <a:pt x="317" y="152"/>
                  </a:cubicBezTo>
                  <a:cubicBezTo>
                    <a:pt x="317" y="152"/>
                    <a:pt x="317" y="151"/>
                    <a:pt x="317" y="150"/>
                  </a:cubicBezTo>
                  <a:cubicBezTo>
                    <a:pt x="316" y="150"/>
                    <a:pt x="316" y="150"/>
                    <a:pt x="316" y="150"/>
                  </a:cubicBezTo>
                  <a:cubicBezTo>
                    <a:pt x="313" y="148"/>
                    <a:pt x="313" y="148"/>
                    <a:pt x="313" y="148"/>
                  </a:cubicBezTo>
                  <a:cubicBezTo>
                    <a:pt x="313" y="148"/>
                    <a:pt x="312" y="147"/>
                    <a:pt x="312" y="146"/>
                  </a:cubicBezTo>
                  <a:cubicBezTo>
                    <a:pt x="312" y="144"/>
                    <a:pt x="312" y="144"/>
                    <a:pt x="312" y="144"/>
                  </a:cubicBezTo>
                  <a:cubicBezTo>
                    <a:pt x="312" y="143"/>
                    <a:pt x="313" y="143"/>
                    <a:pt x="313" y="142"/>
                  </a:cubicBezTo>
                  <a:cubicBezTo>
                    <a:pt x="315" y="141"/>
                    <a:pt x="315" y="141"/>
                    <a:pt x="315" y="141"/>
                  </a:cubicBezTo>
                  <a:cubicBezTo>
                    <a:pt x="317" y="140"/>
                    <a:pt x="317" y="140"/>
                    <a:pt x="317" y="140"/>
                  </a:cubicBezTo>
                  <a:cubicBezTo>
                    <a:pt x="316" y="139"/>
                    <a:pt x="315" y="138"/>
                    <a:pt x="315" y="137"/>
                  </a:cubicBezTo>
                  <a:cubicBezTo>
                    <a:pt x="315" y="136"/>
                    <a:pt x="315" y="136"/>
                    <a:pt x="315" y="136"/>
                  </a:cubicBezTo>
                  <a:cubicBezTo>
                    <a:pt x="315" y="135"/>
                    <a:pt x="315" y="135"/>
                    <a:pt x="315" y="135"/>
                  </a:cubicBezTo>
                  <a:cubicBezTo>
                    <a:pt x="316" y="134"/>
                    <a:pt x="316" y="134"/>
                    <a:pt x="316" y="134"/>
                  </a:cubicBezTo>
                  <a:cubicBezTo>
                    <a:pt x="316" y="133"/>
                    <a:pt x="317" y="132"/>
                    <a:pt x="317" y="132"/>
                  </a:cubicBezTo>
                  <a:cubicBezTo>
                    <a:pt x="318" y="132"/>
                    <a:pt x="318" y="132"/>
                    <a:pt x="319" y="133"/>
                  </a:cubicBezTo>
                  <a:cubicBezTo>
                    <a:pt x="320" y="133"/>
                    <a:pt x="320" y="133"/>
                    <a:pt x="320" y="133"/>
                  </a:cubicBezTo>
                  <a:cubicBezTo>
                    <a:pt x="322" y="131"/>
                    <a:pt x="325" y="130"/>
                    <a:pt x="326" y="130"/>
                  </a:cubicBezTo>
                  <a:cubicBezTo>
                    <a:pt x="326" y="130"/>
                    <a:pt x="326" y="130"/>
                    <a:pt x="326" y="130"/>
                  </a:cubicBezTo>
                  <a:cubicBezTo>
                    <a:pt x="327" y="130"/>
                    <a:pt x="327" y="130"/>
                    <a:pt x="327" y="130"/>
                  </a:cubicBezTo>
                  <a:cubicBezTo>
                    <a:pt x="328" y="129"/>
                    <a:pt x="328" y="129"/>
                    <a:pt x="328" y="129"/>
                  </a:cubicBezTo>
                  <a:cubicBezTo>
                    <a:pt x="328" y="129"/>
                    <a:pt x="328" y="128"/>
                    <a:pt x="329" y="128"/>
                  </a:cubicBezTo>
                  <a:cubicBezTo>
                    <a:pt x="329" y="127"/>
                    <a:pt x="329" y="127"/>
                    <a:pt x="329" y="127"/>
                  </a:cubicBezTo>
                  <a:cubicBezTo>
                    <a:pt x="329" y="125"/>
                    <a:pt x="329" y="125"/>
                    <a:pt x="329" y="125"/>
                  </a:cubicBezTo>
                  <a:cubicBezTo>
                    <a:pt x="329" y="123"/>
                    <a:pt x="330" y="123"/>
                    <a:pt x="331" y="123"/>
                  </a:cubicBezTo>
                  <a:cubicBezTo>
                    <a:pt x="334" y="123"/>
                    <a:pt x="334" y="123"/>
                    <a:pt x="334" y="123"/>
                  </a:cubicBezTo>
                  <a:cubicBezTo>
                    <a:pt x="335" y="123"/>
                    <a:pt x="335" y="123"/>
                    <a:pt x="335" y="123"/>
                  </a:cubicBezTo>
                  <a:cubicBezTo>
                    <a:pt x="335" y="122"/>
                    <a:pt x="335" y="122"/>
                    <a:pt x="335" y="122"/>
                  </a:cubicBezTo>
                  <a:cubicBezTo>
                    <a:pt x="335" y="121"/>
                    <a:pt x="335" y="120"/>
                    <a:pt x="336" y="119"/>
                  </a:cubicBezTo>
                  <a:cubicBezTo>
                    <a:pt x="337" y="119"/>
                    <a:pt x="337" y="119"/>
                    <a:pt x="337" y="119"/>
                  </a:cubicBezTo>
                  <a:cubicBezTo>
                    <a:pt x="338" y="117"/>
                    <a:pt x="340" y="114"/>
                    <a:pt x="340" y="114"/>
                  </a:cubicBezTo>
                  <a:cubicBezTo>
                    <a:pt x="341" y="114"/>
                    <a:pt x="341" y="114"/>
                    <a:pt x="341" y="114"/>
                  </a:cubicBezTo>
                  <a:cubicBezTo>
                    <a:pt x="341" y="113"/>
                    <a:pt x="341" y="113"/>
                    <a:pt x="341" y="113"/>
                  </a:cubicBezTo>
                  <a:cubicBezTo>
                    <a:pt x="341" y="113"/>
                    <a:pt x="341" y="113"/>
                    <a:pt x="341" y="112"/>
                  </a:cubicBezTo>
                  <a:cubicBezTo>
                    <a:pt x="341" y="112"/>
                    <a:pt x="341" y="112"/>
                    <a:pt x="341" y="112"/>
                  </a:cubicBezTo>
                  <a:cubicBezTo>
                    <a:pt x="345" y="112"/>
                    <a:pt x="345" y="112"/>
                    <a:pt x="345" y="112"/>
                  </a:cubicBezTo>
                  <a:cubicBezTo>
                    <a:pt x="346" y="114"/>
                    <a:pt x="346" y="114"/>
                    <a:pt x="346" y="114"/>
                  </a:cubicBezTo>
                  <a:cubicBezTo>
                    <a:pt x="348" y="115"/>
                    <a:pt x="348" y="115"/>
                    <a:pt x="348" y="115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50" y="114"/>
                    <a:pt x="350" y="114"/>
                    <a:pt x="350" y="114"/>
                  </a:cubicBezTo>
                  <a:cubicBezTo>
                    <a:pt x="351" y="114"/>
                    <a:pt x="351" y="114"/>
                    <a:pt x="352" y="114"/>
                  </a:cubicBezTo>
                  <a:cubicBezTo>
                    <a:pt x="358" y="114"/>
                    <a:pt x="358" y="114"/>
                    <a:pt x="358" y="114"/>
                  </a:cubicBezTo>
                  <a:cubicBezTo>
                    <a:pt x="359" y="114"/>
                    <a:pt x="359" y="114"/>
                    <a:pt x="359" y="114"/>
                  </a:cubicBezTo>
                  <a:cubicBezTo>
                    <a:pt x="361" y="115"/>
                    <a:pt x="361" y="115"/>
                    <a:pt x="361" y="115"/>
                  </a:cubicBezTo>
                  <a:cubicBezTo>
                    <a:pt x="362" y="115"/>
                    <a:pt x="362" y="115"/>
                    <a:pt x="362" y="116"/>
                  </a:cubicBezTo>
                  <a:cubicBezTo>
                    <a:pt x="363" y="118"/>
                    <a:pt x="363" y="118"/>
                    <a:pt x="363" y="118"/>
                  </a:cubicBezTo>
                  <a:cubicBezTo>
                    <a:pt x="366" y="119"/>
                    <a:pt x="366" y="119"/>
                    <a:pt x="366" y="119"/>
                  </a:cubicBezTo>
                  <a:cubicBezTo>
                    <a:pt x="368" y="121"/>
                    <a:pt x="368" y="121"/>
                    <a:pt x="368" y="121"/>
                  </a:cubicBezTo>
                  <a:cubicBezTo>
                    <a:pt x="369" y="121"/>
                    <a:pt x="369" y="122"/>
                    <a:pt x="369" y="123"/>
                  </a:cubicBezTo>
                  <a:cubicBezTo>
                    <a:pt x="369" y="123"/>
                    <a:pt x="369" y="123"/>
                    <a:pt x="369" y="123"/>
                  </a:cubicBezTo>
                  <a:cubicBezTo>
                    <a:pt x="370" y="124"/>
                    <a:pt x="371" y="125"/>
                    <a:pt x="371" y="125"/>
                  </a:cubicBezTo>
                  <a:cubicBezTo>
                    <a:pt x="371" y="126"/>
                    <a:pt x="371" y="126"/>
                    <a:pt x="371" y="126"/>
                  </a:cubicBezTo>
                  <a:cubicBezTo>
                    <a:pt x="372" y="126"/>
                    <a:pt x="373" y="125"/>
                    <a:pt x="374" y="125"/>
                  </a:cubicBezTo>
                  <a:cubicBezTo>
                    <a:pt x="375" y="124"/>
                    <a:pt x="375" y="124"/>
                    <a:pt x="375" y="124"/>
                  </a:cubicBezTo>
                  <a:cubicBezTo>
                    <a:pt x="375" y="124"/>
                    <a:pt x="377" y="123"/>
                    <a:pt x="378" y="123"/>
                  </a:cubicBezTo>
                  <a:cubicBezTo>
                    <a:pt x="378" y="122"/>
                    <a:pt x="379" y="122"/>
                    <a:pt x="380" y="122"/>
                  </a:cubicBezTo>
                  <a:cubicBezTo>
                    <a:pt x="380" y="121"/>
                    <a:pt x="380" y="121"/>
                    <a:pt x="380" y="121"/>
                  </a:cubicBezTo>
                  <a:cubicBezTo>
                    <a:pt x="380" y="121"/>
                    <a:pt x="380" y="121"/>
                    <a:pt x="380" y="120"/>
                  </a:cubicBezTo>
                  <a:cubicBezTo>
                    <a:pt x="380" y="111"/>
                    <a:pt x="380" y="111"/>
                    <a:pt x="380" y="111"/>
                  </a:cubicBezTo>
                  <a:cubicBezTo>
                    <a:pt x="380" y="110"/>
                    <a:pt x="381" y="110"/>
                    <a:pt x="381" y="110"/>
                  </a:cubicBezTo>
                  <a:cubicBezTo>
                    <a:pt x="379" y="108"/>
                    <a:pt x="379" y="108"/>
                    <a:pt x="379" y="108"/>
                  </a:cubicBezTo>
                  <a:cubicBezTo>
                    <a:pt x="376" y="108"/>
                    <a:pt x="376" y="108"/>
                    <a:pt x="376" y="108"/>
                  </a:cubicBezTo>
                  <a:cubicBezTo>
                    <a:pt x="375" y="108"/>
                    <a:pt x="374" y="108"/>
                    <a:pt x="374" y="107"/>
                  </a:cubicBezTo>
                  <a:cubicBezTo>
                    <a:pt x="370" y="107"/>
                    <a:pt x="370" y="107"/>
                    <a:pt x="370" y="107"/>
                  </a:cubicBezTo>
                  <a:cubicBezTo>
                    <a:pt x="370" y="107"/>
                    <a:pt x="369" y="107"/>
                    <a:pt x="369" y="106"/>
                  </a:cubicBezTo>
                  <a:cubicBezTo>
                    <a:pt x="367" y="105"/>
                    <a:pt x="367" y="105"/>
                    <a:pt x="367" y="105"/>
                  </a:cubicBezTo>
                  <a:cubicBezTo>
                    <a:pt x="362" y="105"/>
                    <a:pt x="362" y="105"/>
                    <a:pt x="362" y="105"/>
                  </a:cubicBezTo>
                  <a:cubicBezTo>
                    <a:pt x="357" y="98"/>
                    <a:pt x="357" y="98"/>
                    <a:pt x="357" y="98"/>
                  </a:cubicBezTo>
                  <a:cubicBezTo>
                    <a:pt x="357" y="85"/>
                    <a:pt x="357" y="85"/>
                    <a:pt x="357" y="85"/>
                  </a:cubicBezTo>
                  <a:cubicBezTo>
                    <a:pt x="356" y="85"/>
                    <a:pt x="356" y="85"/>
                    <a:pt x="356" y="85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76"/>
                    <a:pt x="354" y="76"/>
                    <a:pt x="354" y="76"/>
                  </a:cubicBezTo>
                  <a:cubicBezTo>
                    <a:pt x="350" y="76"/>
                    <a:pt x="350" y="76"/>
                    <a:pt x="350" y="76"/>
                  </a:cubicBezTo>
                  <a:cubicBezTo>
                    <a:pt x="349" y="76"/>
                    <a:pt x="348" y="75"/>
                    <a:pt x="348" y="74"/>
                  </a:cubicBezTo>
                  <a:cubicBezTo>
                    <a:pt x="347" y="74"/>
                    <a:pt x="347" y="74"/>
                    <a:pt x="347" y="74"/>
                  </a:cubicBezTo>
                  <a:cubicBezTo>
                    <a:pt x="339" y="67"/>
                    <a:pt x="339" y="67"/>
                    <a:pt x="339" y="67"/>
                  </a:cubicBezTo>
                  <a:cubicBezTo>
                    <a:pt x="339" y="66"/>
                    <a:pt x="339" y="65"/>
                    <a:pt x="340" y="64"/>
                  </a:cubicBezTo>
                  <a:cubicBezTo>
                    <a:pt x="341" y="63"/>
                    <a:pt x="344" y="61"/>
                    <a:pt x="344" y="61"/>
                  </a:cubicBezTo>
                  <a:cubicBezTo>
                    <a:pt x="345" y="61"/>
                    <a:pt x="345" y="61"/>
                    <a:pt x="346" y="61"/>
                  </a:cubicBezTo>
                  <a:cubicBezTo>
                    <a:pt x="346" y="61"/>
                    <a:pt x="346" y="61"/>
                    <a:pt x="346" y="61"/>
                  </a:cubicBezTo>
                  <a:cubicBezTo>
                    <a:pt x="347" y="60"/>
                    <a:pt x="347" y="60"/>
                    <a:pt x="347" y="60"/>
                  </a:cubicBezTo>
                  <a:cubicBezTo>
                    <a:pt x="348" y="60"/>
                    <a:pt x="348" y="59"/>
                    <a:pt x="348" y="59"/>
                  </a:cubicBezTo>
                  <a:cubicBezTo>
                    <a:pt x="347" y="59"/>
                    <a:pt x="347" y="58"/>
                    <a:pt x="347" y="57"/>
                  </a:cubicBezTo>
                  <a:cubicBezTo>
                    <a:pt x="347" y="56"/>
                    <a:pt x="347" y="56"/>
                    <a:pt x="347" y="56"/>
                  </a:cubicBezTo>
                  <a:cubicBezTo>
                    <a:pt x="346" y="54"/>
                    <a:pt x="345" y="53"/>
                    <a:pt x="345" y="53"/>
                  </a:cubicBezTo>
                  <a:cubicBezTo>
                    <a:pt x="344" y="52"/>
                    <a:pt x="344" y="52"/>
                    <a:pt x="344" y="52"/>
                  </a:cubicBezTo>
                  <a:cubicBezTo>
                    <a:pt x="344" y="52"/>
                    <a:pt x="344" y="52"/>
                    <a:pt x="344" y="52"/>
                  </a:cubicBezTo>
                  <a:cubicBezTo>
                    <a:pt x="341" y="51"/>
                    <a:pt x="341" y="51"/>
                    <a:pt x="341" y="51"/>
                  </a:cubicBezTo>
                  <a:cubicBezTo>
                    <a:pt x="341" y="51"/>
                    <a:pt x="339" y="50"/>
                    <a:pt x="337" y="49"/>
                  </a:cubicBezTo>
                  <a:cubicBezTo>
                    <a:pt x="335" y="48"/>
                    <a:pt x="333" y="46"/>
                    <a:pt x="332" y="45"/>
                  </a:cubicBezTo>
                  <a:cubicBezTo>
                    <a:pt x="329" y="44"/>
                    <a:pt x="329" y="44"/>
                    <a:pt x="329" y="44"/>
                  </a:cubicBezTo>
                  <a:cubicBezTo>
                    <a:pt x="329" y="44"/>
                    <a:pt x="329" y="44"/>
                    <a:pt x="329" y="44"/>
                  </a:cubicBezTo>
                  <a:cubicBezTo>
                    <a:pt x="329" y="45"/>
                    <a:pt x="329" y="45"/>
                    <a:pt x="329" y="45"/>
                  </a:cubicBezTo>
                  <a:cubicBezTo>
                    <a:pt x="328" y="45"/>
                    <a:pt x="328" y="45"/>
                    <a:pt x="328" y="45"/>
                  </a:cubicBezTo>
                  <a:cubicBezTo>
                    <a:pt x="328" y="46"/>
                    <a:pt x="328" y="46"/>
                    <a:pt x="328" y="46"/>
                  </a:cubicBezTo>
                  <a:cubicBezTo>
                    <a:pt x="326" y="45"/>
                    <a:pt x="326" y="45"/>
                    <a:pt x="326" y="45"/>
                  </a:cubicBezTo>
                  <a:cubicBezTo>
                    <a:pt x="324" y="43"/>
                    <a:pt x="324" y="43"/>
                    <a:pt x="324" y="43"/>
                  </a:cubicBezTo>
                  <a:cubicBezTo>
                    <a:pt x="324" y="43"/>
                    <a:pt x="324" y="43"/>
                    <a:pt x="324" y="43"/>
                  </a:cubicBezTo>
                  <a:cubicBezTo>
                    <a:pt x="324" y="41"/>
                    <a:pt x="324" y="41"/>
                    <a:pt x="324" y="41"/>
                  </a:cubicBezTo>
                  <a:cubicBezTo>
                    <a:pt x="323" y="40"/>
                    <a:pt x="323" y="40"/>
                    <a:pt x="323" y="40"/>
                  </a:cubicBezTo>
                  <a:cubicBezTo>
                    <a:pt x="294" y="19"/>
                    <a:pt x="294" y="19"/>
                    <a:pt x="294" y="19"/>
                  </a:cubicBezTo>
                  <a:cubicBezTo>
                    <a:pt x="291" y="17"/>
                    <a:pt x="291" y="17"/>
                    <a:pt x="291" y="17"/>
                  </a:cubicBezTo>
                  <a:cubicBezTo>
                    <a:pt x="288" y="17"/>
                    <a:pt x="288" y="17"/>
                    <a:pt x="288" y="17"/>
                  </a:cubicBezTo>
                  <a:cubicBezTo>
                    <a:pt x="283" y="17"/>
                    <a:pt x="283" y="17"/>
                    <a:pt x="283" y="17"/>
                  </a:cubicBezTo>
                  <a:cubicBezTo>
                    <a:pt x="280" y="18"/>
                    <a:pt x="280" y="18"/>
                    <a:pt x="280" y="18"/>
                  </a:cubicBezTo>
                  <a:cubicBezTo>
                    <a:pt x="269" y="25"/>
                    <a:pt x="269" y="25"/>
                    <a:pt x="269" y="25"/>
                  </a:cubicBezTo>
                  <a:cubicBezTo>
                    <a:pt x="250" y="34"/>
                    <a:pt x="250" y="34"/>
                    <a:pt x="250" y="34"/>
                  </a:cubicBezTo>
                  <a:cubicBezTo>
                    <a:pt x="246" y="35"/>
                    <a:pt x="246" y="35"/>
                    <a:pt x="246" y="35"/>
                  </a:cubicBezTo>
                  <a:cubicBezTo>
                    <a:pt x="237" y="34"/>
                    <a:pt x="237" y="34"/>
                    <a:pt x="237" y="34"/>
                  </a:cubicBezTo>
                  <a:cubicBezTo>
                    <a:pt x="229" y="33"/>
                    <a:pt x="229" y="33"/>
                    <a:pt x="229" y="33"/>
                  </a:cubicBezTo>
                  <a:cubicBezTo>
                    <a:pt x="228" y="32"/>
                    <a:pt x="228" y="32"/>
                    <a:pt x="228" y="32"/>
                  </a:cubicBezTo>
                  <a:cubicBezTo>
                    <a:pt x="228" y="32"/>
                    <a:pt x="228" y="32"/>
                    <a:pt x="228" y="32"/>
                  </a:cubicBezTo>
                  <a:cubicBezTo>
                    <a:pt x="228" y="32"/>
                    <a:pt x="228" y="32"/>
                    <a:pt x="228" y="32"/>
                  </a:cubicBezTo>
                  <a:cubicBezTo>
                    <a:pt x="206" y="24"/>
                    <a:pt x="206" y="24"/>
                    <a:pt x="206" y="24"/>
                  </a:cubicBezTo>
                  <a:cubicBezTo>
                    <a:pt x="206" y="35"/>
                    <a:pt x="206" y="35"/>
                    <a:pt x="206" y="35"/>
                  </a:cubicBezTo>
                  <a:cubicBezTo>
                    <a:pt x="189" y="44"/>
                    <a:pt x="189" y="44"/>
                    <a:pt x="189" y="44"/>
                  </a:cubicBezTo>
                  <a:cubicBezTo>
                    <a:pt x="177" y="49"/>
                    <a:pt x="177" y="49"/>
                    <a:pt x="177" y="49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7" y="49"/>
                    <a:pt x="167" y="49"/>
                    <a:pt x="167" y="49"/>
                  </a:cubicBezTo>
                  <a:cubicBezTo>
                    <a:pt x="165" y="50"/>
                    <a:pt x="165" y="50"/>
                    <a:pt x="165" y="50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8" y="55"/>
                    <a:pt x="158" y="55"/>
                    <a:pt x="158" y="55"/>
                  </a:cubicBezTo>
                  <a:cubicBezTo>
                    <a:pt x="157" y="61"/>
                    <a:pt x="157" y="61"/>
                    <a:pt x="157" y="61"/>
                  </a:cubicBezTo>
                  <a:cubicBezTo>
                    <a:pt x="157" y="62"/>
                    <a:pt x="157" y="62"/>
                    <a:pt x="157" y="62"/>
                  </a:cubicBezTo>
                  <a:cubicBezTo>
                    <a:pt x="156" y="62"/>
                    <a:pt x="156" y="62"/>
                    <a:pt x="156" y="62"/>
                  </a:cubicBezTo>
                  <a:cubicBezTo>
                    <a:pt x="155" y="63"/>
                    <a:pt x="155" y="63"/>
                    <a:pt x="155" y="63"/>
                  </a:cubicBezTo>
                  <a:cubicBezTo>
                    <a:pt x="151" y="66"/>
                    <a:pt x="151" y="66"/>
                    <a:pt x="151" y="66"/>
                  </a:cubicBezTo>
                  <a:cubicBezTo>
                    <a:pt x="144" y="75"/>
                    <a:pt x="144" y="75"/>
                    <a:pt x="144" y="75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3" y="79"/>
                    <a:pt x="143" y="79"/>
                    <a:pt x="143" y="79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1" y="82"/>
                    <a:pt x="141" y="82"/>
                    <a:pt x="141" y="82"/>
                  </a:cubicBezTo>
                  <a:cubicBezTo>
                    <a:pt x="140" y="82"/>
                    <a:pt x="140" y="82"/>
                    <a:pt x="140" y="82"/>
                  </a:cubicBezTo>
                  <a:cubicBezTo>
                    <a:pt x="139" y="81"/>
                    <a:pt x="139" y="81"/>
                    <a:pt x="139" y="81"/>
                  </a:cubicBezTo>
                  <a:cubicBezTo>
                    <a:pt x="139" y="79"/>
                    <a:pt x="139" y="79"/>
                    <a:pt x="139" y="79"/>
                  </a:cubicBezTo>
                  <a:cubicBezTo>
                    <a:pt x="136" y="90"/>
                    <a:pt x="136" y="90"/>
                    <a:pt x="136" y="90"/>
                  </a:cubicBezTo>
                  <a:cubicBezTo>
                    <a:pt x="136" y="92"/>
                    <a:pt x="136" y="92"/>
                    <a:pt x="136" y="92"/>
                  </a:cubicBezTo>
                  <a:cubicBezTo>
                    <a:pt x="135" y="97"/>
                    <a:pt x="135" y="97"/>
                    <a:pt x="135" y="97"/>
                  </a:cubicBezTo>
                  <a:cubicBezTo>
                    <a:pt x="135" y="98"/>
                    <a:pt x="135" y="98"/>
                    <a:pt x="135" y="98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121" y="112"/>
                    <a:pt x="121" y="112"/>
                    <a:pt x="121" y="112"/>
                  </a:cubicBezTo>
                  <a:cubicBezTo>
                    <a:pt x="112" y="121"/>
                    <a:pt x="112" y="121"/>
                    <a:pt x="112" y="121"/>
                  </a:cubicBezTo>
                  <a:cubicBezTo>
                    <a:pt x="109" y="124"/>
                    <a:pt x="109" y="124"/>
                    <a:pt x="109" y="124"/>
                  </a:cubicBezTo>
                  <a:cubicBezTo>
                    <a:pt x="107" y="125"/>
                    <a:pt x="107" y="125"/>
                    <a:pt x="107" y="125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99" y="128"/>
                    <a:pt x="99" y="128"/>
                    <a:pt x="99" y="128"/>
                  </a:cubicBezTo>
                  <a:cubicBezTo>
                    <a:pt x="90" y="134"/>
                    <a:pt x="90" y="134"/>
                    <a:pt x="90" y="134"/>
                  </a:cubicBezTo>
                  <a:cubicBezTo>
                    <a:pt x="79" y="146"/>
                    <a:pt x="79" y="146"/>
                    <a:pt x="79" y="146"/>
                  </a:cubicBezTo>
                  <a:cubicBezTo>
                    <a:pt x="75" y="156"/>
                    <a:pt x="75" y="156"/>
                    <a:pt x="75" y="156"/>
                  </a:cubicBezTo>
                  <a:cubicBezTo>
                    <a:pt x="73" y="161"/>
                    <a:pt x="73" y="161"/>
                    <a:pt x="73" y="161"/>
                  </a:cubicBezTo>
                  <a:cubicBezTo>
                    <a:pt x="74" y="161"/>
                    <a:pt x="74" y="161"/>
                    <a:pt x="74" y="161"/>
                  </a:cubicBezTo>
                  <a:cubicBezTo>
                    <a:pt x="75" y="163"/>
                    <a:pt x="75" y="163"/>
                    <a:pt x="75" y="163"/>
                  </a:cubicBezTo>
                  <a:cubicBezTo>
                    <a:pt x="79" y="163"/>
                    <a:pt x="79" y="163"/>
                    <a:pt x="79" y="163"/>
                  </a:cubicBezTo>
                  <a:cubicBezTo>
                    <a:pt x="107" y="159"/>
                    <a:pt x="107" y="159"/>
                    <a:pt x="107" y="159"/>
                  </a:cubicBezTo>
                  <a:cubicBezTo>
                    <a:pt x="115" y="154"/>
                    <a:pt x="115" y="154"/>
                    <a:pt x="115" y="154"/>
                  </a:cubicBezTo>
                  <a:cubicBezTo>
                    <a:pt x="115" y="151"/>
                    <a:pt x="115" y="151"/>
                    <a:pt x="115" y="151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8" y="145"/>
                    <a:pt x="118" y="145"/>
                    <a:pt x="118" y="145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30" y="135"/>
                    <a:pt x="130" y="135"/>
                    <a:pt x="130" y="135"/>
                  </a:cubicBezTo>
                  <a:cubicBezTo>
                    <a:pt x="152" y="131"/>
                    <a:pt x="152" y="131"/>
                    <a:pt x="152" y="131"/>
                  </a:cubicBezTo>
                  <a:cubicBezTo>
                    <a:pt x="156" y="130"/>
                    <a:pt x="156" y="130"/>
                    <a:pt x="156" y="130"/>
                  </a:cubicBezTo>
                  <a:cubicBezTo>
                    <a:pt x="157" y="130"/>
                    <a:pt x="157" y="130"/>
                    <a:pt x="157" y="130"/>
                  </a:cubicBezTo>
                  <a:cubicBezTo>
                    <a:pt x="163" y="131"/>
                    <a:pt x="163" y="131"/>
                    <a:pt x="163" y="131"/>
                  </a:cubicBezTo>
                  <a:cubicBezTo>
                    <a:pt x="166" y="133"/>
                    <a:pt x="166" y="133"/>
                    <a:pt x="166" y="133"/>
                  </a:cubicBezTo>
                  <a:cubicBezTo>
                    <a:pt x="169" y="139"/>
                    <a:pt x="169" y="139"/>
                    <a:pt x="169" y="139"/>
                  </a:cubicBezTo>
                  <a:cubicBezTo>
                    <a:pt x="171" y="144"/>
                    <a:pt x="171" y="144"/>
                    <a:pt x="171" y="144"/>
                  </a:cubicBezTo>
                  <a:cubicBezTo>
                    <a:pt x="180" y="176"/>
                    <a:pt x="180" y="176"/>
                    <a:pt x="180" y="176"/>
                  </a:cubicBezTo>
                  <a:cubicBezTo>
                    <a:pt x="174" y="195"/>
                    <a:pt x="174" y="195"/>
                    <a:pt x="174" y="195"/>
                  </a:cubicBezTo>
                  <a:cubicBezTo>
                    <a:pt x="172" y="202"/>
                    <a:pt x="172" y="202"/>
                    <a:pt x="172" y="202"/>
                  </a:cubicBezTo>
                  <a:cubicBezTo>
                    <a:pt x="171" y="205"/>
                    <a:pt x="171" y="205"/>
                    <a:pt x="171" y="205"/>
                  </a:cubicBezTo>
                  <a:cubicBezTo>
                    <a:pt x="171" y="206"/>
                    <a:pt x="171" y="206"/>
                    <a:pt x="171" y="206"/>
                  </a:cubicBezTo>
                  <a:cubicBezTo>
                    <a:pt x="171" y="207"/>
                    <a:pt x="171" y="207"/>
                    <a:pt x="171" y="207"/>
                  </a:cubicBezTo>
                  <a:cubicBezTo>
                    <a:pt x="171" y="208"/>
                    <a:pt x="171" y="208"/>
                    <a:pt x="171" y="208"/>
                  </a:cubicBezTo>
                  <a:cubicBezTo>
                    <a:pt x="179" y="220"/>
                    <a:pt x="179" y="220"/>
                    <a:pt x="179" y="220"/>
                  </a:cubicBezTo>
                  <a:cubicBezTo>
                    <a:pt x="179" y="221"/>
                    <a:pt x="179" y="221"/>
                    <a:pt x="179" y="221"/>
                  </a:cubicBezTo>
                  <a:cubicBezTo>
                    <a:pt x="181" y="222"/>
                    <a:pt x="181" y="222"/>
                    <a:pt x="181" y="222"/>
                  </a:cubicBezTo>
                  <a:cubicBezTo>
                    <a:pt x="181" y="235"/>
                    <a:pt x="181" y="235"/>
                    <a:pt x="181" y="235"/>
                  </a:cubicBezTo>
                  <a:cubicBezTo>
                    <a:pt x="177" y="259"/>
                    <a:pt x="177" y="259"/>
                    <a:pt x="177" y="259"/>
                  </a:cubicBezTo>
                  <a:cubicBezTo>
                    <a:pt x="176" y="264"/>
                    <a:pt x="176" y="264"/>
                    <a:pt x="176" y="264"/>
                  </a:cubicBezTo>
                  <a:cubicBezTo>
                    <a:pt x="171" y="275"/>
                    <a:pt x="171" y="275"/>
                    <a:pt x="171" y="275"/>
                  </a:cubicBezTo>
                  <a:cubicBezTo>
                    <a:pt x="169" y="278"/>
                    <a:pt x="169" y="278"/>
                    <a:pt x="169" y="278"/>
                  </a:cubicBezTo>
                  <a:cubicBezTo>
                    <a:pt x="161" y="289"/>
                    <a:pt x="161" y="289"/>
                    <a:pt x="161" y="289"/>
                  </a:cubicBezTo>
                  <a:cubicBezTo>
                    <a:pt x="156" y="297"/>
                    <a:pt x="156" y="297"/>
                    <a:pt x="156" y="297"/>
                  </a:cubicBezTo>
                  <a:cubicBezTo>
                    <a:pt x="147" y="303"/>
                    <a:pt x="147" y="303"/>
                    <a:pt x="147" y="303"/>
                  </a:cubicBezTo>
                  <a:cubicBezTo>
                    <a:pt x="115" y="325"/>
                    <a:pt x="115" y="325"/>
                    <a:pt x="115" y="325"/>
                  </a:cubicBezTo>
                  <a:cubicBezTo>
                    <a:pt x="114" y="326"/>
                    <a:pt x="114" y="326"/>
                    <a:pt x="114" y="326"/>
                  </a:cubicBezTo>
                  <a:cubicBezTo>
                    <a:pt x="110" y="327"/>
                    <a:pt x="110" y="327"/>
                    <a:pt x="110" y="327"/>
                  </a:cubicBezTo>
                  <a:cubicBezTo>
                    <a:pt x="109" y="327"/>
                    <a:pt x="109" y="327"/>
                    <a:pt x="109" y="327"/>
                  </a:cubicBezTo>
                  <a:cubicBezTo>
                    <a:pt x="107" y="326"/>
                    <a:pt x="107" y="326"/>
                    <a:pt x="107" y="326"/>
                  </a:cubicBezTo>
                  <a:cubicBezTo>
                    <a:pt x="104" y="325"/>
                    <a:pt x="104" y="325"/>
                    <a:pt x="104" y="325"/>
                  </a:cubicBezTo>
                  <a:cubicBezTo>
                    <a:pt x="103" y="325"/>
                    <a:pt x="103" y="325"/>
                    <a:pt x="103" y="325"/>
                  </a:cubicBezTo>
                  <a:cubicBezTo>
                    <a:pt x="91" y="326"/>
                    <a:pt x="91" y="326"/>
                    <a:pt x="91" y="326"/>
                  </a:cubicBezTo>
                  <a:cubicBezTo>
                    <a:pt x="86" y="327"/>
                    <a:pt x="86" y="327"/>
                    <a:pt x="86" y="327"/>
                  </a:cubicBezTo>
                  <a:cubicBezTo>
                    <a:pt x="86" y="327"/>
                    <a:pt x="86" y="327"/>
                    <a:pt x="86" y="327"/>
                  </a:cubicBezTo>
                  <a:cubicBezTo>
                    <a:pt x="77" y="333"/>
                    <a:pt x="77" y="333"/>
                    <a:pt x="77" y="333"/>
                  </a:cubicBezTo>
                  <a:cubicBezTo>
                    <a:pt x="77" y="333"/>
                    <a:pt x="77" y="333"/>
                    <a:pt x="77" y="333"/>
                  </a:cubicBezTo>
                  <a:cubicBezTo>
                    <a:pt x="76" y="336"/>
                    <a:pt x="76" y="336"/>
                    <a:pt x="76" y="336"/>
                  </a:cubicBezTo>
                  <a:cubicBezTo>
                    <a:pt x="76" y="337"/>
                    <a:pt x="76" y="337"/>
                    <a:pt x="76" y="337"/>
                  </a:cubicBezTo>
                  <a:cubicBezTo>
                    <a:pt x="74" y="341"/>
                    <a:pt x="74" y="341"/>
                    <a:pt x="74" y="341"/>
                  </a:cubicBezTo>
                  <a:cubicBezTo>
                    <a:pt x="63" y="356"/>
                    <a:pt x="63" y="356"/>
                    <a:pt x="63" y="356"/>
                  </a:cubicBezTo>
                  <a:cubicBezTo>
                    <a:pt x="63" y="356"/>
                    <a:pt x="63" y="356"/>
                    <a:pt x="63" y="356"/>
                  </a:cubicBezTo>
                  <a:cubicBezTo>
                    <a:pt x="62" y="356"/>
                    <a:pt x="62" y="356"/>
                    <a:pt x="62" y="356"/>
                  </a:cubicBezTo>
                  <a:cubicBezTo>
                    <a:pt x="55" y="357"/>
                    <a:pt x="55" y="357"/>
                    <a:pt x="55" y="357"/>
                  </a:cubicBezTo>
                  <a:cubicBezTo>
                    <a:pt x="25" y="359"/>
                    <a:pt x="25" y="359"/>
                    <a:pt x="25" y="359"/>
                  </a:cubicBezTo>
                  <a:cubicBezTo>
                    <a:pt x="4" y="378"/>
                    <a:pt x="4" y="378"/>
                    <a:pt x="4" y="378"/>
                  </a:cubicBezTo>
                  <a:cubicBezTo>
                    <a:pt x="7" y="392"/>
                    <a:pt x="7" y="392"/>
                    <a:pt x="7" y="392"/>
                  </a:cubicBezTo>
                  <a:cubicBezTo>
                    <a:pt x="15" y="396"/>
                    <a:pt x="15" y="396"/>
                    <a:pt x="15" y="396"/>
                  </a:cubicBezTo>
                  <a:cubicBezTo>
                    <a:pt x="17" y="396"/>
                    <a:pt x="17" y="396"/>
                    <a:pt x="17" y="396"/>
                  </a:cubicBezTo>
                  <a:cubicBezTo>
                    <a:pt x="17" y="397"/>
                    <a:pt x="17" y="397"/>
                    <a:pt x="17" y="397"/>
                  </a:cubicBezTo>
                  <a:cubicBezTo>
                    <a:pt x="18" y="400"/>
                    <a:pt x="18" y="400"/>
                    <a:pt x="18" y="400"/>
                  </a:cubicBezTo>
                  <a:cubicBezTo>
                    <a:pt x="19" y="401"/>
                    <a:pt x="19" y="401"/>
                    <a:pt x="19" y="401"/>
                  </a:cubicBezTo>
                  <a:cubicBezTo>
                    <a:pt x="21" y="414"/>
                    <a:pt x="21" y="414"/>
                    <a:pt x="21" y="414"/>
                  </a:cubicBezTo>
                  <a:cubicBezTo>
                    <a:pt x="21" y="416"/>
                    <a:pt x="21" y="416"/>
                    <a:pt x="21" y="416"/>
                  </a:cubicBezTo>
                  <a:cubicBezTo>
                    <a:pt x="20" y="418"/>
                    <a:pt x="20" y="418"/>
                    <a:pt x="20" y="418"/>
                  </a:cubicBezTo>
                  <a:cubicBezTo>
                    <a:pt x="19" y="419"/>
                    <a:pt x="19" y="419"/>
                    <a:pt x="19" y="419"/>
                  </a:cubicBezTo>
                  <a:cubicBezTo>
                    <a:pt x="14" y="419"/>
                    <a:pt x="14" y="419"/>
                    <a:pt x="14" y="419"/>
                  </a:cubicBezTo>
                  <a:cubicBezTo>
                    <a:pt x="11" y="419"/>
                    <a:pt x="11" y="419"/>
                    <a:pt x="11" y="419"/>
                  </a:cubicBezTo>
                  <a:cubicBezTo>
                    <a:pt x="0" y="427"/>
                    <a:pt x="0" y="427"/>
                    <a:pt x="0" y="427"/>
                  </a:cubicBezTo>
                  <a:cubicBezTo>
                    <a:pt x="8" y="436"/>
                    <a:pt x="8" y="436"/>
                    <a:pt x="8" y="436"/>
                  </a:cubicBezTo>
                  <a:cubicBezTo>
                    <a:pt x="12" y="437"/>
                    <a:pt x="12" y="437"/>
                    <a:pt x="12" y="437"/>
                  </a:cubicBezTo>
                  <a:cubicBezTo>
                    <a:pt x="14" y="433"/>
                    <a:pt x="14" y="433"/>
                    <a:pt x="14" y="433"/>
                  </a:cubicBezTo>
                  <a:cubicBezTo>
                    <a:pt x="32" y="434"/>
                    <a:pt x="32" y="434"/>
                    <a:pt x="32" y="434"/>
                  </a:cubicBezTo>
                  <a:cubicBezTo>
                    <a:pt x="35" y="434"/>
                    <a:pt x="35" y="434"/>
                    <a:pt x="35" y="434"/>
                  </a:cubicBezTo>
                  <a:cubicBezTo>
                    <a:pt x="37" y="435"/>
                    <a:pt x="37" y="435"/>
                    <a:pt x="37" y="435"/>
                  </a:cubicBezTo>
                  <a:cubicBezTo>
                    <a:pt x="39" y="436"/>
                    <a:pt x="39" y="436"/>
                    <a:pt x="39" y="436"/>
                  </a:cubicBezTo>
                  <a:cubicBezTo>
                    <a:pt x="51" y="433"/>
                    <a:pt x="51" y="433"/>
                    <a:pt x="51" y="433"/>
                  </a:cubicBezTo>
                  <a:cubicBezTo>
                    <a:pt x="54" y="431"/>
                    <a:pt x="54" y="431"/>
                    <a:pt x="54" y="431"/>
                  </a:cubicBezTo>
                  <a:cubicBezTo>
                    <a:pt x="55" y="431"/>
                    <a:pt x="55" y="431"/>
                    <a:pt x="55" y="431"/>
                  </a:cubicBezTo>
                  <a:cubicBezTo>
                    <a:pt x="55" y="432"/>
                    <a:pt x="55" y="432"/>
                    <a:pt x="55" y="432"/>
                  </a:cubicBezTo>
                  <a:cubicBezTo>
                    <a:pt x="56" y="432"/>
                    <a:pt x="56" y="432"/>
                    <a:pt x="56" y="432"/>
                  </a:cubicBezTo>
                  <a:cubicBezTo>
                    <a:pt x="55" y="433"/>
                    <a:pt x="55" y="433"/>
                    <a:pt x="55" y="433"/>
                  </a:cubicBezTo>
                  <a:cubicBezTo>
                    <a:pt x="54" y="435"/>
                    <a:pt x="54" y="435"/>
                    <a:pt x="54" y="435"/>
                  </a:cubicBezTo>
                  <a:cubicBezTo>
                    <a:pt x="53" y="435"/>
                    <a:pt x="53" y="435"/>
                    <a:pt x="53" y="435"/>
                  </a:cubicBezTo>
                  <a:cubicBezTo>
                    <a:pt x="50" y="436"/>
                    <a:pt x="50" y="436"/>
                    <a:pt x="50" y="436"/>
                  </a:cubicBezTo>
                  <a:cubicBezTo>
                    <a:pt x="41" y="439"/>
                    <a:pt x="41" y="439"/>
                    <a:pt x="41" y="439"/>
                  </a:cubicBezTo>
                  <a:cubicBezTo>
                    <a:pt x="30" y="442"/>
                    <a:pt x="30" y="442"/>
                    <a:pt x="30" y="442"/>
                  </a:cubicBezTo>
                  <a:cubicBezTo>
                    <a:pt x="27" y="442"/>
                    <a:pt x="27" y="442"/>
                    <a:pt x="27" y="442"/>
                  </a:cubicBezTo>
                  <a:cubicBezTo>
                    <a:pt x="28" y="454"/>
                    <a:pt x="28" y="454"/>
                    <a:pt x="28" y="454"/>
                  </a:cubicBezTo>
                  <a:cubicBezTo>
                    <a:pt x="29" y="456"/>
                    <a:pt x="29" y="456"/>
                    <a:pt x="29" y="456"/>
                  </a:cubicBezTo>
                  <a:cubicBezTo>
                    <a:pt x="30" y="457"/>
                    <a:pt x="30" y="457"/>
                    <a:pt x="30" y="457"/>
                  </a:cubicBezTo>
                  <a:cubicBezTo>
                    <a:pt x="36" y="459"/>
                    <a:pt x="36" y="459"/>
                    <a:pt x="36" y="459"/>
                  </a:cubicBezTo>
                  <a:cubicBezTo>
                    <a:pt x="46" y="462"/>
                    <a:pt x="46" y="462"/>
                    <a:pt x="46" y="462"/>
                  </a:cubicBezTo>
                  <a:cubicBezTo>
                    <a:pt x="48" y="462"/>
                    <a:pt x="48" y="462"/>
                    <a:pt x="48" y="462"/>
                  </a:cubicBezTo>
                  <a:cubicBezTo>
                    <a:pt x="49" y="460"/>
                    <a:pt x="49" y="460"/>
                    <a:pt x="49" y="460"/>
                  </a:cubicBezTo>
                  <a:cubicBezTo>
                    <a:pt x="54" y="454"/>
                    <a:pt x="54" y="454"/>
                    <a:pt x="54" y="454"/>
                  </a:cubicBezTo>
                  <a:cubicBezTo>
                    <a:pt x="58" y="451"/>
                    <a:pt x="58" y="451"/>
                    <a:pt x="58" y="451"/>
                  </a:cubicBezTo>
                  <a:cubicBezTo>
                    <a:pt x="59" y="450"/>
                    <a:pt x="59" y="450"/>
                    <a:pt x="59" y="450"/>
                  </a:cubicBezTo>
                  <a:cubicBezTo>
                    <a:pt x="62" y="449"/>
                    <a:pt x="62" y="449"/>
                    <a:pt x="62" y="449"/>
                  </a:cubicBezTo>
                  <a:cubicBezTo>
                    <a:pt x="84" y="440"/>
                    <a:pt x="84" y="440"/>
                    <a:pt x="84" y="440"/>
                  </a:cubicBezTo>
                  <a:cubicBezTo>
                    <a:pt x="86" y="434"/>
                    <a:pt x="86" y="434"/>
                    <a:pt x="86" y="434"/>
                  </a:cubicBezTo>
                  <a:cubicBezTo>
                    <a:pt x="86" y="432"/>
                    <a:pt x="86" y="432"/>
                    <a:pt x="86" y="432"/>
                  </a:cubicBezTo>
                  <a:cubicBezTo>
                    <a:pt x="88" y="430"/>
                    <a:pt x="88" y="430"/>
                    <a:pt x="88" y="430"/>
                  </a:cubicBezTo>
                  <a:cubicBezTo>
                    <a:pt x="92" y="429"/>
                    <a:pt x="92" y="429"/>
                    <a:pt x="92" y="429"/>
                  </a:cubicBezTo>
                  <a:cubicBezTo>
                    <a:pt x="95" y="428"/>
                    <a:pt x="95" y="428"/>
                    <a:pt x="95" y="428"/>
                  </a:cubicBezTo>
                  <a:cubicBezTo>
                    <a:pt x="97" y="427"/>
                    <a:pt x="97" y="427"/>
                    <a:pt x="97" y="427"/>
                  </a:cubicBezTo>
                  <a:cubicBezTo>
                    <a:pt x="103" y="427"/>
                    <a:pt x="103" y="427"/>
                    <a:pt x="103" y="427"/>
                  </a:cubicBezTo>
                  <a:cubicBezTo>
                    <a:pt x="124" y="426"/>
                    <a:pt x="124" y="426"/>
                    <a:pt x="124" y="426"/>
                  </a:cubicBezTo>
                  <a:cubicBezTo>
                    <a:pt x="134" y="429"/>
                    <a:pt x="134" y="429"/>
                    <a:pt x="134" y="429"/>
                  </a:cubicBezTo>
                  <a:cubicBezTo>
                    <a:pt x="164" y="440"/>
                    <a:pt x="164" y="440"/>
                    <a:pt x="164" y="440"/>
                  </a:cubicBezTo>
                  <a:cubicBezTo>
                    <a:pt x="182" y="440"/>
                    <a:pt x="182" y="440"/>
                    <a:pt x="182" y="440"/>
                  </a:cubicBezTo>
                  <a:cubicBezTo>
                    <a:pt x="182" y="441"/>
                    <a:pt x="182" y="441"/>
                    <a:pt x="182" y="441"/>
                  </a:cubicBezTo>
                  <a:cubicBezTo>
                    <a:pt x="183" y="441"/>
                    <a:pt x="183" y="441"/>
                    <a:pt x="183" y="441"/>
                  </a:cubicBezTo>
                  <a:cubicBezTo>
                    <a:pt x="184" y="443"/>
                    <a:pt x="184" y="443"/>
                    <a:pt x="184" y="443"/>
                  </a:cubicBezTo>
                  <a:cubicBezTo>
                    <a:pt x="184" y="443"/>
                    <a:pt x="184" y="443"/>
                    <a:pt x="184" y="443"/>
                  </a:cubicBezTo>
                  <a:cubicBezTo>
                    <a:pt x="183" y="444"/>
                    <a:pt x="183" y="444"/>
                    <a:pt x="183" y="444"/>
                  </a:cubicBezTo>
                  <a:cubicBezTo>
                    <a:pt x="182" y="448"/>
                    <a:pt x="182" y="448"/>
                    <a:pt x="182" y="448"/>
                  </a:cubicBezTo>
                  <a:cubicBezTo>
                    <a:pt x="181" y="448"/>
                    <a:pt x="181" y="448"/>
                    <a:pt x="181" y="448"/>
                  </a:cubicBezTo>
                  <a:cubicBezTo>
                    <a:pt x="177" y="450"/>
                    <a:pt x="177" y="450"/>
                    <a:pt x="177" y="450"/>
                  </a:cubicBezTo>
                  <a:cubicBezTo>
                    <a:pt x="172" y="453"/>
                    <a:pt x="172" y="453"/>
                    <a:pt x="172" y="453"/>
                  </a:cubicBezTo>
                  <a:cubicBezTo>
                    <a:pt x="168" y="454"/>
                    <a:pt x="168" y="454"/>
                    <a:pt x="168" y="454"/>
                  </a:cubicBezTo>
                  <a:cubicBezTo>
                    <a:pt x="166" y="454"/>
                    <a:pt x="166" y="454"/>
                    <a:pt x="166" y="454"/>
                  </a:cubicBezTo>
                  <a:cubicBezTo>
                    <a:pt x="159" y="454"/>
                    <a:pt x="159" y="454"/>
                    <a:pt x="159" y="454"/>
                  </a:cubicBezTo>
                  <a:cubicBezTo>
                    <a:pt x="158" y="454"/>
                    <a:pt x="158" y="454"/>
                    <a:pt x="158" y="454"/>
                  </a:cubicBezTo>
                  <a:cubicBezTo>
                    <a:pt x="157" y="453"/>
                    <a:pt x="157" y="453"/>
                    <a:pt x="157" y="453"/>
                  </a:cubicBezTo>
                  <a:cubicBezTo>
                    <a:pt x="148" y="458"/>
                    <a:pt x="148" y="458"/>
                    <a:pt x="148" y="458"/>
                  </a:cubicBezTo>
                  <a:cubicBezTo>
                    <a:pt x="148" y="458"/>
                    <a:pt x="148" y="458"/>
                    <a:pt x="148" y="458"/>
                  </a:cubicBezTo>
                  <a:cubicBezTo>
                    <a:pt x="148" y="459"/>
                    <a:pt x="148" y="459"/>
                    <a:pt x="148" y="459"/>
                  </a:cubicBezTo>
                  <a:cubicBezTo>
                    <a:pt x="148" y="469"/>
                    <a:pt x="148" y="469"/>
                    <a:pt x="148" y="469"/>
                  </a:cubicBezTo>
                  <a:cubicBezTo>
                    <a:pt x="150" y="471"/>
                    <a:pt x="150" y="471"/>
                    <a:pt x="150" y="471"/>
                  </a:cubicBezTo>
                  <a:cubicBezTo>
                    <a:pt x="156" y="475"/>
                    <a:pt x="156" y="475"/>
                    <a:pt x="156" y="475"/>
                  </a:cubicBezTo>
                  <a:cubicBezTo>
                    <a:pt x="159" y="477"/>
                    <a:pt x="159" y="477"/>
                    <a:pt x="159" y="477"/>
                  </a:cubicBezTo>
                  <a:cubicBezTo>
                    <a:pt x="161" y="477"/>
                    <a:pt x="161" y="477"/>
                    <a:pt x="161" y="477"/>
                  </a:cubicBezTo>
                  <a:cubicBezTo>
                    <a:pt x="162" y="477"/>
                    <a:pt x="162" y="477"/>
                    <a:pt x="162" y="477"/>
                  </a:cubicBezTo>
                  <a:cubicBezTo>
                    <a:pt x="170" y="475"/>
                    <a:pt x="170" y="475"/>
                    <a:pt x="170" y="475"/>
                  </a:cubicBezTo>
                  <a:cubicBezTo>
                    <a:pt x="184" y="471"/>
                    <a:pt x="184" y="471"/>
                    <a:pt x="184" y="471"/>
                  </a:cubicBezTo>
                  <a:cubicBezTo>
                    <a:pt x="193" y="463"/>
                    <a:pt x="193" y="463"/>
                    <a:pt x="193" y="463"/>
                  </a:cubicBezTo>
                  <a:cubicBezTo>
                    <a:pt x="194" y="462"/>
                    <a:pt x="194" y="462"/>
                    <a:pt x="194" y="462"/>
                  </a:cubicBezTo>
                  <a:cubicBezTo>
                    <a:pt x="194" y="461"/>
                    <a:pt x="194" y="461"/>
                    <a:pt x="194" y="461"/>
                  </a:cubicBezTo>
                  <a:cubicBezTo>
                    <a:pt x="196" y="459"/>
                    <a:pt x="196" y="459"/>
                    <a:pt x="196" y="459"/>
                  </a:cubicBezTo>
                  <a:cubicBezTo>
                    <a:pt x="199" y="457"/>
                    <a:pt x="199" y="457"/>
                    <a:pt x="199" y="457"/>
                  </a:cubicBezTo>
                  <a:cubicBezTo>
                    <a:pt x="202" y="457"/>
                    <a:pt x="202" y="457"/>
                    <a:pt x="202" y="457"/>
                  </a:cubicBezTo>
                  <a:cubicBezTo>
                    <a:pt x="219" y="454"/>
                    <a:pt x="219" y="454"/>
                    <a:pt x="219" y="454"/>
                  </a:cubicBezTo>
                  <a:cubicBezTo>
                    <a:pt x="220" y="455"/>
                    <a:pt x="220" y="455"/>
                    <a:pt x="220" y="455"/>
                  </a:cubicBezTo>
                  <a:cubicBezTo>
                    <a:pt x="229" y="470"/>
                    <a:pt x="229" y="470"/>
                    <a:pt x="229" y="470"/>
                  </a:cubicBezTo>
                  <a:cubicBezTo>
                    <a:pt x="232" y="473"/>
                    <a:pt x="232" y="473"/>
                    <a:pt x="232" y="473"/>
                  </a:cubicBezTo>
                  <a:cubicBezTo>
                    <a:pt x="233" y="475"/>
                    <a:pt x="233" y="475"/>
                    <a:pt x="233" y="475"/>
                  </a:cubicBezTo>
                  <a:cubicBezTo>
                    <a:pt x="249" y="492"/>
                    <a:pt x="249" y="492"/>
                    <a:pt x="249" y="492"/>
                  </a:cubicBezTo>
                  <a:cubicBezTo>
                    <a:pt x="264" y="507"/>
                    <a:pt x="264" y="507"/>
                    <a:pt x="264" y="507"/>
                  </a:cubicBezTo>
                  <a:cubicBezTo>
                    <a:pt x="267" y="509"/>
                    <a:pt x="267" y="509"/>
                    <a:pt x="267" y="509"/>
                  </a:cubicBezTo>
                  <a:cubicBezTo>
                    <a:pt x="268" y="510"/>
                    <a:pt x="268" y="510"/>
                    <a:pt x="268" y="510"/>
                  </a:cubicBezTo>
                  <a:cubicBezTo>
                    <a:pt x="279" y="512"/>
                    <a:pt x="279" y="512"/>
                    <a:pt x="279" y="512"/>
                  </a:cubicBezTo>
                  <a:cubicBezTo>
                    <a:pt x="289" y="514"/>
                    <a:pt x="289" y="514"/>
                    <a:pt x="289" y="514"/>
                  </a:cubicBezTo>
                  <a:cubicBezTo>
                    <a:pt x="296" y="514"/>
                    <a:pt x="296" y="514"/>
                    <a:pt x="296" y="514"/>
                  </a:cubicBezTo>
                  <a:cubicBezTo>
                    <a:pt x="309" y="513"/>
                    <a:pt x="309" y="513"/>
                    <a:pt x="309" y="513"/>
                  </a:cubicBezTo>
                  <a:cubicBezTo>
                    <a:pt x="323" y="509"/>
                    <a:pt x="323" y="509"/>
                    <a:pt x="323" y="509"/>
                  </a:cubicBezTo>
                  <a:cubicBezTo>
                    <a:pt x="324" y="508"/>
                    <a:pt x="324" y="508"/>
                    <a:pt x="324" y="508"/>
                  </a:cubicBezTo>
                  <a:cubicBezTo>
                    <a:pt x="324" y="508"/>
                    <a:pt x="324" y="508"/>
                    <a:pt x="324" y="508"/>
                  </a:cubicBezTo>
                  <a:cubicBezTo>
                    <a:pt x="327" y="505"/>
                    <a:pt x="327" y="505"/>
                    <a:pt x="327" y="505"/>
                  </a:cubicBezTo>
                  <a:cubicBezTo>
                    <a:pt x="327" y="502"/>
                    <a:pt x="327" y="502"/>
                    <a:pt x="327" y="502"/>
                  </a:cubicBezTo>
                  <a:cubicBezTo>
                    <a:pt x="327" y="499"/>
                    <a:pt x="327" y="499"/>
                    <a:pt x="327" y="499"/>
                  </a:cubicBezTo>
                  <a:cubicBezTo>
                    <a:pt x="327" y="498"/>
                    <a:pt x="327" y="498"/>
                    <a:pt x="327" y="498"/>
                  </a:cubicBezTo>
                  <a:cubicBezTo>
                    <a:pt x="328" y="494"/>
                    <a:pt x="328" y="494"/>
                    <a:pt x="328" y="494"/>
                  </a:cubicBezTo>
                  <a:cubicBezTo>
                    <a:pt x="332" y="488"/>
                    <a:pt x="332" y="488"/>
                    <a:pt x="332" y="488"/>
                  </a:cubicBezTo>
                  <a:cubicBezTo>
                    <a:pt x="332" y="486"/>
                    <a:pt x="332" y="486"/>
                    <a:pt x="332" y="486"/>
                  </a:cubicBezTo>
                  <a:cubicBezTo>
                    <a:pt x="333" y="485"/>
                    <a:pt x="333" y="485"/>
                    <a:pt x="333" y="485"/>
                  </a:cubicBezTo>
                  <a:cubicBezTo>
                    <a:pt x="352" y="471"/>
                    <a:pt x="352" y="471"/>
                    <a:pt x="352" y="471"/>
                  </a:cubicBezTo>
                  <a:cubicBezTo>
                    <a:pt x="356" y="471"/>
                    <a:pt x="356" y="471"/>
                    <a:pt x="356" y="471"/>
                  </a:cubicBezTo>
                  <a:cubicBezTo>
                    <a:pt x="356" y="471"/>
                    <a:pt x="356" y="471"/>
                    <a:pt x="356" y="471"/>
                  </a:cubicBezTo>
                  <a:cubicBezTo>
                    <a:pt x="364" y="472"/>
                    <a:pt x="364" y="472"/>
                    <a:pt x="364" y="472"/>
                  </a:cubicBezTo>
                  <a:cubicBezTo>
                    <a:pt x="369" y="471"/>
                    <a:pt x="369" y="471"/>
                    <a:pt x="369" y="471"/>
                  </a:cubicBezTo>
                  <a:cubicBezTo>
                    <a:pt x="373" y="470"/>
                    <a:pt x="373" y="470"/>
                    <a:pt x="373" y="470"/>
                  </a:cubicBezTo>
                  <a:cubicBezTo>
                    <a:pt x="377" y="469"/>
                    <a:pt x="377" y="469"/>
                    <a:pt x="377" y="469"/>
                  </a:cubicBezTo>
                  <a:cubicBezTo>
                    <a:pt x="395" y="461"/>
                    <a:pt x="395" y="461"/>
                    <a:pt x="395" y="461"/>
                  </a:cubicBezTo>
                  <a:cubicBezTo>
                    <a:pt x="398" y="458"/>
                    <a:pt x="398" y="458"/>
                    <a:pt x="398" y="458"/>
                  </a:cubicBezTo>
                  <a:cubicBezTo>
                    <a:pt x="402" y="453"/>
                    <a:pt x="402" y="453"/>
                    <a:pt x="402" y="453"/>
                  </a:cubicBezTo>
                  <a:cubicBezTo>
                    <a:pt x="401" y="453"/>
                    <a:pt x="401" y="453"/>
                    <a:pt x="401" y="453"/>
                  </a:cubicBezTo>
                  <a:cubicBezTo>
                    <a:pt x="401" y="453"/>
                    <a:pt x="400" y="453"/>
                    <a:pt x="400" y="452"/>
                  </a:cubicBezTo>
                  <a:cubicBezTo>
                    <a:pt x="399" y="452"/>
                    <a:pt x="399" y="452"/>
                    <a:pt x="399" y="452"/>
                  </a:cubicBezTo>
                  <a:cubicBezTo>
                    <a:pt x="399" y="452"/>
                    <a:pt x="399" y="452"/>
                    <a:pt x="399" y="452"/>
                  </a:cubicBezTo>
                  <a:cubicBezTo>
                    <a:pt x="399" y="452"/>
                    <a:pt x="399" y="452"/>
                    <a:pt x="399" y="452"/>
                  </a:cubicBezTo>
                  <a:cubicBezTo>
                    <a:pt x="399" y="451"/>
                    <a:pt x="398" y="450"/>
                    <a:pt x="398" y="449"/>
                  </a:cubicBezTo>
                  <a:cubicBezTo>
                    <a:pt x="398" y="443"/>
                    <a:pt x="398" y="443"/>
                    <a:pt x="398" y="443"/>
                  </a:cubicBezTo>
                  <a:cubicBezTo>
                    <a:pt x="397" y="443"/>
                    <a:pt x="397" y="442"/>
                    <a:pt x="397" y="440"/>
                  </a:cubicBezTo>
                  <a:cubicBezTo>
                    <a:pt x="397" y="438"/>
                    <a:pt x="397" y="436"/>
                    <a:pt x="397" y="435"/>
                  </a:cubicBezTo>
                  <a:cubicBezTo>
                    <a:pt x="397" y="435"/>
                    <a:pt x="397" y="435"/>
                    <a:pt x="397" y="434"/>
                  </a:cubicBezTo>
                  <a:cubicBezTo>
                    <a:pt x="397" y="434"/>
                    <a:pt x="397" y="433"/>
                    <a:pt x="397" y="432"/>
                  </a:cubicBezTo>
                  <a:cubicBezTo>
                    <a:pt x="397" y="431"/>
                    <a:pt x="397" y="431"/>
                    <a:pt x="397" y="431"/>
                  </a:cubicBezTo>
                  <a:cubicBezTo>
                    <a:pt x="397" y="430"/>
                    <a:pt x="397" y="430"/>
                    <a:pt x="397" y="429"/>
                  </a:cubicBezTo>
                  <a:cubicBezTo>
                    <a:pt x="397" y="429"/>
                    <a:pt x="397" y="428"/>
                    <a:pt x="397" y="427"/>
                  </a:cubicBezTo>
                  <a:cubicBezTo>
                    <a:pt x="397" y="425"/>
                    <a:pt x="397" y="423"/>
                    <a:pt x="397" y="422"/>
                  </a:cubicBezTo>
                  <a:cubicBezTo>
                    <a:pt x="396" y="421"/>
                    <a:pt x="397" y="419"/>
                    <a:pt x="397" y="418"/>
                  </a:cubicBezTo>
                  <a:cubicBezTo>
                    <a:pt x="398" y="416"/>
                    <a:pt x="398" y="414"/>
                    <a:pt x="398" y="413"/>
                  </a:cubicBezTo>
                  <a:cubicBezTo>
                    <a:pt x="398" y="412"/>
                    <a:pt x="397" y="408"/>
                    <a:pt x="398" y="406"/>
                  </a:cubicBezTo>
                  <a:cubicBezTo>
                    <a:pt x="400" y="404"/>
                    <a:pt x="402" y="401"/>
                    <a:pt x="402" y="401"/>
                  </a:cubicBezTo>
                  <a:close/>
                  <a:moveTo>
                    <a:pt x="113" y="60"/>
                  </a:moveTo>
                  <a:cubicBezTo>
                    <a:pt x="126" y="71"/>
                    <a:pt x="126" y="71"/>
                    <a:pt x="126" y="71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7" y="76"/>
                    <a:pt x="137" y="76"/>
                    <a:pt x="137" y="76"/>
                  </a:cubicBezTo>
                  <a:cubicBezTo>
                    <a:pt x="138" y="76"/>
                    <a:pt x="138" y="76"/>
                    <a:pt x="138" y="76"/>
                  </a:cubicBezTo>
                  <a:cubicBezTo>
                    <a:pt x="147" y="68"/>
                    <a:pt x="147" y="68"/>
                    <a:pt x="147" y="68"/>
                  </a:cubicBezTo>
                  <a:cubicBezTo>
                    <a:pt x="151" y="63"/>
                    <a:pt x="151" y="63"/>
                    <a:pt x="151" y="63"/>
                  </a:cubicBezTo>
                  <a:cubicBezTo>
                    <a:pt x="155" y="57"/>
                    <a:pt x="155" y="57"/>
                    <a:pt x="155" y="57"/>
                  </a:cubicBezTo>
                  <a:cubicBezTo>
                    <a:pt x="156" y="56"/>
                    <a:pt x="156" y="56"/>
                    <a:pt x="156" y="56"/>
                  </a:cubicBezTo>
                  <a:cubicBezTo>
                    <a:pt x="157" y="54"/>
                    <a:pt x="157" y="54"/>
                    <a:pt x="157" y="54"/>
                  </a:cubicBezTo>
                  <a:cubicBezTo>
                    <a:pt x="158" y="53"/>
                    <a:pt x="158" y="53"/>
                    <a:pt x="158" y="53"/>
                  </a:cubicBezTo>
                  <a:cubicBezTo>
                    <a:pt x="161" y="50"/>
                    <a:pt x="161" y="50"/>
                    <a:pt x="161" y="50"/>
                  </a:cubicBezTo>
                  <a:cubicBezTo>
                    <a:pt x="172" y="44"/>
                    <a:pt x="172" y="44"/>
                    <a:pt x="172" y="44"/>
                  </a:cubicBezTo>
                  <a:cubicBezTo>
                    <a:pt x="175" y="41"/>
                    <a:pt x="175" y="41"/>
                    <a:pt x="175" y="41"/>
                  </a:cubicBezTo>
                  <a:cubicBezTo>
                    <a:pt x="181" y="34"/>
                    <a:pt x="181" y="34"/>
                    <a:pt x="181" y="34"/>
                  </a:cubicBezTo>
                  <a:cubicBezTo>
                    <a:pt x="182" y="30"/>
                    <a:pt x="182" y="30"/>
                    <a:pt x="182" y="30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71" y="28"/>
                    <a:pt x="171" y="28"/>
                    <a:pt x="171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7" y="29"/>
                    <a:pt x="167" y="29"/>
                    <a:pt x="167" y="29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59" y="34"/>
                    <a:pt x="159" y="34"/>
                    <a:pt x="159" y="34"/>
                  </a:cubicBezTo>
                  <a:cubicBezTo>
                    <a:pt x="157" y="33"/>
                    <a:pt x="157" y="33"/>
                    <a:pt x="157" y="33"/>
                  </a:cubicBezTo>
                  <a:cubicBezTo>
                    <a:pt x="157" y="32"/>
                    <a:pt x="157" y="32"/>
                    <a:pt x="157" y="32"/>
                  </a:cubicBezTo>
                  <a:cubicBezTo>
                    <a:pt x="152" y="22"/>
                    <a:pt x="152" y="22"/>
                    <a:pt x="152" y="22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3" y="4"/>
                    <a:pt x="143" y="4"/>
                    <a:pt x="143" y="4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03" y="7"/>
                    <a:pt x="103" y="7"/>
                    <a:pt x="103" y="7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38"/>
                    <a:pt x="102" y="38"/>
                    <a:pt x="102" y="38"/>
                  </a:cubicBezTo>
                  <a:lnTo>
                    <a:pt x="113" y="60"/>
                  </a:lnTo>
                  <a:close/>
                  <a:moveTo>
                    <a:pt x="86" y="37"/>
                  </a:moveTo>
                  <a:cubicBezTo>
                    <a:pt x="98" y="46"/>
                    <a:pt x="98" y="46"/>
                    <a:pt x="98" y="46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85" y="27"/>
                    <a:pt x="85" y="27"/>
                    <a:pt x="85" y="27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5" y="36"/>
                    <a:pt x="85" y="36"/>
                    <a:pt x="85" y="36"/>
                  </a:cubicBezTo>
                  <a:lnTo>
                    <a:pt x="86" y="3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7" name="Freeform 13"/>
            <p:cNvSpPr>
              <a:spLocks noEditPoints="1"/>
            </p:cNvSpPr>
            <p:nvPr/>
          </p:nvSpPr>
          <p:spPr bwMode="auto">
            <a:xfrm>
              <a:off x="522164" y="4128766"/>
              <a:ext cx="1579562" cy="2152650"/>
            </a:xfrm>
            <a:custGeom>
              <a:avLst/>
              <a:gdLst>
                <a:gd name="T0" fmla="*/ 351 w 714"/>
                <a:gd name="T1" fmla="*/ 94 h 973"/>
                <a:gd name="T2" fmla="*/ 133 w 714"/>
                <a:gd name="T3" fmla="*/ 328 h 973"/>
                <a:gd name="T4" fmla="*/ 113 w 714"/>
                <a:gd name="T5" fmla="*/ 380 h 973"/>
                <a:gd name="T6" fmla="*/ 116 w 714"/>
                <a:gd name="T7" fmla="*/ 924 h 973"/>
                <a:gd name="T8" fmla="*/ 155 w 714"/>
                <a:gd name="T9" fmla="*/ 517 h 973"/>
                <a:gd name="T10" fmla="*/ 162 w 714"/>
                <a:gd name="T11" fmla="*/ 561 h 973"/>
                <a:gd name="T12" fmla="*/ 183 w 714"/>
                <a:gd name="T13" fmla="*/ 570 h 973"/>
                <a:gd name="T14" fmla="*/ 171 w 714"/>
                <a:gd name="T15" fmla="*/ 567 h 973"/>
                <a:gd name="T16" fmla="*/ 22 w 714"/>
                <a:gd name="T17" fmla="*/ 857 h 973"/>
                <a:gd name="T18" fmla="*/ 12 w 714"/>
                <a:gd name="T19" fmla="*/ 798 h 973"/>
                <a:gd name="T20" fmla="*/ 90 w 714"/>
                <a:gd name="T21" fmla="*/ 422 h 973"/>
                <a:gd name="T22" fmla="*/ 692 w 714"/>
                <a:gd name="T23" fmla="*/ 529 h 973"/>
                <a:gd name="T24" fmla="*/ 686 w 714"/>
                <a:gd name="T25" fmla="*/ 444 h 973"/>
                <a:gd name="T26" fmla="*/ 662 w 714"/>
                <a:gd name="T27" fmla="*/ 363 h 973"/>
                <a:gd name="T28" fmla="*/ 695 w 714"/>
                <a:gd name="T29" fmla="*/ 344 h 973"/>
                <a:gd name="T30" fmla="*/ 624 w 714"/>
                <a:gd name="T31" fmla="*/ 337 h 973"/>
                <a:gd name="T32" fmla="*/ 592 w 714"/>
                <a:gd name="T33" fmla="*/ 280 h 973"/>
                <a:gd name="T34" fmla="*/ 496 w 714"/>
                <a:gd name="T35" fmla="*/ 319 h 973"/>
                <a:gd name="T36" fmla="*/ 428 w 714"/>
                <a:gd name="T37" fmla="*/ 264 h 973"/>
                <a:gd name="T38" fmla="*/ 449 w 714"/>
                <a:gd name="T39" fmla="*/ 157 h 973"/>
                <a:gd name="T40" fmla="*/ 541 w 714"/>
                <a:gd name="T41" fmla="*/ 80 h 973"/>
                <a:gd name="T42" fmla="*/ 572 w 714"/>
                <a:gd name="T43" fmla="*/ 28 h 973"/>
                <a:gd name="T44" fmla="*/ 507 w 714"/>
                <a:gd name="T45" fmla="*/ 55 h 973"/>
                <a:gd name="T46" fmla="*/ 489 w 714"/>
                <a:gd name="T47" fmla="*/ 25 h 973"/>
                <a:gd name="T48" fmla="*/ 475 w 714"/>
                <a:gd name="T49" fmla="*/ 38 h 973"/>
                <a:gd name="T50" fmla="*/ 476 w 714"/>
                <a:gd name="T51" fmla="*/ 54 h 973"/>
                <a:gd name="T52" fmla="*/ 433 w 714"/>
                <a:gd name="T53" fmla="*/ 39 h 973"/>
                <a:gd name="T54" fmla="*/ 375 w 714"/>
                <a:gd name="T55" fmla="*/ 119 h 973"/>
                <a:gd name="T56" fmla="*/ 354 w 714"/>
                <a:gd name="T57" fmla="*/ 134 h 973"/>
                <a:gd name="T58" fmla="*/ 315 w 714"/>
                <a:gd name="T59" fmla="*/ 174 h 973"/>
                <a:gd name="T60" fmla="*/ 334 w 714"/>
                <a:gd name="T61" fmla="*/ 256 h 973"/>
                <a:gd name="T62" fmla="*/ 294 w 714"/>
                <a:gd name="T63" fmla="*/ 271 h 973"/>
                <a:gd name="T64" fmla="*/ 247 w 714"/>
                <a:gd name="T65" fmla="*/ 273 h 973"/>
                <a:gd name="T66" fmla="*/ 147 w 714"/>
                <a:gd name="T67" fmla="*/ 271 h 973"/>
                <a:gd name="T68" fmla="*/ 143 w 714"/>
                <a:gd name="T69" fmla="*/ 269 h 973"/>
                <a:gd name="T70" fmla="*/ 112 w 714"/>
                <a:gd name="T71" fmla="*/ 304 h 973"/>
                <a:gd name="T72" fmla="*/ 139 w 714"/>
                <a:gd name="T73" fmla="*/ 340 h 973"/>
                <a:gd name="T74" fmla="*/ 169 w 714"/>
                <a:gd name="T75" fmla="*/ 356 h 973"/>
                <a:gd name="T76" fmla="*/ 111 w 714"/>
                <a:gd name="T77" fmla="*/ 431 h 973"/>
                <a:gd name="T78" fmla="*/ 135 w 714"/>
                <a:gd name="T79" fmla="*/ 474 h 973"/>
                <a:gd name="T80" fmla="*/ 153 w 714"/>
                <a:gd name="T81" fmla="*/ 505 h 973"/>
                <a:gd name="T82" fmla="*/ 169 w 714"/>
                <a:gd name="T83" fmla="*/ 524 h 973"/>
                <a:gd name="T84" fmla="*/ 273 w 714"/>
                <a:gd name="T85" fmla="*/ 555 h 973"/>
                <a:gd name="T86" fmla="*/ 181 w 714"/>
                <a:gd name="T87" fmla="*/ 641 h 973"/>
                <a:gd name="T88" fmla="*/ 117 w 714"/>
                <a:gd name="T89" fmla="*/ 694 h 973"/>
                <a:gd name="T90" fmla="*/ 233 w 714"/>
                <a:gd name="T91" fmla="*/ 681 h 973"/>
                <a:gd name="T92" fmla="*/ 188 w 714"/>
                <a:gd name="T93" fmla="*/ 691 h 973"/>
                <a:gd name="T94" fmla="*/ 131 w 714"/>
                <a:gd name="T95" fmla="*/ 766 h 973"/>
                <a:gd name="T96" fmla="*/ 52 w 714"/>
                <a:gd name="T97" fmla="*/ 762 h 973"/>
                <a:gd name="T98" fmla="*/ 114 w 714"/>
                <a:gd name="T99" fmla="*/ 795 h 973"/>
                <a:gd name="T100" fmla="*/ 46 w 714"/>
                <a:gd name="T101" fmla="*/ 844 h 973"/>
                <a:gd name="T102" fmla="*/ 77 w 714"/>
                <a:gd name="T103" fmla="*/ 889 h 973"/>
                <a:gd name="T104" fmla="*/ 94 w 714"/>
                <a:gd name="T105" fmla="*/ 926 h 973"/>
                <a:gd name="T106" fmla="*/ 167 w 714"/>
                <a:gd name="T107" fmla="*/ 918 h 973"/>
                <a:gd name="T108" fmla="*/ 142 w 714"/>
                <a:gd name="T109" fmla="*/ 936 h 973"/>
                <a:gd name="T110" fmla="*/ 107 w 714"/>
                <a:gd name="T111" fmla="*/ 965 h 973"/>
                <a:gd name="T112" fmla="*/ 202 w 714"/>
                <a:gd name="T113" fmla="*/ 969 h 973"/>
                <a:gd name="T114" fmla="*/ 320 w 714"/>
                <a:gd name="T115" fmla="*/ 923 h 973"/>
                <a:gd name="T116" fmla="*/ 472 w 714"/>
                <a:gd name="T117" fmla="*/ 838 h 973"/>
                <a:gd name="T118" fmla="*/ 556 w 714"/>
                <a:gd name="T119" fmla="*/ 819 h 973"/>
                <a:gd name="T120" fmla="*/ 657 w 714"/>
                <a:gd name="T121" fmla="*/ 757 h 9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14" h="973">
                  <a:moveTo>
                    <a:pt x="352" y="96"/>
                  </a:moveTo>
                  <a:cubicBezTo>
                    <a:pt x="357" y="98"/>
                    <a:pt x="357" y="98"/>
                    <a:pt x="357" y="98"/>
                  </a:cubicBezTo>
                  <a:cubicBezTo>
                    <a:pt x="358" y="98"/>
                    <a:pt x="358" y="98"/>
                    <a:pt x="358" y="98"/>
                  </a:cubicBezTo>
                  <a:cubicBezTo>
                    <a:pt x="361" y="96"/>
                    <a:pt x="361" y="96"/>
                    <a:pt x="361" y="96"/>
                  </a:cubicBezTo>
                  <a:cubicBezTo>
                    <a:pt x="362" y="96"/>
                    <a:pt x="362" y="96"/>
                    <a:pt x="362" y="96"/>
                  </a:cubicBezTo>
                  <a:cubicBezTo>
                    <a:pt x="362" y="95"/>
                    <a:pt x="362" y="95"/>
                    <a:pt x="362" y="95"/>
                  </a:cubicBezTo>
                  <a:cubicBezTo>
                    <a:pt x="362" y="90"/>
                    <a:pt x="362" y="90"/>
                    <a:pt x="362" y="90"/>
                  </a:cubicBezTo>
                  <a:cubicBezTo>
                    <a:pt x="362" y="90"/>
                    <a:pt x="362" y="90"/>
                    <a:pt x="362" y="90"/>
                  </a:cubicBezTo>
                  <a:cubicBezTo>
                    <a:pt x="362" y="89"/>
                    <a:pt x="362" y="89"/>
                    <a:pt x="362" y="89"/>
                  </a:cubicBezTo>
                  <a:cubicBezTo>
                    <a:pt x="362" y="88"/>
                    <a:pt x="362" y="88"/>
                    <a:pt x="362" y="88"/>
                  </a:cubicBezTo>
                  <a:cubicBezTo>
                    <a:pt x="356" y="84"/>
                    <a:pt x="356" y="84"/>
                    <a:pt x="356" y="84"/>
                  </a:cubicBezTo>
                  <a:cubicBezTo>
                    <a:pt x="355" y="83"/>
                    <a:pt x="355" y="83"/>
                    <a:pt x="355" y="83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4" y="84"/>
                    <a:pt x="354" y="84"/>
                    <a:pt x="354" y="84"/>
                  </a:cubicBezTo>
                  <a:cubicBezTo>
                    <a:pt x="353" y="85"/>
                    <a:pt x="353" y="85"/>
                    <a:pt x="353" y="85"/>
                  </a:cubicBezTo>
                  <a:cubicBezTo>
                    <a:pt x="351" y="93"/>
                    <a:pt x="351" y="93"/>
                    <a:pt x="351" y="93"/>
                  </a:cubicBezTo>
                  <a:cubicBezTo>
                    <a:pt x="351" y="94"/>
                    <a:pt x="351" y="94"/>
                    <a:pt x="351" y="94"/>
                  </a:cubicBezTo>
                  <a:cubicBezTo>
                    <a:pt x="351" y="95"/>
                    <a:pt x="351" y="95"/>
                    <a:pt x="351" y="95"/>
                  </a:cubicBezTo>
                  <a:lnTo>
                    <a:pt x="352" y="96"/>
                  </a:lnTo>
                  <a:close/>
                  <a:moveTo>
                    <a:pt x="115" y="343"/>
                  </a:moveTo>
                  <a:cubicBezTo>
                    <a:pt x="114" y="345"/>
                    <a:pt x="114" y="345"/>
                    <a:pt x="114" y="345"/>
                  </a:cubicBezTo>
                  <a:cubicBezTo>
                    <a:pt x="114" y="345"/>
                    <a:pt x="114" y="345"/>
                    <a:pt x="114" y="345"/>
                  </a:cubicBezTo>
                  <a:cubicBezTo>
                    <a:pt x="114" y="347"/>
                    <a:pt x="114" y="347"/>
                    <a:pt x="114" y="347"/>
                  </a:cubicBezTo>
                  <a:cubicBezTo>
                    <a:pt x="115" y="349"/>
                    <a:pt x="115" y="349"/>
                    <a:pt x="115" y="349"/>
                  </a:cubicBezTo>
                  <a:cubicBezTo>
                    <a:pt x="126" y="358"/>
                    <a:pt x="126" y="358"/>
                    <a:pt x="126" y="358"/>
                  </a:cubicBezTo>
                  <a:cubicBezTo>
                    <a:pt x="128" y="359"/>
                    <a:pt x="128" y="359"/>
                    <a:pt x="128" y="359"/>
                  </a:cubicBezTo>
                  <a:cubicBezTo>
                    <a:pt x="129" y="359"/>
                    <a:pt x="129" y="359"/>
                    <a:pt x="129" y="359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1" y="357"/>
                    <a:pt x="131" y="357"/>
                    <a:pt x="131" y="357"/>
                  </a:cubicBezTo>
                  <a:cubicBezTo>
                    <a:pt x="132" y="355"/>
                    <a:pt x="132" y="355"/>
                    <a:pt x="132" y="355"/>
                  </a:cubicBezTo>
                  <a:cubicBezTo>
                    <a:pt x="135" y="341"/>
                    <a:pt x="135" y="341"/>
                    <a:pt x="135" y="341"/>
                  </a:cubicBezTo>
                  <a:cubicBezTo>
                    <a:pt x="135" y="340"/>
                    <a:pt x="135" y="340"/>
                    <a:pt x="135" y="340"/>
                  </a:cubicBezTo>
                  <a:cubicBezTo>
                    <a:pt x="134" y="330"/>
                    <a:pt x="134" y="330"/>
                    <a:pt x="134" y="330"/>
                  </a:cubicBezTo>
                  <a:cubicBezTo>
                    <a:pt x="133" y="328"/>
                    <a:pt x="133" y="328"/>
                    <a:pt x="133" y="328"/>
                  </a:cubicBezTo>
                  <a:cubicBezTo>
                    <a:pt x="132" y="326"/>
                    <a:pt x="132" y="326"/>
                    <a:pt x="132" y="326"/>
                  </a:cubicBezTo>
                  <a:cubicBezTo>
                    <a:pt x="131" y="325"/>
                    <a:pt x="131" y="325"/>
                    <a:pt x="131" y="325"/>
                  </a:cubicBezTo>
                  <a:cubicBezTo>
                    <a:pt x="129" y="323"/>
                    <a:pt x="129" y="323"/>
                    <a:pt x="129" y="323"/>
                  </a:cubicBezTo>
                  <a:cubicBezTo>
                    <a:pt x="128" y="322"/>
                    <a:pt x="128" y="322"/>
                    <a:pt x="128" y="322"/>
                  </a:cubicBezTo>
                  <a:cubicBezTo>
                    <a:pt x="117" y="321"/>
                    <a:pt x="117" y="321"/>
                    <a:pt x="117" y="321"/>
                  </a:cubicBezTo>
                  <a:cubicBezTo>
                    <a:pt x="115" y="321"/>
                    <a:pt x="115" y="321"/>
                    <a:pt x="115" y="321"/>
                  </a:cubicBezTo>
                  <a:cubicBezTo>
                    <a:pt x="95" y="326"/>
                    <a:pt x="95" y="326"/>
                    <a:pt x="95" y="326"/>
                  </a:cubicBezTo>
                  <a:cubicBezTo>
                    <a:pt x="85" y="330"/>
                    <a:pt x="85" y="330"/>
                    <a:pt x="85" y="330"/>
                  </a:cubicBezTo>
                  <a:cubicBezTo>
                    <a:pt x="85" y="331"/>
                    <a:pt x="85" y="331"/>
                    <a:pt x="85" y="331"/>
                  </a:cubicBezTo>
                  <a:cubicBezTo>
                    <a:pt x="85" y="332"/>
                    <a:pt x="85" y="332"/>
                    <a:pt x="85" y="332"/>
                  </a:cubicBezTo>
                  <a:cubicBezTo>
                    <a:pt x="98" y="335"/>
                    <a:pt x="98" y="335"/>
                    <a:pt x="98" y="335"/>
                  </a:cubicBezTo>
                  <a:lnTo>
                    <a:pt x="115" y="343"/>
                  </a:lnTo>
                  <a:close/>
                  <a:moveTo>
                    <a:pt x="122" y="372"/>
                  </a:moveTo>
                  <a:cubicBezTo>
                    <a:pt x="114" y="376"/>
                    <a:pt x="114" y="376"/>
                    <a:pt x="114" y="376"/>
                  </a:cubicBezTo>
                  <a:cubicBezTo>
                    <a:pt x="114" y="377"/>
                    <a:pt x="114" y="377"/>
                    <a:pt x="114" y="377"/>
                  </a:cubicBezTo>
                  <a:cubicBezTo>
                    <a:pt x="113" y="379"/>
                    <a:pt x="113" y="379"/>
                    <a:pt x="113" y="379"/>
                  </a:cubicBezTo>
                  <a:cubicBezTo>
                    <a:pt x="113" y="380"/>
                    <a:pt x="113" y="380"/>
                    <a:pt x="113" y="380"/>
                  </a:cubicBezTo>
                  <a:cubicBezTo>
                    <a:pt x="113" y="380"/>
                    <a:pt x="113" y="380"/>
                    <a:pt x="113" y="380"/>
                  </a:cubicBezTo>
                  <a:cubicBezTo>
                    <a:pt x="119" y="381"/>
                    <a:pt x="119" y="381"/>
                    <a:pt x="119" y="381"/>
                  </a:cubicBezTo>
                  <a:cubicBezTo>
                    <a:pt x="125" y="380"/>
                    <a:pt x="125" y="380"/>
                    <a:pt x="125" y="380"/>
                  </a:cubicBezTo>
                  <a:cubicBezTo>
                    <a:pt x="126" y="380"/>
                    <a:pt x="126" y="380"/>
                    <a:pt x="126" y="380"/>
                  </a:cubicBezTo>
                  <a:cubicBezTo>
                    <a:pt x="128" y="378"/>
                    <a:pt x="128" y="378"/>
                    <a:pt x="128" y="378"/>
                  </a:cubicBezTo>
                  <a:cubicBezTo>
                    <a:pt x="129" y="377"/>
                    <a:pt x="129" y="377"/>
                    <a:pt x="129" y="377"/>
                  </a:cubicBezTo>
                  <a:cubicBezTo>
                    <a:pt x="129" y="377"/>
                    <a:pt x="129" y="377"/>
                    <a:pt x="129" y="377"/>
                  </a:cubicBezTo>
                  <a:cubicBezTo>
                    <a:pt x="129" y="376"/>
                    <a:pt x="129" y="376"/>
                    <a:pt x="129" y="376"/>
                  </a:cubicBezTo>
                  <a:cubicBezTo>
                    <a:pt x="123" y="371"/>
                    <a:pt x="123" y="371"/>
                    <a:pt x="123" y="371"/>
                  </a:cubicBezTo>
                  <a:lnTo>
                    <a:pt x="122" y="372"/>
                  </a:lnTo>
                  <a:close/>
                  <a:moveTo>
                    <a:pt x="112" y="929"/>
                  </a:moveTo>
                  <a:cubicBezTo>
                    <a:pt x="113" y="929"/>
                    <a:pt x="113" y="929"/>
                    <a:pt x="113" y="929"/>
                  </a:cubicBezTo>
                  <a:cubicBezTo>
                    <a:pt x="116" y="926"/>
                    <a:pt x="116" y="926"/>
                    <a:pt x="116" y="926"/>
                  </a:cubicBezTo>
                  <a:cubicBezTo>
                    <a:pt x="117" y="925"/>
                    <a:pt x="117" y="925"/>
                    <a:pt x="117" y="925"/>
                  </a:cubicBezTo>
                  <a:cubicBezTo>
                    <a:pt x="118" y="924"/>
                    <a:pt x="118" y="924"/>
                    <a:pt x="118" y="924"/>
                  </a:cubicBezTo>
                  <a:cubicBezTo>
                    <a:pt x="117" y="924"/>
                    <a:pt x="117" y="924"/>
                    <a:pt x="117" y="924"/>
                  </a:cubicBezTo>
                  <a:cubicBezTo>
                    <a:pt x="116" y="924"/>
                    <a:pt x="116" y="924"/>
                    <a:pt x="116" y="924"/>
                  </a:cubicBezTo>
                  <a:cubicBezTo>
                    <a:pt x="103" y="924"/>
                    <a:pt x="103" y="924"/>
                    <a:pt x="103" y="924"/>
                  </a:cubicBezTo>
                  <a:cubicBezTo>
                    <a:pt x="99" y="925"/>
                    <a:pt x="99" y="925"/>
                    <a:pt x="99" y="925"/>
                  </a:cubicBezTo>
                  <a:cubicBezTo>
                    <a:pt x="98" y="925"/>
                    <a:pt x="98" y="925"/>
                    <a:pt x="98" y="925"/>
                  </a:cubicBezTo>
                  <a:cubicBezTo>
                    <a:pt x="96" y="926"/>
                    <a:pt x="96" y="926"/>
                    <a:pt x="96" y="926"/>
                  </a:cubicBezTo>
                  <a:cubicBezTo>
                    <a:pt x="96" y="927"/>
                    <a:pt x="96" y="927"/>
                    <a:pt x="96" y="927"/>
                  </a:cubicBezTo>
                  <a:cubicBezTo>
                    <a:pt x="95" y="928"/>
                    <a:pt x="95" y="928"/>
                    <a:pt x="95" y="928"/>
                  </a:cubicBezTo>
                  <a:cubicBezTo>
                    <a:pt x="96" y="930"/>
                    <a:pt x="96" y="930"/>
                    <a:pt x="96" y="930"/>
                  </a:cubicBezTo>
                  <a:cubicBezTo>
                    <a:pt x="97" y="930"/>
                    <a:pt x="97" y="930"/>
                    <a:pt x="97" y="930"/>
                  </a:cubicBezTo>
                  <a:cubicBezTo>
                    <a:pt x="102" y="931"/>
                    <a:pt x="102" y="931"/>
                    <a:pt x="102" y="931"/>
                  </a:cubicBezTo>
                  <a:cubicBezTo>
                    <a:pt x="108" y="930"/>
                    <a:pt x="108" y="930"/>
                    <a:pt x="108" y="930"/>
                  </a:cubicBezTo>
                  <a:lnTo>
                    <a:pt x="112" y="929"/>
                  </a:lnTo>
                  <a:close/>
                  <a:moveTo>
                    <a:pt x="165" y="514"/>
                  </a:moveTo>
                  <a:cubicBezTo>
                    <a:pt x="164" y="513"/>
                    <a:pt x="164" y="513"/>
                    <a:pt x="164" y="513"/>
                  </a:cubicBezTo>
                  <a:cubicBezTo>
                    <a:pt x="164" y="512"/>
                    <a:pt x="164" y="512"/>
                    <a:pt x="164" y="512"/>
                  </a:cubicBezTo>
                  <a:cubicBezTo>
                    <a:pt x="161" y="513"/>
                    <a:pt x="161" y="513"/>
                    <a:pt x="161" y="513"/>
                  </a:cubicBezTo>
                  <a:cubicBezTo>
                    <a:pt x="156" y="516"/>
                    <a:pt x="156" y="516"/>
                    <a:pt x="156" y="516"/>
                  </a:cubicBezTo>
                  <a:cubicBezTo>
                    <a:pt x="155" y="517"/>
                    <a:pt x="155" y="517"/>
                    <a:pt x="155" y="517"/>
                  </a:cubicBezTo>
                  <a:cubicBezTo>
                    <a:pt x="155" y="517"/>
                    <a:pt x="155" y="517"/>
                    <a:pt x="155" y="517"/>
                  </a:cubicBezTo>
                  <a:cubicBezTo>
                    <a:pt x="155" y="524"/>
                    <a:pt x="155" y="524"/>
                    <a:pt x="155" y="524"/>
                  </a:cubicBezTo>
                  <a:cubicBezTo>
                    <a:pt x="157" y="526"/>
                    <a:pt x="157" y="526"/>
                    <a:pt x="157" y="526"/>
                  </a:cubicBezTo>
                  <a:cubicBezTo>
                    <a:pt x="160" y="526"/>
                    <a:pt x="160" y="526"/>
                    <a:pt x="160" y="526"/>
                  </a:cubicBezTo>
                  <a:cubicBezTo>
                    <a:pt x="163" y="526"/>
                    <a:pt x="163" y="526"/>
                    <a:pt x="163" y="526"/>
                  </a:cubicBezTo>
                  <a:cubicBezTo>
                    <a:pt x="164" y="525"/>
                    <a:pt x="164" y="525"/>
                    <a:pt x="164" y="525"/>
                  </a:cubicBezTo>
                  <a:cubicBezTo>
                    <a:pt x="166" y="520"/>
                    <a:pt x="166" y="520"/>
                    <a:pt x="166" y="520"/>
                  </a:cubicBezTo>
                  <a:cubicBezTo>
                    <a:pt x="166" y="519"/>
                    <a:pt x="166" y="519"/>
                    <a:pt x="166" y="519"/>
                  </a:cubicBezTo>
                  <a:cubicBezTo>
                    <a:pt x="164" y="516"/>
                    <a:pt x="164" y="516"/>
                    <a:pt x="164" y="516"/>
                  </a:cubicBezTo>
                  <a:cubicBezTo>
                    <a:pt x="164" y="515"/>
                    <a:pt x="164" y="515"/>
                    <a:pt x="164" y="515"/>
                  </a:cubicBezTo>
                  <a:lnTo>
                    <a:pt x="165" y="514"/>
                  </a:lnTo>
                  <a:close/>
                  <a:moveTo>
                    <a:pt x="145" y="545"/>
                  </a:moveTo>
                  <a:cubicBezTo>
                    <a:pt x="139" y="543"/>
                    <a:pt x="139" y="543"/>
                    <a:pt x="139" y="543"/>
                  </a:cubicBezTo>
                  <a:cubicBezTo>
                    <a:pt x="137" y="544"/>
                    <a:pt x="137" y="544"/>
                    <a:pt x="137" y="544"/>
                  </a:cubicBezTo>
                  <a:cubicBezTo>
                    <a:pt x="136" y="544"/>
                    <a:pt x="136" y="544"/>
                    <a:pt x="136" y="544"/>
                  </a:cubicBezTo>
                  <a:cubicBezTo>
                    <a:pt x="134" y="546"/>
                    <a:pt x="134" y="546"/>
                    <a:pt x="134" y="546"/>
                  </a:cubicBezTo>
                  <a:cubicBezTo>
                    <a:pt x="162" y="561"/>
                    <a:pt x="162" y="561"/>
                    <a:pt x="162" y="561"/>
                  </a:cubicBezTo>
                  <a:cubicBezTo>
                    <a:pt x="164" y="561"/>
                    <a:pt x="164" y="561"/>
                    <a:pt x="164" y="561"/>
                  </a:cubicBezTo>
                  <a:cubicBezTo>
                    <a:pt x="164" y="560"/>
                    <a:pt x="164" y="560"/>
                    <a:pt x="164" y="560"/>
                  </a:cubicBezTo>
                  <a:cubicBezTo>
                    <a:pt x="167" y="557"/>
                    <a:pt x="167" y="557"/>
                    <a:pt x="167" y="557"/>
                  </a:cubicBezTo>
                  <a:cubicBezTo>
                    <a:pt x="167" y="556"/>
                    <a:pt x="167" y="556"/>
                    <a:pt x="167" y="556"/>
                  </a:cubicBezTo>
                  <a:cubicBezTo>
                    <a:pt x="167" y="556"/>
                    <a:pt x="167" y="556"/>
                    <a:pt x="167" y="556"/>
                  </a:cubicBezTo>
                  <a:cubicBezTo>
                    <a:pt x="166" y="555"/>
                    <a:pt x="166" y="555"/>
                    <a:pt x="166" y="555"/>
                  </a:cubicBezTo>
                  <a:cubicBezTo>
                    <a:pt x="159" y="550"/>
                    <a:pt x="159" y="550"/>
                    <a:pt x="159" y="550"/>
                  </a:cubicBezTo>
                  <a:cubicBezTo>
                    <a:pt x="157" y="549"/>
                    <a:pt x="157" y="549"/>
                    <a:pt x="157" y="549"/>
                  </a:cubicBezTo>
                  <a:cubicBezTo>
                    <a:pt x="153" y="547"/>
                    <a:pt x="153" y="547"/>
                    <a:pt x="153" y="547"/>
                  </a:cubicBezTo>
                  <a:lnTo>
                    <a:pt x="145" y="545"/>
                  </a:lnTo>
                  <a:close/>
                  <a:moveTo>
                    <a:pt x="180" y="575"/>
                  </a:moveTo>
                  <a:cubicBezTo>
                    <a:pt x="181" y="575"/>
                    <a:pt x="181" y="575"/>
                    <a:pt x="181" y="575"/>
                  </a:cubicBezTo>
                  <a:cubicBezTo>
                    <a:pt x="182" y="573"/>
                    <a:pt x="182" y="573"/>
                    <a:pt x="182" y="573"/>
                  </a:cubicBezTo>
                  <a:cubicBezTo>
                    <a:pt x="183" y="571"/>
                    <a:pt x="183" y="571"/>
                    <a:pt x="183" y="571"/>
                  </a:cubicBezTo>
                  <a:cubicBezTo>
                    <a:pt x="183" y="570"/>
                    <a:pt x="183" y="570"/>
                    <a:pt x="183" y="570"/>
                  </a:cubicBezTo>
                  <a:cubicBezTo>
                    <a:pt x="183" y="570"/>
                    <a:pt x="183" y="570"/>
                    <a:pt x="183" y="570"/>
                  </a:cubicBezTo>
                  <a:cubicBezTo>
                    <a:pt x="183" y="570"/>
                    <a:pt x="183" y="570"/>
                    <a:pt x="183" y="570"/>
                  </a:cubicBezTo>
                  <a:cubicBezTo>
                    <a:pt x="183" y="569"/>
                    <a:pt x="183" y="569"/>
                    <a:pt x="183" y="569"/>
                  </a:cubicBezTo>
                  <a:cubicBezTo>
                    <a:pt x="181" y="568"/>
                    <a:pt x="181" y="568"/>
                    <a:pt x="181" y="568"/>
                  </a:cubicBezTo>
                  <a:cubicBezTo>
                    <a:pt x="179" y="568"/>
                    <a:pt x="179" y="568"/>
                    <a:pt x="179" y="568"/>
                  </a:cubicBezTo>
                  <a:cubicBezTo>
                    <a:pt x="177" y="570"/>
                    <a:pt x="177" y="570"/>
                    <a:pt x="177" y="570"/>
                  </a:cubicBezTo>
                  <a:cubicBezTo>
                    <a:pt x="175" y="571"/>
                    <a:pt x="175" y="571"/>
                    <a:pt x="175" y="571"/>
                  </a:cubicBezTo>
                  <a:cubicBezTo>
                    <a:pt x="175" y="571"/>
                    <a:pt x="175" y="571"/>
                    <a:pt x="175" y="571"/>
                  </a:cubicBezTo>
                  <a:cubicBezTo>
                    <a:pt x="175" y="573"/>
                    <a:pt x="175" y="573"/>
                    <a:pt x="175" y="573"/>
                  </a:cubicBezTo>
                  <a:lnTo>
                    <a:pt x="180" y="575"/>
                  </a:lnTo>
                  <a:close/>
                  <a:moveTo>
                    <a:pt x="174" y="560"/>
                  </a:moveTo>
                  <a:cubicBezTo>
                    <a:pt x="170" y="561"/>
                    <a:pt x="170" y="561"/>
                    <a:pt x="170" y="561"/>
                  </a:cubicBezTo>
                  <a:cubicBezTo>
                    <a:pt x="169" y="562"/>
                    <a:pt x="169" y="562"/>
                    <a:pt x="169" y="562"/>
                  </a:cubicBezTo>
                  <a:cubicBezTo>
                    <a:pt x="167" y="563"/>
                    <a:pt x="167" y="563"/>
                    <a:pt x="167" y="563"/>
                  </a:cubicBezTo>
                  <a:cubicBezTo>
                    <a:pt x="167" y="565"/>
                    <a:pt x="167" y="565"/>
                    <a:pt x="167" y="565"/>
                  </a:cubicBezTo>
                  <a:cubicBezTo>
                    <a:pt x="167" y="566"/>
                    <a:pt x="167" y="566"/>
                    <a:pt x="167" y="566"/>
                  </a:cubicBezTo>
                  <a:cubicBezTo>
                    <a:pt x="167" y="566"/>
                    <a:pt x="167" y="566"/>
                    <a:pt x="167" y="566"/>
                  </a:cubicBezTo>
                  <a:cubicBezTo>
                    <a:pt x="169" y="568"/>
                    <a:pt x="169" y="568"/>
                    <a:pt x="169" y="568"/>
                  </a:cubicBezTo>
                  <a:cubicBezTo>
                    <a:pt x="171" y="567"/>
                    <a:pt x="171" y="567"/>
                    <a:pt x="171" y="567"/>
                  </a:cubicBezTo>
                  <a:cubicBezTo>
                    <a:pt x="174" y="564"/>
                    <a:pt x="174" y="564"/>
                    <a:pt x="174" y="564"/>
                  </a:cubicBezTo>
                  <a:cubicBezTo>
                    <a:pt x="175" y="563"/>
                    <a:pt x="175" y="563"/>
                    <a:pt x="175" y="563"/>
                  </a:cubicBezTo>
                  <a:cubicBezTo>
                    <a:pt x="175" y="561"/>
                    <a:pt x="175" y="561"/>
                    <a:pt x="175" y="561"/>
                  </a:cubicBezTo>
                  <a:cubicBezTo>
                    <a:pt x="175" y="561"/>
                    <a:pt x="175" y="561"/>
                    <a:pt x="175" y="561"/>
                  </a:cubicBezTo>
                  <a:cubicBezTo>
                    <a:pt x="175" y="560"/>
                    <a:pt x="175" y="560"/>
                    <a:pt x="175" y="560"/>
                  </a:cubicBezTo>
                  <a:lnTo>
                    <a:pt x="174" y="560"/>
                  </a:lnTo>
                  <a:close/>
                  <a:moveTo>
                    <a:pt x="33" y="855"/>
                  </a:moveTo>
                  <a:cubicBezTo>
                    <a:pt x="39" y="852"/>
                    <a:pt x="39" y="852"/>
                    <a:pt x="39" y="852"/>
                  </a:cubicBezTo>
                  <a:cubicBezTo>
                    <a:pt x="42" y="849"/>
                    <a:pt x="42" y="849"/>
                    <a:pt x="42" y="849"/>
                  </a:cubicBezTo>
                  <a:cubicBezTo>
                    <a:pt x="42" y="848"/>
                    <a:pt x="42" y="848"/>
                    <a:pt x="42" y="848"/>
                  </a:cubicBezTo>
                  <a:cubicBezTo>
                    <a:pt x="41" y="847"/>
                    <a:pt x="41" y="847"/>
                    <a:pt x="41" y="847"/>
                  </a:cubicBezTo>
                  <a:cubicBezTo>
                    <a:pt x="36" y="846"/>
                    <a:pt x="36" y="846"/>
                    <a:pt x="36" y="846"/>
                  </a:cubicBezTo>
                  <a:cubicBezTo>
                    <a:pt x="34" y="846"/>
                    <a:pt x="34" y="846"/>
                    <a:pt x="34" y="846"/>
                  </a:cubicBezTo>
                  <a:cubicBezTo>
                    <a:pt x="25" y="851"/>
                    <a:pt x="25" y="851"/>
                    <a:pt x="25" y="851"/>
                  </a:cubicBezTo>
                  <a:cubicBezTo>
                    <a:pt x="24" y="853"/>
                    <a:pt x="24" y="853"/>
                    <a:pt x="24" y="853"/>
                  </a:cubicBezTo>
                  <a:cubicBezTo>
                    <a:pt x="22" y="855"/>
                    <a:pt x="22" y="855"/>
                    <a:pt x="22" y="855"/>
                  </a:cubicBezTo>
                  <a:cubicBezTo>
                    <a:pt x="22" y="857"/>
                    <a:pt x="22" y="857"/>
                    <a:pt x="22" y="857"/>
                  </a:cubicBezTo>
                  <a:cubicBezTo>
                    <a:pt x="22" y="857"/>
                    <a:pt x="22" y="857"/>
                    <a:pt x="22" y="857"/>
                  </a:cubicBezTo>
                  <a:cubicBezTo>
                    <a:pt x="31" y="855"/>
                    <a:pt x="31" y="855"/>
                    <a:pt x="31" y="855"/>
                  </a:cubicBezTo>
                  <a:lnTo>
                    <a:pt x="33" y="855"/>
                  </a:lnTo>
                  <a:close/>
                  <a:moveTo>
                    <a:pt x="53" y="928"/>
                  </a:moveTo>
                  <a:cubicBezTo>
                    <a:pt x="51" y="929"/>
                    <a:pt x="51" y="929"/>
                    <a:pt x="51" y="929"/>
                  </a:cubicBezTo>
                  <a:cubicBezTo>
                    <a:pt x="48" y="931"/>
                    <a:pt x="48" y="931"/>
                    <a:pt x="48" y="931"/>
                  </a:cubicBezTo>
                  <a:cubicBezTo>
                    <a:pt x="45" y="934"/>
                    <a:pt x="45" y="934"/>
                    <a:pt x="45" y="934"/>
                  </a:cubicBezTo>
                  <a:cubicBezTo>
                    <a:pt x="45" y="935"/>
                    <a:pt x="45" y="935"/>
                    <a:pt x="45" y="935"/>
                  </a:cubicBezTo>
                  <a:cubicBezTo>
                    <a:pt x="48" y="935"/>
                    <a:pt x="48" y="935"/>
                    <a:pt x="48" y="935"/>
                  </a:cubicBezTo>
                  <a:cubicBezTo>
                    <a:pt x="49" y="934"/>
                    <a:pt x="49" y="934"/>
                    <a:pt x="49" y="934"/>
                  </a:cubicBezTo>
                  <a:cubicBezTo>
                    <a:pt x="55" y="932"/>
                    <a:pt x="55" y="932"/>
                    <a:pt x="55" y="932"/>
                  </a:cubicBezTo>
                  <a:cubicBezTo>
                    <a:pt x="57" y="930"/>
                    <a:pt x="57" y="930"/>
                    <a:pt x="57" y="930"/>
                  </a:cubicBezTo>
                  <a:cubicBezTo>
                    <a:pt x="57" y="929"/>
                    <a:pt x="57" y="929"/>
                    <a:pt x="57" y="929"/>
                  </a:cubicBezTo>
                  <a:cubicBezTo>
                    <a:pt x="58" y="929"/>
                    <a:pt x="58" y="929"/>
                    <a:pt x="58" y="929"/>
                  </a:cubicBezTo>
                  <a:cubicBezTo>
                    <a:pt x="57" y="928"/>
                    <a:pt x="57" y="928"/>
                    <a:pt x="57" y="928"/>
                  </a:cubicBezTo>
                  <a:lnTo>
                    <a:pt x="53" y="928"/>
                  </a:lnTo>
                  <a:close/>
                  <a:moveTo>
                    <a:pt x="12" y="798"/>
                  </a:moveTo>
                  <a:cubicBezTo>
                    <a:pt x="11" y="799"/>
                    <a:pt x="11" y="799"/>
                    <a:pt x="11" y="799"/>
                  </a:cubicBezTo>
                  <a:cubicBezTo>
                    <a:pt x="1" y="805"/>
                    <a:pt x="1" y="805"/>
                    <a:pt x="1" y="805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07"/>
                    <a:pt x="0" y="807"/>
                    <a:pt x="0" y="807"/>
                  </a:cubicBezTo>
                  <a:cubicBezTo>
                    <a:pt x="1" y="808"/>
                    <a:pt x="1" y="808"/>
                    <a:pt x="1" y="808"/>
                  </a:cubicBezTo>
                  <a:cubicBezTo>
                    <a:pt x="2" y="808"/>
                    <a:pt x="2" y="808"/>
                    <a:pt x="2" y="808"/>
                  </a:cubicBezTo>
                  <a:cubicBezTo>
                    <a:pt x="11" y="804"/>
                    <a:pt x="11" y="804"/>
                    <a:pt x="11" y="804"/>
                  </a:cubicBezTo>
                  <a:cubicBezTo>
                    <a:pt x="12" y="803"/>
                    <a:pt x="12" y="803"/>
                    <a:pt x="12" y="803"/>
                  </a:cubicBezTo>
                  <a:cubicBezTo>
                    <a:pt x="12" y="802"/>
                    <a:pt x="12" y="802"/>
                    <a:pt x="12" y="802"/>
                  </a:cubicBezTo>
                  <a:cubicBezTo>
                    <a:pt x="13" y="801"/>
                    <a:pt x="13" y="801"/>
                    <a:pt x="13" y="801"/>
                  </a:cubicBezTo>
                  <a:cubicBezTo>
                    <a:pt x="13" y="800"/>
                    <a:pt x="13" y="800"/>
                    <a:pt x="13" y="800"/>
                  </a:cubicBezTo>
                  <a:cubicBezTo>
                    <a:pt x="13" y="800"/>
                    <a:pt x="13" y="800"/>
                    <a:pt x="13" y="800"/>
                  </a:cubicBezTo>
                  <a:cubicBezTo>
                    <a:pt x="13" y="799"/>
                    <a:pt x="13" y="799"/>
                    <a:pt x="13" y="799"/>
                  </a:cubicBezTo>
                  <a:lnTo>
                    <a:pt x="12" y="798"/>
                  </a:lnTo>
                  <a:close/>
                  <a:moveTo>
                    <a:pt x="84" y="424"/>
                  </a:moveTo>
                  <a:cubicBezTo>
                    <a:pt x="88" y="424"/>
                    <a:pt x="88" y="424"/>
                    <a:pt x="88" y="424"/>
                  </a:cubicBezTo>
                  <a:cubicBezTo>
                    <a:pt x="90" y="422"/>
                    <a:pt x="90" y="422"/>
                    <a:pt x="90" y="422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91" y="418"/>
                    <a:pt x="91" y="418"/>
                    <a:pt x="91" y="418"/>
                  </a:cubicBezTo>
                  <a:cubicBezTo>
                    <a:pt x="91" y="418"/>
                    <a:pt x="91" y="418"/>
                    <a:pt x="91" y="418"/>
                  </a:cubicBezTo>
                  <a:cubicBezTo>
                    <a:pt x="90" y="417"/>
                    <a:pt x="90" y="417"/>
                    <a:pt x="90" y="417"/>
                  </a:cubicBezTo>
                  <a:cubicBezTo>
                    <a:pt x="90" y="417"/>
                    <a:pt x="90" y="417"/>
                    <a:pt x="90" y="417"/>
                  </a:cubicBezTo>
                  <a:cubicBezTo>
                    <a:pt x="88" y="417"/>
                    <a:pt x="88" y="417"/>
                    <a:pt x="88" y="417"/>
                  </a:cubicBezTo>
                  <a:cubicBezTo>
                    <a:pt x="80" y="417"/>
                    <a:pt x="80" y="417"/>
                    <a:pt x="80" y="417"/>
                  </a:cubicBezTo>
                  <a:cubicBezTo>
                    <a:pt x="80" y="418"/>
                    <a:pt x="80" y="418"/>
                    <a:pt x="80" y="418"/>
                  </a:cubicBezTo>
                  <a:cubicBezTo>
                    <a:pt x="79" y="418"/>
                    <a:pt x="79" y="418"/>
                    <a:pt x="79" y="418"/>
                  </a:cubicBezTo>
                  <a:cubicBezTo>
                    <a:pt x="79" y="419"/>
                    <a:pt x="79" y="419"/>
                    <a:pt x="79" y="419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79" y="421"/>
                    <a:pt x="79" y="421"/>
                    <a:pt x="79" y="421"/>
                  </a:cubicBezTo>
                  <a:cubicBezTo>
                    <a:pt x="82" y="423"/>
                    <a:pt x="82" y="423"/>
                    <a:pt x="82" y="423"/>
                  </a:cubicBezTo>
                  <a:lnTo>
                    <a:pt x="84" y="424"/>
                  </a:lnTo>
                  <a:close/>
                  <a:moveTo>
                    <a:pt x="711" y="578"/>
                  </a:moveTo>
                  <a:cubicBezTo>
                    <a:pt x="702" y="536"/>
                    <a:pt x="702" y="536"/>
                    <a:pt x="702" y="536"/>
                  </a:cubicBezTo>
                  <a:cubicBezTo>
                    <a:pt x="692" y="529"/>
                    <a:pt x="692" y="529"/>
                    <a:pt x="692" y="529"/>
                  </a:cubicBezTo>
                  <a:cubicBezTo>
                    <a:pt x="690" y="527"/>
                    <a:pt x="690" y="527"/>
                    <a:pt x="690" y="527"/>
                  </a:cubicBezTo>
                  <a:cubicBezTo>
                    <a:pt x="689" y="526"/>
                    <a:pt x="689" y="526"/>
                    <a:pt x="689" y="526"/>
                  </a:cubicBezTo>
                  <a:cubicBezTo>
                    <a:pt x="683" y="518"/>
                    <a:pt x="683" y="518"/>
                    <a:pt x="683" y="518"/>
                  </a:cubicBezTo>
                  <a:cubicBezTo>
                    <a:pt x="683" y="515"/>
                    <a:pt x="683" y="515"/>
                    <a:pt x="683" y="515"/>
                  </a:cubicBezTo>
                  <a:cubicBezTo>
                    <a:pt x="683" y="515"/>
                    <a:pt x="683" y="515"/>
                    <a:pt x="683" y="515"/>
                  </a:cubicBezTo>
                  <a:cubicBezTo>
                    <a:pt x="695" y="490"/>
                    <a:pt x="695" y="490"/>
                    <a:pt x="695" y="490"/>
                  </a:cubicBezTo>
                  <a:cubicBezTo>
                    <a:pt x="700" y="483"/>
                    <a:pt x="700" y="483"/>
                    <a:pt x="700" y="483"/>
                  </a:cubicBezTo>
                  <a:cubicBezTo>
                    <a:pt x="705" y="472"/>
                    <a:pt x="705" y="472"/>
                    <a:pt x="705" y="472"/>
                  </a:cubicBezTo>
                  <a:cubicBezTo>
                    <a:pt x="706" y="472"/>
                    <a:pt x="706" y="472"/>
                    <a:pt x="706" y="472"/>
                  </a:cubicBezTo>
                  <a:cubicBezTo>
                    <a:pt x="706" y="468"/>
                    <a:pt x="706" y="468"/>
                    <a:pt x="706" y="468"/>
                  </a:cubicBezTo>
                  <a:cubicBezTo>
                    <a:pt x="706" y="466"/>
                    <a:pt x="706" y="466"/>
                    <a:pt x="706" y="466"/>
                  </a:cubicBezTo>
                  <a:cubicBezTo>
                    <a:pt x="705" y="462"/>
                    <a:pt x="705" y="462"/>
                    <a:pt x="705" y="462"/>
                  </a:cubicBezTo>
                  <a:cubicBezTo>
                    <a:pt x="702" y="457"/>
                    <a:pt x="702" y="457"/>
                    <a:pt x="702" y="457"/>
                  </a:cubicBezTo>
                  <a:cubicBezTo>
                    <a:pt x="700" y="457"/>
                    <a:pt x="700" y="457"/>
                    <a:pt x="700" y="457"/>
                  </a:cubicBezTo>
                  <a:cubicBezTo>
                    <a:pt x="696" y="456"/>
                    <a:pt x="696" y="456"/>
                    <a:pt x="696" y="456"/>
                  </a:cubicBezTo>
                  <a:cubicBezTo>
                    <a:pt x="695" y="455"/>
                    <a:pt x="695" y="455"/>
                    <a:pt x="695" y="455"/>
                  </a:cubicBezTo>
                  <a:cubicBezTo>
                    <a:pt x="686" y="444"/>
                    <a:pt x="686" y="444"/>
                    <a:pt x="686" y="444"/>
                  </a:cubicBezTo>
                  <a:cubicBezTo>
                    <a:pt x="682" y="433"/>
                    <a:pt x="682" y="433"/>
                    <a:pt x="682" y="433"/>
                  </a:cubicBezTo>
                  <a:cubicBezTo>
                    <a:pt x="680" y="422"/>
                    <a:pt x="680" y="422"/>
                    <a:pt x="680" y="422"/>
                  </a:cubicBezTo>
                  <a:cubicBezTo>
                    <a:pt x="681" y="420"/>
                    <a:pt x="681" y="420"/>
                    <a:pt x="681" y="420"/>
                  </a:cubicBezTo>
                  <a:cubicBezTo>
                    <a:pt x="681" y="415"/>
                    <a:pt x="681" y="415"/>
                    <a:pt x="681" y="415"/>
                  </a:cubicBezTo>
                  <a:cubicBezTo>
                    <a:pt x="682" y="407"/>
                    <a:pt x="682" y="407"/>
                    <a:pt x="682" y="407"/>
                  </a:cubicBezTo>
                  <a:cubicBezTo>
                    <a:pt x="682" y="388"/>
                    <a:pt x="682" y="388"/>
                    <a:pt x="682" y="388"/>
                  </a:cubicBezTo>
                  <a:cubicBezTo>
                    <a:pt x="682" y="387"/>
                    <a:pt x="682" y="387"/>
                    <a:pt x="682" y="387"/>
                  </a:cubicBezTo>
                  <a:cubicBezTo>
                    <a:pt x="679" y="386"/>
                    <a:pt x="679" y="386"/>
                    <a:pt x="679" y="386"/>
                  </a:cubicBezTo>
                  <a:cubicBezTo>
                    <a:pt x="675" y="386"/>
                    <a:pt x="675" y="386"/>
                    <a:pt x="675" y="386"/>
                  </a:cubicBezTo>
                  <a:cubicBezTo>
                    <a:pt x="670" y="384"/>
                    <a:pt x="670" y="384"/>
                    <a:pt x="670" y="384"/>
                  </a:cubicBezTo>
                  <a:cubicBezTo>
                    <a:pt x="668" y="383"/>
                    <a:pt x="668" y="383"/>
                    <a:pt x="668" y="383"/>
                  </a:cubicBezTo>
                  <a:cubicBezTo>
                    <a:pt x="667" y="382"/>
                    <a:pt x="667" y="382"/>
                    <a:pt x="667" y="382"/>
                  </a:cubicBezTo>
                  <a:cubicBezTo>
                    <a:pt x="663" y="376"/>
                    <a:pt x="663" y="376"/>
                    <a:pt x="663" y="376"/>
                  </a:cubicBezTo>
                  <a:cubicBezTo>
                    <a:pt x="662" y="374"/>
                    <a:pt x="662" y="374"/>
                    <a:pt x="662" y="374"/>
                  </a:cubicBezTo>
                  <a:cubicBezTo>
                    <a:pt x="662" y="372"/>
                    <a:pt x="662" y="372"/>
                    <a:pt x="662" y="372"/>
                  </a:cubicBezTo>
                  <a:cubicBezTo>
                    <a:pt x="662" y="364"/>
                    <a:pt x="662" y="364"/>
                    <a:pt x="662" y="364"/>
                  </a:cubicBezTo>
                  <a:cubicBezTo>
                    <a:pt x="662" y="363"/>
                    <a:pt x="662" y="363"/>
                    <a:pt x="662" y="363"/>
                  </a:cubicBezTo>
                  <a:cubicBezTo>
                    <a:pt x="665" y="349"/>
                    <a:pt x="665" y="349"/>
                    <a:pt x="665" y="349"/>
                  </a:cubicBezTo>
                  <a:cubicBezTo>
                    <a:pt x="666" y="348"/>
                    <a:pt x="666" y="348"/>
                    <a:pt x="666" y="348"/>
                  </a:cubicBezTo>
                  <a:cubicBezTo>
                    <a:pt x="668" y="348"/>
                    <a:pt x="668" y="348"/>
                    <a:pt x="668" y="348"/>
                  </a:cubicBezTo>
                  <a:cubicBezTo>
                    <a:pt x="675" y="349"/>
                    <a:pt x="675" y="349"/>
                    <a:pt x="675" y="349"/>
                  </a:cubicBezTo>
                  <a:cubicBezTo>
                    <a:pt x="682" y="353"/>
                    <a:pt x="682" y="353"/>
                    <a:pt x="682" y="353"/>
                  </a:cubicBezTo>
                  <a:cubicBezTo>
                    <a:pt x="686" y="355"/>
                    <a:pt x="686" y="355"/>
                    <a:pt x="686" y="355"/>
                  </a:cubicBezTo>
                  <a:cubicBezTo>
                    <a:pt x="688" y="356"/>
                    <a:pt x="688" y="356"/>
                    <a:pt x="688" y="356"/>
                  </a:cubicBezTo>
                  <a:cubicBezTo>
                    <a:pt x="691" y="357"/>
                    <a:pt x="691" y="357"/>
                    <a:pt x="691" y="357"/>
                  </a:cubicBezTo>
                  <a:cubicBezTo>
                    <a:pt x="693" y="357"/>
                    <a:pt x="693" y="357"/>
                    <a:pt x="693" y="357"/>
                  </a:cubicBezTo>
                  <a:cubicBezTo>
                    <a:pt x="697" y="355"/>
                    <a:pt x="697" y="355"/>
                    <a:pt x="697" y="355"/>
                  </a:cubicBezTo>
                  <a:cubicBezTo>
                    <a:pt x="700" y="354"/>
                    <a:pt x="700" y="354"/>
                    <a:pt x="700" y="354"/>
                  </a:cubicBezTo>
                  <a:cubicBezTo>
                    <a:pt x="701" y="353"/>
                    <a:pt x="701" y="353"/>
                    <a:pt x="701" y="353"/>
                  </a:cubicBezTo>
                  <a:cubicBezTo>
                    <a:pt x="701" y="352"/>
                    <a:pt x="701" y="352"/>
                    <a:pt x="701" y="352"/>
                  </a:cubicBezTo>
                  <a:cubicBezTo>
                    <a:pt x="701" y="350"/>
                    <a:pt x="701" y="350"/>
                    <a:pt x="701" y="350"/>
                  </a:cubicBezTo>
                  <a:cubicBezTo>
                    <a:pt x="699" y="345"/>
                    <a:pt x="699" y="345"/>
                    <a:pt x="699" y="345"/>
                  </a:cubicBezTo>
                  <a:cubicBezTo>
                    <a:pt x="698" y="344"/>
                    <a:pt x="698" y="344"/>
                    <a:pt x="698" y="344"/>
                  </a:cubicBezTo>
                  <a:cubicBezTo>
                    <a:pt x="695" y="344"/>
                    <a:pt x="695" y="344"/>
                    <a:pt x="695" y="344"/>
                  </a:cubicBezTo>
                  <a:cubicBezTo>
                    <a:pt x="693" y="344"/>
                    <a:pt x="693" y="344"/>
                    <a:pt x="693" y="344"/>
                  </a:cubicBezTo>
                  <a:cubicBezTo>
                    <a:pt x="692" y="343"/>
                    <a:pt x="692" y="343"/>
                    <a:pt x="692" y="343"/>
                  </a:cubicBezTo>
                  <a:cubicBezTo>
                    <a:pt x="682" y="332"/>
                    <a:pt x="682" y="332"/>
                    <a:pt x="682" y="332"/>
                  </a:cubicBezTo>
                  <a:cubicBezTo>
                    <a:pt x="680" y="330"/>
                    <a:pt x="680" y="330"/>
                    <a:pt x="680" y="330"/>
                  </a:cubicBezTo>
                  <a:cubicBezTo>
                    <a:pt x="680" y="329"/>
                    <a:pt x="680" y="329"/>
                    <a:pt x="680" y="329"/>
                  </a:cubicBezTo>
                  <a:cubicBezTo>
                    <a:pt x="680" y="329"/>
                    <a:pt x="680" y="329"/>
                    <a:pt x="680" y="329"/>
                  </a:cubicBezTo>
                  <a:cubicBezTo>
                    <a:pt x="676" y="328"/>
                    <a:pt x="676" y="328"/>
                    <a:pt x="676" y="328"/>
                  </a:cubicBezTo>
                  <a:cubicBezTo>
                    <a:pt x="675" y="328"/>
                    <a:pt x="675" y="328"/>
                    <a:pt x="675" y="328"/>
                  </a:cubicBezTo>
                  <a:cubicBezTo>
                    <a:pt x="669" y="330"/>
                    <a:pt x="669" y="330"/>
                    <a:pt x="669" y="330"/>
                  </a:cubicBezTo>
                  <a:cubicBezTo>
                    <a:pt x="668" y="330"/>
                    <a:pt x="668" y="330"/>
                    <a:pt x="668" y="330"/>
                  </a:cubicBezTo>
                  <a:cubicBezTo>
                    <a:pt x="668" y="333"/>
                    <a:pt x="668" y="333"/>
                    <a:pt x="668" y="333"/>
                  </a:cubicBezTo>
                  <a:cubicBezTo>
                    <a:pt x="668" y="335"/>
                    <a:pt x="668" y="335"/>
                    <a:pt x="668" y="335"/>
                  </a:cubicBezTo>
                  <a:cubicBezTo>
                    <a:pt x="660" y="338"/>
                    <a:pt x="660" y="338"/>
                    <a:pt x="660" y="338"/>
                  </a:cubicBezTo>
                  <a:cubicBezTo>
                    <a:pt x="632" y="342"/>
                    <a:pt x="632" y="342"/>
                    <a:pt x="632" y="342"/>
                  </a:cubicBezTo>
                  <a:cubicBezTo>
                    <a:pt x="628" y="342"/>
                    <a:pt x="628" y="342"/>
                    <a:pt x="628" y="342"/>
                  </a:cubicBezTo>
                  <a:cubicBezTo>
                    <a:pt x="627" y="341"/>
                    <a:pt x="627" y="341"/>
                    <a:pt x="627" y="341"/>
                  </a:cubicBezTo>
                  <a:cubicBezTo>
                    <a:pt x="624" y="337"/>
                    <a:pt x="624" y="337"/>
                    <a:pt x="624" y="337"/>
                  </a:cubicBezTo>
                  <a:cubicBezTo>
                    <a:pt x="620" y="330"/>
                    <a:pt x="620" y="330"/>
                    <a:pt x="620" y="330"/>
                  </a:cubicBezTo>
                  <a:cubicBezTo>
                    <a:pt x="620" y="328"/>
                    <a:pt x="620" y="328"/>
                    <a:pt x="620" y="328"/>
                  </a:cubicBezTo>
                  <a:cubicBezTo>
                    <a:pt x="620" y="325"/>
                    <a:pt x="620" y="325"/>
                    <a:pt x="620" y="325"/>
                  </a:cubicBezTo>
                  <a:cubicBezTo>
                    <a:pt x="620" y="323"/>
                    <a:pt x="620" y="323"/>
                    <a:pt x="620" y="323"/>
                  </a:cubicBezTo>
                  <a:cubicBezTo>
                    <a:pt x="624" y="317"/>
                    <a:pt x="624" y="317"/>
                    <a:pt x="624" y="317"/>
                  </a:cubicBezTo>
                  <a:cubicBezTo>
                    <a:pt x="624" y="314"/>
                    <a:pt x="624" y="314"/>
                    <a:pt x="624" y="314"/>
                  </a:cubicBezTo>
                  <a:cubicBezTo>
                    <a:pt x="624" y="313"/>
                    <a:pt x="624" y="313"/>
                    <a:pt x="624" y="313"/>
                  </a:cubicBezTo>
                  <a:cubicBezTo>
                    <a:pt x="623" y="310"/>
                    <a:pt x="623" y="310"/>
                    <a:pt x="623" y="310"/>
                  </a:cubicBezTo>
                  <a:cubicBezTo>
                    <a:pt x="622" y="308"/>
                    <a:pt x="622" y="308"/>
                    <a:pt x="622" y="308"/>
                  </a:cubicBezTo>
                  <a:cubicBezTo>
                    <a:pt x="621" y="306"/>
                    <a:pt x="621" y="306"/>
                    <a:pt x="621" y="306"/>
                  </a:cubicBezTo>
                  <a:cubicBezTo>
                    <a:pt x="614" y="303"/>
                    <a:pt x="614" y="303"/>
                    <a:pt x="614" y="303"/>
                  </a:cubicBezTo>
                  <a:cubicBezTo>
                    <a:pt x="613" y="305"/>
                    <a:pt x="613" y="305"/>
                    <a:pt x="613" y="305"/>
                  </a:cubicBezTo>
                  <a:cubicBezTo>
                    <a:pt x="611" y="307"/>
                    <a:pt x="611" y="307"/>
                    <a:pt x="611" y="307"/>
                  </a:cubicBezTo>
                  <a:cubicBezTo>
                    <a:pt x="609" y="305"/>
                    <a:pt x="609" y="305"/>
                    <a:pt x="609" y="305"/>
                  </a:cubicBezTo>
                  <a:cubicBezTo>
                    <a:pt x="600" y="298"/>
                    <a:pt x="600" y="298"/>
                    <a:pt x="600" y="298"/>
                  </a:cubicBezTo>
                  <a:cubicBezTo>
                    <a:pt x="597" y="293"/>
                    <a:pt x="597" y="293"/>
                    <a:pt x="597" y="293"/>
                  </a:cubicBezTo>
                  <a:cubicBezTo>
                    <a:pt x="592" y="280"/>
                    <a:pt x="592" y="280"/>
                    <a:pt x="592" y="280"/>
                  </a:cubicBezTo>
                  <a:cubicBezTo>
                    <a:pt x="591" y="277"/>
                    <a:pt x="591" y="277"/>
                    <a:pt x="591" y="277"/>
                  </a:cubicBezTo>
                  <a:cubicBezTo>
                    <a:pt x="592" y="274"/>
                    <a:pt x="592" y="274"/>
                    <a:pt x="592" y="274"/>
                  </a:cubicBezTo>
                  <a:cubicBezTo>
                    <a:pt x="590" y="267"/>
                    <a:pt x="590" y="267"/>
                    <a:pt x="590" y="267"/>
                  </a:cubicBezTo>
                  <a:cubicBezTo>
                    <a:pt x="589" y="265"/>
                    <a:pt x="589" y="265"/>
                    <a:pt x="589" y="265"/>
                  </a:cubicBezTo>
                  <a:cubicBezTo>
                    <a:pt x="584" y="258"/>
                    <a:pt x="584" y="258"/>
                    <a:pt x="584" y="258"/>
                  </a:cubicBezTo>
                  <a:cubicBezTo>
                    <a:pt x="578" y="251"/>
                    <a:pt x="578" y="251"/>
                    <a:pt x="578" y="251"/>
                  </a:cubicBezTo>
                  <a:cubicBezTo>
                    <a:pt x="569" y="247"/>
                    <a:pt x="569" y="247"/>
                    <a:pt x="569" y="247"/>
                  </a:cubicBezTo>
                  <a:cubicBezTo>
                    <a:pt x="568" y="247"/>
                    <a:pt x="568" y="247"/>
                    <a:pt x="568" y="247"/>
                  </a:cubicBezTo>
                  <a:cubicBezTo>
                    <a:pt x="552" y="266"/>
                    <a:pt x="552" y="266"/>
                    <a:pt x="552" y="266"/>
                  </a:cubicBezTo>
                  <a:cubicBezTo>
                    <a:pt x="548" y="277"/>
                    <a:pt x="548" y="277"/>
                    <a:pt x="548" y="277"/>
                  </a:cubicBezTo>
                  <a:cubicBezTo>
                    <a:pt x="551" y="284"/>
                    <a:pt x="551" y="284"/>
                    <a:pt x="551" y="284"/>
                  </a:cubicBezTo>
                  <a:cubicBezTo>
                    <a:pt x="551" y="292"/>
                    <a:pt x="551" y="292"/>
                    <a:pt x="551" y="292"/>
                  </a:cubicBezTo>
                  <a:cubicBezTo>
                    <a:pt x="533" y="317"/>
                    <a:pt x="533" y="317"/>
                    <a:pt x="533" y="317"/>
                  </a:cubicBezTo>
                  <a:cubicBezTo>
                    <a:pt x="529" y="320"/>
                    <a:pt x="529" y="320"/>
                    <a:pt x="529" y="320"/>
                  </a:cubicBezTo>
                  <a:cubicBezTo>
                    <a:pt x="523" y="321"/>
                    <a:pt x="523" y="321"/>
                    <a:pt x="523" y="321"/>
                  </a:cubicBezTo>
                  <a:cubicBezTo>
                    <a:pt x="521" y="321"/>
                    <a:pt x="521" y="321"/>
                    <a:pt x="521" y="321"/>
                  </a:cubicBezTo>
                  <a:cubicBezTo>
                    <a:pt x="496" y="319"/>
                    <a:pt x="496" y="319"/>
                    <a:pt x="496" y="319"/>
                  </a:cubicBezTo>
                  <a:cubicBezTo>
                    <a:pt x="486" y="317"/>
                    <a:pt x="486" y="317"/>
                    <a:pt x="486" y="317"/>
                  </a:cubicBezTo>
                  <a:cubicBezTo>
                    <a:pt x="484" y="315"/>
                    <a:pt x="484" y="315"/>
                    <a:pt x="484" y="315"/>
                  </a:cubicBezTo>
                  <a:cubicBezTo>
                    <a:pt x="478" y="311"/>
                    <a:pt x="478" y="311"/>
                    <a:pt x="478" y="311"/>
                  </a:cubicBezTo>
                  <a:cubicBezTo>
                    <a:pt x="476" y="309"/>
                    <a:pt x="476" y="309"/>
                    <a:pt x="476" y="309"/>
                  </a:cubicBezTo>
                  <a:cubicBezTo>
                    <a:pt x="475" y="306"/>
                    <a:pt x="475" y="306"/>
                    <a:pt x="475" y="306"/>
                  </a:cubicBezTo>
                  <a:cubicBezTo>
                    <a:pt x="475" y="305"/>
                    <a:pt x="475" y="305"/>
                    <a:pt x="475" y="305"/>
                  </a:cubicBezTo>
                  <a:cubicBezTo>
                    <a:pt x="475" y="303"/>
                    <a:pt x="475" y="303"/>
                    <a:pt x="475" y="303"/>
                  </a:cubicBezTo>
                  <a:cubicBezTo>
                    <a:pt x="473" y="301"/>
                    <a:pt x="473" y="301"/>
                    <a:pt x="473" y="301"/>
                  </a:cubicBezTo>
                  <a:cubicBezTo>
                    <a:pt x="468" y="298"/>
                    <a:pt x="468" y="298"/>
                    <a:pt x="468" y="298"/>
                  </a:cubicBezTo>
                  <a:cubicBezTo>
                    <a:pt x="466" y="297"/>
                    <a:pt x="466" y="297"/>
                    <a:pt x="466" y="297"/>
                  </a:cubicBezTo>
                  <a:cubicBezTo>
                    <a:pt x="460" y="296"/>
                    <a:pt x="460" y="296"/>
                    <a:pt x="460" y="296"/>
                  </a:cubicBezTo>
                  <a:cubicBezTo>
                    <a:pt x="451" y="295"/>
                    <a:pt x="451" y="295"/>
                    <a:pt x="451" y="295"/>
                  </a:cubicBezTo>
                  <a:cubicBezTo>
                    <a:pt x="445" y="294"/>
                    <a:pt x="445" y="294"/>
                    <a:pt x="445" y="294"/>
                  </a:cubicBezTo>
                  <a:cubicBezTo>
                    <a:pt x="443" y="293"/>
                    <a:pt x="443" y="293"/>
                    <a:pt x="443" y="293"/>
                  </a:cubicBezTo>
                  <a:cubicBezTo>
                    <a:pt x="442" y="288"/>
                    <a:pt x="442" y="288"/>
                    <a:pt x="442" y="288"/>
                  </a:cubicBezTo>
                  <a:cubicBezTo>
                    <a:pt x="435" y="273"/>
                    <a:pt x="435" y="273"/>
                    <a:pt x="435" y="273"/>
                  </a:cubicBezTo>
                  <a:cubicBezTo>
                    <a:pt x="428" y="264"/>
                    <a:pt x="428" y="264"/>
                    <a:pt x="428" y="264"/>
                  </a:cubicBezTo>
                  <a:cubicBezTo>
                    <a:pt x="417" y="253"/>
                    <a:pt x="417" y="253"/>
                    <a:pt x="417" y="253"/>
                  </a:cubicBezTo>
                  <a:cubicBezTo>
                    <a:pt x="402" y="234"/>
                    <a:pt x="402" y="234"/>
                    <a:pt x="402" y="234"/>
                  </a:cubicBezTo>
                  <a:cubicBezTo>
                    <a:pt x="400" y="227"/>
                    <a:pt x="400" y="227"/>
                    <a:pt x="400" y="227"/>
                  </a:cubicBezTo>
                  <a:cubicBezTo>
                    <a:pt x="402" y="225"/>
                    <a:pt x="402" y="225"/>
                    <a:pt x="402" y="225"/>
                  </a:cubicBezTo>
                  <a:cubicBezTo>
                    <a:pt x="432" y="208"/>
                    <a:pt x="432" y="208"/>
                    <a:pt x="432" y="208"/>
                  </a:cubicBezTo>
                  <a:cubicBezTo>
                    <a:pt x="446" y="208"/>
                    <a:pt x="446" y="208"/>
                    <a:pt x="446" y="208"/>
                  </a:cubicBezTo>
                  <a:cubicBezTo>
                    <a:pt x="448" y="208"/>
                    <a:pt x="448" y="208"/>
                    <a:pt x="448" y="208"/>
                  </a:cubicBezTo>
                  <a:cubicBezTo>
                    <a:pt x="451" y="206"/>
                    <a:pt x="451" y="206"/>
                    <a:pt x="451" y="206"/>
                  </a:cubicBezTo>
                  <a:cubicBezTo>
                    <a:pt x="469" y="191"/>
                    <a:pt x="469" y="191"/>
                    <a:pt x="469" y="191"/>
                  </a:cubicBezTo>
                  <a:cubicBezTo>
                    <a:pt x="469" y="189"/>
                    <a:pt x="469" y="189"/>
                    <a:pt x="469" y="189"/>
                  </a:cubicBezTo>
                  <a:cubicBezTo>
                    <a:pt x="458" y="188"/>
                    <a:pt x="458" y="188"/>
                    <a:pt x="458" y="188"/>
                  </a:cubicBezTo>
                  <a:cubicBezTo>
                    <a:pt x="449" y="187"/>
                    <a:pt x="449" y="187"/>
                    <a:pt x="449" y="187"/>
                  </a:cubicBezTo>
                  <a:cubicBezTo>
                    <a:pt x="447" y="187"/>
                    <a:pt x="447" y="187"/>
                    <a:pt x="447" y="187"/>
                  </a:cubicBezTo>
                  <a:cubicBezTo>
                    <a:pt x="437" y="175"/>
                    <a:pt x="437" y="175"/>
                    <a:pt x="437" y="175"/>
                  </a:cubicBezTo>
                  <a:cubicBezTo>
                    <a:pt x="440" y="169"/>
                    <a:pt x="440" y="169"/>
                    <a:pt x="440" y="169"/>
                  </a:cubicBezTo>
                  <a:cubicBezTo>
                    <a:pt x="447" y="159"/>
                    <a:pt x="447" y="159"/>
                    <a:pt x="447" y="159"/>
                  </a:cubicBezTo>
                  <a:cubicBezTo>
                    <a:pt x="449" y="157"/>
                    <a:pt x="449" y="157"/>
                    <a:pt x="449" y="157"/>
                  </a:cubicBezTo>
                  <a:cubicBezTo>
                    <a:pt x="450" y="157"/>
                    <a:pt x="450" y="157"/>
                    <a:pt x="450" y="157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6" y="158"/>
                    <a:pt x="456" y="158"/>
                    <a:pt x="456" y="158"/>
                  </a:cubicBezTo>
                  <a:cubicBezTo>
                    <a:pt x="461" y="163"/>
                    <a:pt x="461" y="163"/>
                    <a:pt x="461" y="163"/>
                  </a:cubicBezTo>
                  <a:cubicBezTo>
                    <a:pt x="462" y="165"/>
                    <a:pt x="462" y="165"/>
                    <a:pt x="462" y="165"/>
                  </a:cubicBezTo>
                  <a:cubicBezTo>
                    <a:pt x="463" y="165"/>
                    <a:pt x="463" y="165"/>
                    <a:pt x="463" y="165"/>
                  </a:cubicBezTo>
                  <a:cubicBezTo>
                    <a:pt x="466" y="166"/>
                    <a:pt x="466" y="166"/>
                    <a:pt x="466" y="166"/>
                  </a:cubicBezTo>
                  <a:cubicBezTo>
                    <a:pt x="495" y="154"/>
                    <a:pt x="495" y="154"/>
                    <a:pt x="495" y="154"/>
                  </a:cubicBezTo>
                  <a:cubicBezTo>
                    <a:pt x="508" y="128"/>
                    <a:pt x="508" y="128"/>
                    <a:pt x="508" y="128"/>
                  </a:cubicBezTo>
                  <a:cubicBezTo>
                    <a:pt x="510" y="124"/>
                    <a:pt x="510" y="124"/>
                    <a:pt x="510" y="124"/>
                  </a:cubicBezTo>
                  <a:cubicBezTo>
                    <a:pt x="514" y="109"/>
                    <a:pt x="514" y="109"/>
                    <a:pt x="514" y="109"/>
                  </a:cubicBezTo>
                  <a:cubicBezTo>
                    <a:pt x="515" y="99"/>
                    <a:pt x="515" y="99"/>
                    <a:pt x="515" y="99"/>
                  </a:cubicBezTo>
                  <a:cubicBezTo>
                    <a:pt x="514" y="98"/>
                    <a:pt x="514" y="98"/>
                    <a:pt x="514" y="98"/>
                  </a:cubicBezTo>
                  <a:cubicBezTo>
                    <a:pt x="515" y="96"/>
                    <a:pt x="515" y="96"/>
                    <a:pt x="515" y="96"/>
                  </a:cubicBezTo>
                  <a:cubicBezTo>
                    <a:pt x="524" y="83"/>
                    <a:pt x="524" y="83"/>
                    <a:pt x="524" y="83"/>
                  </a:cubicBezTo>
                  <a:cubicBezTo>
                    <a:pt x="526" y="82"/>
                    <a:pt x="526" y="82"/>
                    <a:pt x="526" y="82"/>
                  </a:cubicBezTo>
                  <a:cubicBezTo>
                    <a:pt x="541" y="80"/>
                    <a:pt x="541" y="80"/>
                    <a:pt x="541" y="80"/>
                  </a:cubicBezTo>
                  <a:cubicBezTo>
                    <a:pt x="541" y="80"/>
                    <a:pt x="541" y="80"/>
                    <a:pt x="541" y="80"/>
                  </a:cubicBezTo>
                  <a:cubicBezTo>
                    <a:pt x="541" y="80"/>
                    <a:pt x="541" y="80"/>
                    <a:pt x="541" y="80"/>
                  </a:cubicBezTo>
                  <a:cubicBezTo>
                    <a:pt x="541" y="79"/>
                    <a:pt x="541" y="79"/>
                    <a:pt x="541" y="79"/>
                  </a:cubicBezTo>
                  <a:cubicBezTo>
                    <a:pt x="542" y="78"/>
                    <a:pt x="542" y="78"/>
                    <a:pt x="542" y="78"/>
                  </a:cubicBezTo>
                  <a:cubicBezTo>
                    <a:pt x="543" y="75"/>
                    <a:pt x="543" y="75"/>
                    <a:pt x="543" y="75"/>
                  </a:cubicBezTo>
                  <a:cubicBezTo>
                    <a:pt x="545" y="72"/>
                    <a:pt x="545" y="72"/>
                    <a:pt x="545" y="72"/>
                  </a:cubicBezTo>
                  <a:cubicBezTo>
                    <a:pt x="552" y="62"/>
                    <a:pt x="552" y="62"/>
                    <a:pt x="552" y="62"/>
                  </a:cubicBezTo>
                  <a:cubicBezTo>
                    <a:pt x="553" y="61"/>
                    <a:pt x="553" y="61"/>
                    <a:pt x="553" y="61"/>
                  </a:cubicBezTo>
                  <a:cubicBezTo>
                    <a:pt x="556" y="59"/>
                    <a:pt x="556" y="59"/>
                    <a:pt x="556" y="59"/>
                  </a:cubicBezTo>
                  <a:cubicBezTo>
                    <a:pt x="558" y="58"/>
                    <a:pt x="558" y="58"/>
                    <a:pt x="558" y="58"/>
                  </a:cubicBezTo>
                  <a:cubicBezTo>
                    <a:pt x="570" y="51"/>
                    <a:pt x="570" y="51"/>
                    <a:pt x="570" y="51"/>
                  </a:cubicBezTo>
                  <a:cubicBezTo>
                    <a:pt x="586" y="43"/>
                    <a:pt x="586" y="43"/>
                    <a:pt x="586" y="43"/>
                  </a:cubicBezTo>
                  <a:cubicBezTo>
                    <a:pt x="588" y="42"/>
                    <a:pt x="588" y="42"/>
                    <a:pt x="588" y="42"/>
                  </a:cubicBezTo>
                  <a:cubicBezTo>
                    <a:pt x="589" y="38"/>
                    <a:pt x="589" y="38"/>
                    <a:pt x="589" y="38"/>
                  </a:cubicBezTo>
                  <a:cubicBezTo>
                    <a:pt x="588" y="36"/>
                    <a:pt x="588" y="36"/>
                    <a:pt x="588" y="36"/>
                  </a:cubicBezTo>
                  <a:cubicBezTo>
                    <a:pt x="585" y="34"/>
                    <a:pt x="585" y="34"/>
                    <a:pt x="585" y="34"/>
                  </a:cubicBezTo>
                  <a:cubicBezTo>
                    <a:pt x="572" y="28"/>
                    <a:pt x="572" y="28"/>
                    <a:pt x="572" y="28"/>
                  </a:cubicBezTo>
                  <a:cubicBezTo>
                    <a:pt x="553" y="13"/>
                    <a:pt x="553" y="13"/>
                    <a:pt x="553" y="13"/>
                  </a:cubicBezTo>
                  <a:cubicBezTo>
                    <a:pt x="550" y="9"/>
                    <a:pt x="550" y="9"/>
                    <a:pt x="550" y="9"/>
                  </a:cubicBezTo>
                  <a:cubicBezTo>
                    <a:pt x="545" y="6"/>
                    <a:pt x="545" y="6"/>
                    <a:pt x="545" y="6"/>
                  </a:cubicBezTo>
                  <a:cubicBezTo>
                    <a:pt x="528" y="0"/>
                    <a:pt x="528" y="0"/>
                    <a:pt x="528" y="0"/>
                  </a:cubicBezTo>
                  <a:cubicBezTo>
                    <a:pt x="523" y="1"/>
                    <a:pt x="523" y="1"/>
                    <a:pt x="523" y="1"/>
                  </a:cubicBezTo>
                  <a:cubicBezTo>
                    <a:pt x="522" y="1"/>
                    <a:pt x="522" y="1"/>
                    <a:pt x="522" y="1"/>
                  </a:cubicBezTo>
                  <a:cubicBezTo>
                    <a:pt x="521" y="2"/>
                    <a:pt x="521" y="2"/>
                    <a:pt x="521" y="2"/>
                  </a:cubicBezTo>
                  <a:cubicBezTo>
                    <a:pt x="533" y="19"/>
                    <a:pt x="533" y="19"/>
                    <a:pt x="533" y="19"/>
                  </a:cubicBezTo>
                  <a:cubicBezTo>
                    <a:pt x="522" y="22"/>
                    <a:pt x="522" y="22"/>
                    <a:pt x="522" y="22"/>
                  </a:cubicBezTo>
                  <a:cubicBezTo>
                    <a:pt x="503" y="25"/>
                    <a:pt x="503" y="25"/>
                    <a:pt x="503" y="25"/>
                  </a:cubicBezTo>
                  <a:cubicBezTo>
                    <a:pt x="503" y="25"/>
                    <a:pt x="503" y="25"/>
                    <a:pt x="503" y="25"/>
                  </a:cubicBezTo>
                  <a:cubicBezTo>
                    <a:pt x="499" y="44"/>
                    <a:pt x="499" y="44"/>
                    <a:pt x="499" y="44"/>
                  </a:cubicBezTo>
                  <a:cubicBezTo>
                    <a:pt x="499" y="45"/>
                    <a:pt x="499" y="45"/>
                    <a:pt x="499" y="45"/>
                  </a:cubicBezTo>
                  <a:cubicBezTo>
                    <a:pt x="500" y="46"/>
                    <a:pt x="500" y="46"/>
                    <a:pt x="500" y="46"/>
                  </a:cubicBezTo>
                  <a:cubicBezTo>
                    <a:pt x="503" y="47"/>
                    <a:pt x="503" y="47"/>
                    <a:pt x="503" y="47"/>
                  </a:cubicBezTo>
                  <a:cubicBezTo>
                    <a:pt x="504" y="49"/>
                    <a:pt x="504" y="49"/>
                    <a:pt x="504" y="49"/>
                  </a:cubicBezTo>
                  <a:cubicBezTo>
                    <a:pt x="507" y="55"/>
                    <a:pt x="507" y="55"/>
                    <a:pt x="507" y="55"/>
                  </a:cubicBezTo>
                  <a:cubicBezTo>
                    <a:pt x="510" y="60"/>
                    <a:pt x="510" y="60"/>
                    <a:pt x="510" y="60"/>
                  </a:cubicBezTo>
                  <a:cubicBezTo>
                    <a:pt x="510" y="61"/>
                    <a:pt x="510" y="61"/>
                    <a:pt x="510" y="61"/>
                  </a:cubicBezTo>
                  <a:cubicBezTo>
                    <a:pt x="511" y="82"/>
                    <a:pt x="511" y="82"/>
                    <a:pt x="511" y="82"/>
                  </a:cubicBezTo>
                  <a:cubicBezTo>
                    <a:pt x="511" y="83"/>
                    <a:pt x="511" y="83"/>
                    <a:pt x="511" y="83"/>
                  </a:cubicBezTo>
                  <a:cubicBezTo>
                    <a:pt x="509" y="84"/>
                    <a:pt x="509" y="84"/>
                    <a:pt x="509" y="84"/>
                  </a:cubicBezTo>
                  <a:cubicBezTo>
                    <a:pt x="502" y="87"/>
                    <a:pt x="502" y="87"/>
                    <a:pt x="502" y="87"/>
                  </a:cubicBezTo>
                  <a:cubicBezTo>
                    <a:pt x="497" y="87"/>
                    <a:pt x="497" y="87"/>
                    <a:pt x="497" y="87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5" y="83"/>
                    <a:pt x="485" y="83"/>
                    <a:pt x="485" y="83"/>
                  </a:cubicBezTo>
                  <a:cubicBezTo>
                    <a:pt x="486" y="81"/>
                    <a:pt x="486" y="81"/>
                    <a:pt x="486" y="81"/>
                  </a:cubicBezTo>
                  <a:cubicBezTo>
                    <a:pt x="496" y="73"/>
                    <a:pt x="496" y="73"/>
                    <a:pt x="496" y="73"/>
                  </a:cubicBezTo>
                  <a:cubicBezTo>
                    <a:pt x="497" y="73"/>
                    <a:pt x="497" y="73"/>
                    <a:pt x="497" y="73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1" y="72"/>
                    <a:pt x="501" y="72"/>
                    <a:pt x="501" y="72"/>
                  </a:cubicBezTo>
                  <a:cubicBezTo>
                    <a:pt x="503" y="66"/>
                    <a:pt x="503" y="66"/>
                    <a:pt x="503" y="66"/>
                  </a:cubicBezTo>
                  <a:cubicBezTo>
                    <a:pt x="502" y="63"/>
                    <a:pt x="502" y="63"/>
                    <a:pt x="502" y="63"/>
                  </a:cubicBezTo>
                  <a:cubicBezTo>
                    <a:pt x="489" y="25"/>
                    <a:pt x="489" y="25"/>
                    <a:pt x="489" y="25"/>
                  </a:cubicBezTo>
                  <a:cubicBezTo>
                    <a:pt x="489" y="24"/>
                    <a:pt x="489" y="24"/>
                    <a:pt x="489" y="24"/>
                  </a:cubicBezTo>
                  <a:cubicBezTo>
                    <a:pt x="488" y="24"/>
                    <a:pt x="488" y="24"/>
                    <a:pt x="488" y="24"/>
                  </a:cubicBezTo>
                  <a:cubicBezTo>
                    <a:pt x="486" y="24"/>
                    <a:pt x="486" y="24"/>
                    <a:pt x="486" y="24"/>
                  </a:cubicBezTo>
                  <a:cubicBezTo>
                    <a:pt x="471" y="31"/>
                    <a:pt x="471" y="31"/>
                    <a:pt x="471" y="31"/>
                  </a:cubicBezTo>
                  <a:cubicBezTo>
                    <a:pt x="471" y="32"/>
                    <a:pt x="471" y="32"/>
                    <a:pt x="471" y="32"/>
                  </a:cubicBezTo>
                  <a:cubicBezTo>
                    <a:pt x="466" y="37"/>
                    <a:pt x="466" y="37"/>
                    <a:pt x="466" y="37"/>
                  </a:cubicBezTo>
                  <a:cubicBezTo>
                    <a:pt x="465" y="39"/>
                    <a:pt x="465" y="39"/>
                    <a:pt x="465" y="39"/>
                  </a:cubicBezTo>
                  <a:cubicBezTo>
                    <a:pt x="464" y="40"/>
                    <a:pt x="464" y="40"/>
                    <a:pt x="464" y="40"/>
                  </a:cubicBezTo>
                  <a:cubicBezTo>
                    <a:pt x="465" y="41"/>
                    <a:pt x="465" y="41"/>
                    <a:pt x="465" y="41"/>
                  </a:cubicBezTo>
                  <a:cubicBezTo>
                    <a:pt x="467" y="44"/>
                    <a:pt x="467" y="44"/>
                    <a:pt x="467" y="44"/>
                  </a:cubicBezTo>
                  <a:cubicBezTo>
                    <a:pt x="468" y="46"/>
                    <a:pt x="468" y="46"/>
                    <a:pt x="468" y="46"/>
                  </a:cubicBezTo>
                  <a:cubicBezTo>
                    <a:pt x="476" y="50"/>
                    <a:pt x="476" y="50"/>
                    <a:pt x="476" y="50"/>
                  </a:cubicBezTo>
                  <a:cubicBezTo>
                    <a:pt x="476" y="50"/>
                    <a:pt x="476" y="50"/>
                    <a:pt x="476" y="50"/>
                  </a:cubicBezTo>
                  <a:cubicBezTo>
                    <a:pt x="475" y="46"/>
                    <a:pt x="475" y="46"/>
                    <a:pt x="475" y="46"/>
                  </a:cubicBezTo>
                  <a:cubicBezTo>
                    <a:pt x="475" y="45"/>
                    <a:pt x="475" y="45"/>
                    <a:pt x="475" y="45"/>
                  </a:cubicBezTo>
                  <a:cubicBezTo>
                    <a:pt x="475" y="44"/>
                    <a:pt x="475" y="44"/>
                    <a:pt x="475" y="44"/>
                  </a:cubicBezTo>
                  <a:cubicBezTo>
                    <a:pt x="475" y="38"/>
                    <a:pt x="475" y="38"/>
                    <a:pt x="475" y="38"/>
                  </a:cubicBezTo>
                  <a:cubicBezTo>
                    <a:pt x="476" y="38"/>
                    <a:pt x="476" y="38"/>
                    <a:pt x="476" y="38"/>
                  </a:cubicBezTo>
                  <a:cubicBezTo>
                    <a:pt x="476" y="37"/>
                    <a:pt x="476" y="37"/>
                    <a:pt x="476" y="37"/>
                  </a:cubicBezTo>
                  <a:cubicBezTo>
                    <a:pt x="477" y="37"/>
                    <a:pt x="477" y="37"/>
                    <a:pt x="477" y="37"/>
                  </a:cubicBezTo>
                  <a:cubicBezTo>
                    <a:pt x="478" y="39"/>
                    <a:pt x="478" y="39"/>
                    <a:pt x="478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482" y="57"/>
                    <a:pt x="482" y="57"/>
                    <a:pt x="482" y="57"/>
                  </a:cubicBezTo>
                  <a:cubicBezTo>
                    <a:pt x="479" y="69"/>
                    <a:pt x="479" y="69"/>
                    <a:pt x="479" y="69"/>
                  </a:cubicBezTo>
                  <a:cubicBezTo>
                    <a:pt x="478" y="69"/>
                    <a:pt x="478" y="69"/>
                    <a:pt x="478" y="69"/>
                  </a:cubicBezTo>
                  <a:cubicBezTo>
                    <a:pt x="477" y="70"/>
                    <a:pt x="477" y="70"/>
                    <a:pt x="477" y="70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6" y="69"/>
                    <a:pt x="476" y="69"/>
                    <a:pt x="476" y="69"/>
                  </a:cubicBezTo>
                  <a:cubicBezTo>
                    <a:pt x="477" y="65"/>
                    <a:pt x="477" y="65"/>
                    <a:pt x="477" y="65"/>
                  </a:cubicBezTo>
                  <a:cubicBezTo>
                    <a:pt x="478" y="62"/>
                    <a:pt x="478" y="62"/>
                    <a:pt x="478" y="62"/>
                  </a:cubicBezTo>
                  <a:cubicBezTo>
                    <a:pt x="478" y="58"/>
                    <a:pt x="478" y="58"/>
                    <a:pt x="478" y="58"/>
                  </a:cubicBezTo>
                  <a:cubicBezTo>
                    <a:pt x="477" y="56"/>
                    <a:pt x="477" y="56"/>
                    <a:pt x="477" y="56"/>
                  </a:cubicBezTo>
                  <a:cubicBezTo>
                    <a:pt x="476" y="54"/>
                    <a:pt x="476" y="54"/>
                    <a:pt x="476" y="54"/>
                  </a:cubicBezTo>
                  <a:cubicBezTo>
                    <a:pt x="470" y="49"/>
                    <a:pt x="470" y="49"/>
                    <a:pt x="470" y="49"/>
                  </a:cubicBezTo>
                  <a:cubicBezTo>
                    <a:pt x="468" y="48"/>
                    <a:pt x="468" y="48"/>
                    <a:pt x="468" y="48"/>
                  </a:cubicBezTo>
                  <a:cubicBezTo>
                    <a:pt x="467" y="48"/>
                    <a:pt x="467" y="48"/>
                    <a:pt x="467" y="48"/>
                  </a:cubicBezTo>
                  <a:cubicBezTo>
                    <a:pt x="466" y="48"/>
                    <a:pt x="466" y="48"/>
                    <a:pt x="466" y="48"/>
                  </a:cubicBezTo>
                  <a:cubicBezTo>
                    <a:pt x="465" y="49"/>
                    <a:pt x="465" y="49"/>
                    <a:pt x="465" y="49"/>
                  </a:cubicBezTo>
                  <a:cubicBezTo>
                    <a:pt x="462" y="49"/>
                    <a:pt x="462" y="49"/>
                    <a:pt x="462" y="49"/>
                  </a:cubicBezTo>
                  <a:cubicBezTo>
                    <a:pt x="462" y="48"/>
                    <a:pt x="462" y="48"/>
                    <a:pt x="462" y="48"/>
                  </a:cubicBezTo>
                  <a:cubicBezTo>
                    <a:pt x="461" y="44"/>
                    <a:pt x="461" y="44"/>
                    <a:pt x="461" y="44"/>
                  </a:cubicBezTo>
                  <a:cubicBezTo>
                    <a:pt x="460" y="43"/>
                    <a:pt x="460" y="43"/>
                    <a:pt x="460" y="43"/>
                  </a:cubicBezTo>
                  <a:cubicBezTo>
                    <a:pt x="460" y="42"/>
                    <a:pt x="460" y="42"/>
                    <a:pt x="460" y="42"/>
                  </a:cubicBezTo>
                  <a:cubicBezTo>
                    <a:pt x="461" y="41"/>
                    <a:pt x="461" y="41"/>
                    <a:pt x="461" y="41"/>
                  </a:cubicBezTo>
                  <a:cubicBezTo>
                    <a:pt x="462" y="38"/>
                    <a:pt x="462" y="38"/>
                    <a:pt x="462" y="38"/>
                  </a:cubicBezTo>
                  <a:cubicBezTo>
                    <a:pt x="464" y="35"/>
                    <a:pt x="464" y="35"/>
                    <a:pt x="464" y="35"/>
                  </a:cubicBezTo>
                  <a:cubicBezTo>
                    <a:pt x="436" y="36"/>
                    <a:pt x="436" y="36"/>
                    <a:pt x="436" y="36"/>
                  </a:cubicBezTo>
                  <a:cubicBezTo>
                    <a:pt x="435" y="37"/>
                    <a:pt x="435" y="37"/>
                    <a:pt x="435" y="37"/>
                  </a:cubicBezTo>
                  <a:cubicBezTo>
                    <a:pt x="433" y="38"/>
                    <a:pt x="433" y="38"/>
                    <a:pt x="433" y="38"/>
                  </a:cubicBezTo>
                  <a:cubicBezTo>
                    <a:pt x="433" y="39"/>
                    <a:pt x="433" y="39"/>
                    <a:pt x="433" y="39"/>
                  </a:cubicBezTo>
                  <a:cubicBezTo>
                    <a:pt x="431" y="41"/>
                    <a:pt x="431" y="41"/>
                    <a:pt x="431" y="41"/>
                  </a:cubicBezTo>
                  <a:cubicBezTo>
                    <a:pt x="431" y="45"/>
                    <a:pt x="431" y="45"/>
                    <a:pt x="431" y="45"/>
                  </a:cubicBezTo>
                  <a:cubicBezTo>
                    <a:pt x="431" y="48"/>
                    <a:pt x="431" y="48"/>
                    <a:pt x="431" y="48"/>
                  </a:cubicBezTo>
                  <a:cubicBezTo>
                    <a:pt x="431" y="49"/>
                    <a:pt x="431" y="49"/>
                    <a:pt x="431" y="49"/>
                  </a:cubicBezTo>
                  <a:cubicBezTo>
                    <a:pt x="415" y="60"/>
                    <a:pt x="415" y="60"/>
                    <a:pt x="415" y="60"/>
                  </a:cubicBezTo>
                  <a:cubicBezTo>
                    <a:pt x="414" y="60"/>
                    <a:pt x="414" y="60"/>
                    <a:pt x="414" y="60"/>
                  </a:cubicBezTo>
                  <a:cubicBezTo>
                    <a:pt x="411" y="60"/>
                    <a:pt x="411" y="60"/>
                    <a:pt x="411" y="60"/>
                  </a:cubicBezTo>
                  <a:cubicBezTo>
                    <a:pt x="410" y="60"/>
                    <a:pt x="410" y="60"/>
                    <a:pt x="410" y="60"/>
                  </a:cubicBezTo>
                  <a:cubicBezTo>
                    <a:pt x="405" y="55"/>
                    <a:pt x="405" y="55"/>
                    <a:pt x="405" y="55"/>
                  </a:cubicBezTo>
                  <a:cubicBezTo>
                    <a:pt x="396" y="53"/>
                    <a:pt x="396" y="53"/>
                    <a:pt x="396" y="53"/>
                  </a:cubicBezTo>
                  <a:cubicBezTo>
                    <a:pt x="394" y="52"/>
                    <a:pt x="394" y="52"/>
                    <a:pt x="394" y="52"/>
                  </a:cubicBezTo>
                  <a:cubicBezTo>
                    <a:pt x="393" y="53"/>
                    <a:pt x="393" y="53"/>
                    <a:pt x="393" y="53"/>
                  </a:cubicBezTo>
                  <a:cubicBezTo>
                    <a:pt x="393" y="53"/>
                    <a:pt x="393" y="53"/>
                    <a:pt x="393" y="53"/>
                  </a:cubicBezTo>
                  <a:cubicBezTo>
                    <a:pt x="368" y="91"/>
                    <a:pt x="368" y="91"/>
                    <a:pt x="368" y="91"/>
                  </a:cubicBezTo>
                  <a:cubicBezTo>
                    <a:pt x="366" y="112"/>
                    <a:pt x="366" y="112"/>
                    <a:pt x="366" y="112"/>
                  </a:cubicBezTo>
                  <a:cubicBezTo>
                    <a:pt x="367" y="114"/>
                    <a:pt x="367" y="114"/>
                    <a:pt x="367" y="114"/>
                  </a:cubicBezTo>
                  <a:cubicBezTo>
                    <a:pt x="375" y="119"/>
                    <a:pt x="375" y="119"/>
                    <a:pt x="375" y="119"/>
                  </a:cubicBezTo>
                  <a:cubicBezTo>
                    <a:pt x="376" y="119"/>
                    <a:pt x="376" y="119"/>
                    <a:pt x="376" y="119"/>
                  </a:cubicBezTo>
                  <a:cubicBezTo>
                    <a:pt x="377" y="119"/>
                    <a:pt x="377" y="119"/>
                    <a:pt x="377" y="119"/>
                  </a:cubicBezTo>
                  <a:cubicBezTo>
                    <a:pt x="377" y="117"/>
                    <a:pt x="377" y="117"/>
                    <a:pt x="377" y="117"/>
                  </a:cubicBezTo>
                  <a:cubicBezTo>
                    <a:pt x="377" y="117"/>
                    <a:pt x="377" y="117"/>
                    <a:pt x="377" y="117"/>
                  </a:cubicBezTo>
                  <a:cubicBezTo>
                    <a:pt x="377" y="116"/>
                    <a:pt x="377" y="116"/>
                    <a:pt x="377" y="116"/>
                  </a:cubicBezTo>
                  <a:cubicBezTo>
                    <a:pt x="377" y="116"/>
                    <a:pt x="377" y="116"/>
                    <a:pt x="377" y="116"/>
                  </a:cubicBezTo>
                  <a:cubicBezTo>
                    <a:pt x="381" y="116"/>
                    <a:pt x="381" y="116"/>
                    <a:pt x="381" y="116"/>
                  </a:cubicBezTo>
                  <a:cubicBezTo>
                    <a:pt x="382" y="117"/>
                    <a:pt x="382" y="117"/>
                    <a:pt x="382" y="117"/>
                  </a:cubicBezTo>
                  <a:cubicBezTo>
                    <a:pt x="387" y="120"/>
                    <a:pt x="387" y="120"/>
                    <a:pt x="387" y="120"/>
                  </a:cubicBezTo>
                  <a:cubicBezTo>
                    <a:pt x="387" y="120"/>
                    <a:pt x="387" y="120"/>
                    <a:pt x="387" y="120"/>
                  </a:cubicBezTo>
                  <a:cubicBezTo>
                    <a:pt x="384" y="131"/>
                    <a:pt x="384" y="131"/>
                    <a:pt x="384" y="131"/>
                  </a:cubicBezTo>
                  <a:cubicBezTo>
                    <a:pt x="384" y="131"/>
                    <a:pt x="384" y="131"/>
                    <a:pt x="384" y="131"/>
                  </a:cubicBezTo>
                  <a:cubicBezTo>
                    <a:pt x="382" y="132"/>
                    <a:pt x="382" y="132"/>
                    <a:pt x="382" y="132"/>
                  </a:cubicBezTo>
                  <a:cubicBezTo>
                    <a:pt x="375" y="130"/>
                    <a:pt x="375" y="130"/>
                    <a:pt x="375" y="130"/>
                  </a:cubicBezTo>
                  <a:cubicBezTo>
                    <a:pt x="374" y="130"/>
                    <a:pt x="374" y="130"/>
                    <a:pt x="374" y="130"/>
                  </a:cubicBezTo>
                  <a:cubicBezTo>
                    <a:pt x="354" y="134"/>
                    <a:pt x="354" y="134"/>
                    <a:pt x="354" y="134"/>
                  </a:cubicBezTo>
                  <a:cubicBezTo>
                    <a:pt x="354" y="134"/>
                    <a:pt x="354" y="134"/>
                    <a:pt x="354" y="134"/>
                  </a:cubicBezTo>
                  <a:cubicBezTo>
                    <a:pt x="364" y="142"/>
                    <a:pt x="364" y="142"/>
                    <a:pt x="364" y="142"/>
                  </a:cubicBezTo>
                  <a:cubicBezTo>
                    <a:pt x="370" y="148"/>
                    <a:pt x="370" y="148"/>
                    <a:pt x="370" y="148"/>
                  </a:cubicBezTo>
                  <a:cubicBezTo>
                    <a:pt x="371" y="149"/>
                    <a:pt x="371" y="149"/>
                    <a:pt x="371" y="149"/>
                  </a:cubicBezTo>
                  <a:cubicBezTo>
                    <a:pt x="371" y="150"/>
                    <a:pt x="371" y="150"/>
                    <a:pt x="371" y="150"/>
                  </a:cubicBezTo>
                  <a:cubicBezTo>
                    <a:pt x="364" y="152"/>
                    <a:pt x="364" y="152"/>
                    <a:pt x="364" y="152"/>
                  </a:cubicBezTo>
                  <a:cubicBezTo>
                    <a:pt x="355" y="151"/>
                    <a:pt x="355" y="151"/>
                    <a:pt x="355" y="151"/>
                  </a:cubicBezTo>
                  <a:cubicBezTo>
                    <a:pt x="355" y="150"/>
                    <a:pt x="355" y="150"/>
                    <a:pt x="355" y="150"/>
                  </a:cubicBezTo>
                  <a:cubicBezTo>
                    <a:pt x="354" y="148"/>
                    <a:pt x="354" y="148"/>
                    <a:pt x="354" y="148"/>
                  </a:cubicBezTo>
                  <a:cubicBezTo>
                    <a:pt x="353" y="148"/>
                    <a:pt x="353" y="148"/>
                    <a:pt x="353" y="148"/>
                  </a:cubicBezTo>
                  <a:cubicBezTo>
                    <a:pt x="342" y="146"/>
                    <a:pt x="342" y="146"/>
                    <a:pt x="342" y="146"/>
                  </a:cubicBezTo>
                  <a:cubicBezTo>
                    <a:pt x="338" y="146"/>
                    <a:pt x="338" y="146"/>
                    <a:pt x="338" y="146"/>
                  </a:cubicBezTo>
                  <a:cubicBezTo>
                    <a:pt x="333" y="146"/>
                    <a:pt x="333" y="146"/>
                    <a:pt x="333" y="146"/>
                  </a:cubicBezTo>
                  <a:cubicBezTo>
                    <a:pt x="313" y="161"/>
                    <a:pt x="313" y="161"/>
                    <a:pt x="313" y="161"/>
                  </a:cubicBezTo>
                  <a:cubicBezTo>
                    <a:pt x="312" y="163"/>
                    <a:pt x="312" y="163"/>
                    <a:pt x="312" y="163"/>
                  </a:cubicBezTo>
                  <a:cubicBezTo>
                    <a:pt x="311" y="164"/>
                    <a:pt x="311" y="164"/>
                    <a:pt x="311" y="164"/>
                  </a:cubicBezTo>
                  <a:cubicBezTo>
                    <a:pt x="313" y="171"/>
                    <a:pt x="313" y="171"/>
                    <a:pt x="313" y="171"/>
                  </a:cubicBezTo>
                  <a:cubicBezTo>
                    <a:pt x="315" y="174"/>
                    <a:pt x="315" y="174"/>
                    <a:pt x="315" y="174"/>
                  </a:cubicBezTo>
                  <a:cubicBezTo>
                    <a:pt x="317" y="175"/>
                    <a:pt x="317" y="175"/>
                    <a:pt x="317" y="175"/>
                  </a:cubicBezTo>
                  <a:cubicBezTo>
                    <a:pt x="319" y="177"/>
                    <a:pt x="319" y="177"/>
                    <a:pt x="319" y="177"/>
                  </a:cubicBezTo>
                  <a:cubicBezTo>
                    <a:pt x="328" y="181"/>
                    <a:pt x="328" y="181"/>
                    <a:pt x="328" y="181"/>
                  </a:cubicBezTo>
                  <a:cubicBezTo>
                    <a:pt x="334" y="184"/>
                    <a:pt x="334" y="184"/>
                    <a:pt x="334" y="184"/>
                  </a:cubicBezTo>
                  <a:cubicBezTo>
                    <a:pt x="339" y="186"/>
                    <a:pt x="339" y="186"/>
                    <a:pt x="339" y="186"/>
                  </a:cubicBezTo>
                  <a:cubicBezTo>
                    <a:pt x="343" y="187"/>
                    <a:pt x="343" y="187"/>
                    <a:pt x="343" y="187"/>
                  </a:cubicBezTo>
                  <a:cubicBezTo>
                    <a:pt x="371" y="184"/>
                    <a:pt x="371" y="184"/>
                    <a:pt x="371" y="184"/>
                  </a:cubicBezTo>
                  <a:cubicBezTo>
                    <a:pt x="387" y="181"/>
                    <a:pt x="387" y="181"/>
                    <a:pt x="387" y="181"/>
                  </a:cubicBezTo>
                  <a:cubicBezTo>
                    <a:pt x="404" y="183"/>
                    <a:pt x="404" y="183"/>
                    <a:pt x="404" y="183"/>
                  </a:cubicBezTo>
                  <a:cubicBezTo>
                    <a:pt x="405" y="192"/>
                    <a:pt x="405" y="192"/>
                    <a:pt x="405" y="192"/>
                  </a:cubicBezTo>
                  <a:cubicBezTo>
                    <a:pt x="387" y="221"/>
                    <a:pt x="387" y="221"/>
                    <a:pt x="387" y="221"/>
                  </a:cubicBezTo>
                  <a:cubicBezTo>
                    <a:pt x="386" y="222"/>
                    <a:pt x="386" y="222"/>
                    <a:pt x="386" y="222"/>
                  </a:cubicBezTo>
                  <a:cubicBezTo>
                    <a:pt x="372" y="225"/>
                    <a:pt x="372" y="225"/>
                    <a:pt x="372" y="225"/>
                  </a:cubicBezTo>
                  <a:cubicBezTo>
                    <a:pt x="357" y="231"/>
                    <a:pt x="357" y="231"/>
                    <a:pt x="357" y="231"/>
                  </a:cubicBezTo>
                  <a:cubicBezTo>
                    <a:pt x="340" y="245"/>
                    <a:pt x="340" y="245"/>
                    <a:pt x="340" y="245"/>
                  </a:cubicBezTo>
                  <a:cubicBezTo>
                    <a:pt x="333" y="258"/>
                    <a:pt x="333" y="258"/>
                    <a:pt x="333" y="258"/>
                  </a:cubicBezTo>
                  <a:cubicBezTo>
                    <a:pt x="334" y="256"/>
                    <a:pt x="334" y="256"/>
                    <a:pt x="334" y="256"/>
                  </a:cubicBezTo>
                  <a:cubicBezTo>
                    <a:pt x="335" y="256"/>
                    <a:pt x="335" y="256"/>
                    <a:pt x="335" y="256"/>
                  </a:cubicBezTo>
                  <a:cubicBezTo>
                    <a:pt x="340" y="255"/>
                    <a:pt x="340" y="255"/>
                    <a:pt x="340" y="255"/>
                  </a:cubicBezTo>
                  <a:cubicBezTo>
                    <a:pt x="341" y="255"/>
                    <a:pt x="341" y="255"/>
                    <a:pt x="341" y="255"/>
                  </a:cubicBezTo>
                  <a:cubicBezTo>
                    <a:pt x="346" y="256"/>
                    <a:pt x="346" y="256"/>
                    <a:pt x="346" y="256"/>
                  </a:cubicBezTo>
                  <a:cubicBezTo>
                    <a:pt x="347" y="256"/>
                    <a:pt x="347" y="256"/>
                    <a:pt x="347" y="256"/>
                  </a:cubicBezTo>
                  <a:cubicBezTo>
                    <a:pt x="351" y="259"/>
                    <a:pt x="351" y="259"/>
                    <a:pt x="351" y="259"/>
                  </a:cubicBezTo>
                  <a:cubicBezTo>
                    <a:pt x="351" y="260"/>
                    <a:pt x="351" y="260"/>
                    <a:pt x="351" y="260"/>
                  </a:cubicBezTo>
                  <a:cubicBezTo>
                    <a:pt x="355" y="271"/>
                    <a:pt x="355" y="271"/>
                    <a:pt x="355" y="271"/>
                  </a:cubicBezTo>
                  <a:cubicBezTo>
                    <a:pt x="348" y="288"/>
                    <a:pt x="348" y="288"/>
                    <a:pt x="348" y="288"/>
                  </a:cubicBezTo>
                  <a:cubicBezTo>
                    <a:pt x="348" y="289"/>
                    <a:pt x="348" y="289"/>
                    <a:pt x="348" y="289"/>
                  </a:cubicBezTo>
                  <a:cubicBezTo>
                    <a:pt x="346" y="289"/>
                    <a:pt x="346" y="289"/>
                    <a:pt x="346" y="289"/>
                  </a:cubicBezTo>
                  <a:cubicBezTo>
                    <a:pt x="341" y="287"/>
                    <a:pt x="341" y="287"/>
                    <a:pt x="341" y="287"/>
                  </a:cubicBezTo>
                  <a:cubicBezTo>
                    <a:pt x="337" y="286"/>
                    <a:pt x="337" y="286"/>
                    <a:pt x="337" y="286"/>
                  </a:cubicBezTo>
                  <a:cubicBezTo>
                    <a:pt x="332" y="282"/>
                    <a:pt x="332" y="282"/>
                    <a:pt x="332" y="282"/>
                  </a:cubicBezTo>
                  <a:cubicBezTo>
                    <a:pt x="329" y="275"/>
                    <a:pt x="329" y="275"/>
                    <a:pt x="329" y="275"/>
                  </a:cubicBezTo>
                  <a:cubicBezTo>
                    <a:pt x="300" y="274"/>
                    <a:pt x="300" y="274"/>
                    <a:pt x="300" y="274"/>
                  </a:cubicBezTo>
                  <a:cubicBezTo>
                    <a:pt x="294" y="271"/>
                    <a:pt x="294" y="271"/>
                    <a:pt x="294" y="271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86" y="264"/>
                    <a:pt x="286" y="264"/>
                    <a:pt x="286" y="264"/>
                  </a:cubicBezTo>
                  <a:cubicBezTo>
                    <a:pt x="279" y="264"/>
                    <a:pt x="279" y="264"/>
                    <a:pt x="279" y="264"/>
                  </a:cubicBezTo>
                  <a:cubicBezTo>
                    <a:pt x="270" y="264"/>
                    <a:pt x="270" y="264"/>
                    <a:pt x="270" y="264"/>
                  </a:cubicBezTo>
                  <a:cubicBezTo>
                    <a:pt x="269" y="265"/>
                    <a:pt x="269" y="265"/>
                    <a:pt x="269" y="265"/>
                  </a:cubicBezTo>
                  <a:cubicBezTo>
                    <a:pt x="268" y="266"/>
                    <a:pt x="268" y="266"/>
                    <a:pt x="268" y="266"/>
                  </a:cubicBezTo>
                  <a:cubicBezTo>
                    <a:pt x="268" y="268"/>
                    <a:pt x="268" y="268"/>
                    <a:pt x="268" y="268"/>
                  </a:cubicBezTo>
                  <a:cubicBezTo>
                    <a:pt x="266" y="273"/>
                    <a:pt x="266" y="273"/>
                    <a:pt x="266" y="273"/>
                  </a:cubicBezTo>
                  <a:cubicBezTo>
                    <a:pt x="258" y="291"/>
                    <a:pt x="258" y="291"/>
                    <a:pt x="258" y="291"/>
                  </a:cubicBezTo>
                  <a:cubicBezTo>
                    <a:pt x="257" y="292"/>
                    <a:pt x="257" y="292"/>
                    <a:pt x="257" y="292"/>
                  </a:cubicBezTo>
                  <a:cubicBezTo>
                    <a:pt x="256" y="292"/>
                    <a:pt x="256" y="292"/>
                    <a:pt x="256" y="292"/>
                  </a:cubicBezTo>
                  <a:cubicBezTo>
                    <a:pt x="255" y="292"/>
                    <a:pt x="255" y="292"/>
                    <a:pt x="255" y="292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53" y="290"/>
                    <a:pt x="253" y="290"/>
                    <a:pt x="253" y="290"/>
                  </a:cubicBezTo>
                  <a:cubicBezTo>
                    <a:pt x="250" y="285"/>
                    <a:pt x="250" y="285"/>
                    <a:pt x="250" y="285"/>
                  </a:cubicBezTo>
                  <a:cubicBezTo>
                    <a:pt x="246" y="278"/>
                    <a:pt x="246" y="278"/>
                    <a:pt x="246" y="278"/>
                  </a:cubicBezTo>
                  <a:cubicBezTo>
                    <a:pt x="247" y="273"/>
                    <a:pt x="247" y="273"/>
                    <a:pt x="247" y="273"/>
                  </a:cubicBezTo>
                  <a:cubicBezTo>
                    <a:pt x="247" y="266"/>
                    <a:pt x="247" y="266"/>
                    <a:pt x="247" y="266"/>
                  </a:cubicBezTo>
                  <a:cubicBezTo>
                    <a:pt x="246" y="265"/>
                    <a:pt x="246" y="265"/>
                    <a:pt x="246" y="265"/>
                  </a:cubicBezTo>
                  <a:cubicBezTo>
                    <a:pt x="246" y="265"/>
                    <a:pt x="246" y="265"/>
                    <a:pt x="246" y="265"/>
                  </a:cubicBezTo>
                  <a:cubicBezTo>
                    <a:pt x="238" y="258"/>
                    <a:pt x="238" y="258"/>
                    <a:pt x="238" y="258"/>
                  </a:cubicBezTo>
                  <a:cubicBezTo>
                    <a:pt x="228" y="253"/>
                    <a:pt x="228" y="253"/>
                    <a:pt x="228" y="253"/>
                  </a:cubicBezTo>
                  <a:cubicBezTo>
                    <a:pt x="206" y="253"/>
                    <a:pt x="206" y="253"/>
                    <a:pt x="206" y="253"/>
                  </a:cubicBezTo>
                  <a:cubicBezTo>
                    <a:pt x="183" y="250"/>
                    <a:pt x="183" y="250"/>
                    <a:pt x="183" y="250"/>
                  </a:cubicBezTo>
                  <a:cubicBezTo>
                    <a:pt x="160" y="244"/>
                    <a:pt x="160" y="244"/>
                    <a:pt x="160" y="244"/>
                  </a:cubicBezTo>
                  <a:cubicBezTo>
                    <a:pt x="156" y="245"/>
                    <a:pt x="156" y="245"/>
                    <a:pt x="156" y="245"/>
                  </a:cubicBezTo>
                  <a:cubicBezTo>
                    <a:pt x="152" y="248"/>
                    <a:pt x="152" y="248"/>
                    <a:pt x="152" y="248"/>
                  </a:cubicBezTo>
                  <a:cubicBezTo>
                    <a:pt x="151" y="249"/>
                    <a:pt x="151" y="249"/>
                    <a:pt x="151" y="249"/>
                  </a:cubicBezTo>
                  <a:cubicBezTo>
                    <a:pt x="150" y="250"/>
                    <a:pt x="150" y="250"/>
                    <a:pt x="150" y="250"/>
                  </a:cubicBezTo>
                  <a:cubicBezTo>
                    <a:pt x="149" y="251"/>
                    <a:pt x="149" y="251"/>
                    <a:pt x="149" y="251"/>
                  </a:cubicBezTo>
                  <a:cubicBezTo>
                    <a:pt x="149" y="252"/>
                    <a:pt x="149" y="252"/>
                    <a:pt x="149" y="252"/>
                  </a:cubicBezTo>
                  <a:cubicBezTo>
                    <a:pt x="149" y="253"/>
                    <a:pt x="149" y="253"/>
                    <a:pt x="149" y="253"/>
                  </a:cubicBezTo>
                  <a:cubicBezTo>
                    <a:pt x="149" y="262"/>
                    <a:pt x="149" y="262"/>
                    <a:pt x="149" y="262"/>
                  </a:cubicBezTo>
                  <a:cubicBezTo>
                    <a:pt x="147" y="271"/>
                    <a:pt x="147" y="271"/>
                    <a:pt x="147" y="271"/>
                  </a:cubicBezTo>
                  <a:cubicBezTo>
                    <a:pt x="145" y="275"/>
                    <a:pt x="145" y="275"/>
                    <a:pt x="145" y="275"/>
                  </a:cubicBezTo>
                  <a:cubicBezTo>
                    <a:pt x="143" y="276"/>
                    <a:pt x="143" y="276"/>
                    <a:pt x="143" y="276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4" y="274"/>
                    <a:pt x="134" y="274"/>
                    <a:pt x="134" y="274"/>
                  </a:cubicBezTo>
                  <a:cubicBezTo>
                    <a:pt x="133" y="274"/>
                    <a:pt x="133" y="274"/>
                    <a:pt x="133" y="274"/>
                  </a:cubicBezTo>
                  <a:cubicBezTo>
                    <a:pt x="132" y="273"/>
                    <a:pt x="132" y="273"/>
                    <a:pt x="132" y="273"/>
                  </a:cubicBezTo>
                  <a:cubicBezTo>
                    <a:pt x="132" y="272"/>
                    <a:pt x="132" y="272"/>
                    <a:pt x="132" y="272"/>
                  </a:cubicBezTo>
                  <a:cubicBezTo>
                    <a:pt x="131" y="267"/>
                    <a:pt x="131" y="267"/>
                    <a:pt x="131" y="267"/>
                  </a:cubicBezTo>
                  <a:cubicBezTo>
                    <a:pt x="132" y="267"/>
                    <a:pt x="132" y="267"/>
                    <a:pt x="132" y="267"/>
                  </a:cubicBezTo>
                  <a:cubicBezTo>
                    <a:pt x="133" y="267"/>
                    <a:pt x="133" y="267"/>
                    <a:pt x="133" y="267"/>
                  </a:cubicBezTo>
                  <a:cubicBezTo>
                    <a:pt x="133" y="268"/>
                    <a:pt x="133" y="268"/>
                    <a:pt x="133" y="268"/>
                  </a:cubicBezTo>
                  <a:cubicBezTo>
                    <a:pt x="134" y="269"/>
                    <a:pt x="134" y="269"/>
                    <a:pt x="134" y="269"/>
                  </a:cubicBezTo>
                  <a:cubicBezTo>
                    <a:pt x="135" y="272"/>
                    <a:pt x="135" y="272"/>
                    <a:pt x="135" y="272"/>
                  </a:cubicBezTo>
                  <a:cubicBezTo>
                    <a:pt x="136" y="272"/>
                    <a:pt x="136" y="272"/>
                    <a:pt x="136" y="272"/>
                  </a:cubicBezTo>
                  <a:cubicBezTo>
                    <a:pt x="137" y="272"/>
                    <a:pt x="137" y="272"/>
                    <a:pt x="137" y="272"/>
                  </a:cubicBezTo>
                  <a:cubicBezTo>
                    <a:pt x="140" y="271"/>
                    <a:pt x="140" y="271"/>
                    <a:pt x="140" y="271"/>
                  </a:cubicBezTo>
                  <a:cubicBezTo>
                    <a:pt x="143" y="269"/>
                    <a:pt x="143" y="269"/>
                    <a:pt x="143" y="269"/>
                  </a:cubicBezTo>
                  <a:cubicBezTo>
                    <a:pt x="143" y="268"/>
                    <a:pt x="143" y="268"/>
                    <a:pt x="143" y="268"/>
                  </a:cubicBezTo>
                  <a:cubicBezTo>
                    <a:pt x="144" y="267"/>
                    <a:pt x="144" y="267"/>
                    <a:pt x="144" y="267"/>
                  </a:cubicBezTo>
                  <a:cubicBezTo>
                    <a:pt x="144" y="265"/>
                    <a:pt x="144" y="265"/>
                    <a:pt x="144" y="265"/>
                  </a:cubicBezTo>
                  <a:cubicBezTo>
                    <a:pt x="144" y="264"/>
                    <a:pt x="144" y="264"/>
                    <a:pt x="144" y="264"/>
                  </a:cubicBezTo>
                  <a:cubicBezTo>
                    <a:pt x="143" y="264"/>
                    <a:pt x="143" y="264"/>
                    <a:pt x="143" y="264"/>
                  </a:cubicBezTo>
                  <a:cubicBezTo>
                    <a:pt x="130" y="251"/>
                    <a:pt x="130" y="251"/>
                    <a:pt x="130" y="251"/>
                  </a:cubicBezTo>
                  <a:cubicBezTo>
                    <a:pt x="129" y="251"/>
                    <a:pt x="129" y="251"/>
                    <a:pt x="129" y="251"/>
                  </a:cubicBezTo>
                  <a:cubicBezTo>
                    <a:pt x="120" y="258"/>
                    <a:pt x="120" y="258"/>
                    <a:pt x="120" y="258"/>
                  </a:cubicBezTo>
                  <a:cubicBezTo>
                    <a:pt x="117" y="261"/>
                    <a:pt x="117" y="261"/>
                    <a:pt x="117" y="261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12" y="268"/>
                    <a:pt x="112" y="268"/>
                    <a:pt x="112" y="268"/>
                  </a:cubicBezTo>
                  <a:cubicBezTo>
                    <a:pt x="108" y="296"/>
                    <a:pt x="108" y="296"/>
                    <a:pt x="108" y="296"/>
                  </a:cubicBezTo>
                  <a:cubicBezTo>
                    <a:pt x="108" y="297"/>
                    <a:pt x="108" y="297"/>
                    <a:pt x="108" y="297"/>
                  </a:cubicBezTo>
                  <a:cubicBezTo>
                    <a:pt x="108" y="300"/>
                    <a:pt x="108" y="300"/>
                    <a:pt x="108" y="300"/>
                  </a:cubicBezTo>
                  <a:cubicBezTo>
                    <a:pt x="108" y="301"/>
                    <a:pt x="108" y="301"/>
                    <a:pt x="108" y="301"/>
                  </a:cubicBezTo>
                  <a:cubicBezTo>
                    <a:pt x="109" y="303"/>
                    <a:pt x="109" y="303"/>
                    <a:pt x="109" y="303"/>
                  </a:cubicBezTo>
                  <a:cubicBezTo>
                    <a:pt x="112" y="304"/>
                    <a:pt x="112" y="304"/>
                    <a:pt x="112" y="304"/>
                  </a:cubicBezTo>
                  <a:cubicBezTo>
                    <a:pt x="115" y="304"/>
                    <a:pt x="115" y="304"/>
                    <a:pt x="115" y="304"/>
                  </a:cubicBezTo>
                  <a:cubicBezTo>
                    <a:pt x="116" y="304"/>
                    <a:pt x="116" y="304"/>
                    <a:pt x="116" y="304"/>
                  </a:cubicBezTo>
                  <a:cubicBezTo>
                    <a:pt x="117" y="303"/>
                    <a:pt x="117" y="303"/>
                    <a:pt x="117" y="303"/>
                  </a:cubicBezTo>
                  <a:cubicBezTo>
                    <a:pt x="117" y="302"/>
                    <a:pt x="117" y="302"/>
                    <a:pt x="117" y="302"/>
                  </a:cubicBezTo>
                  <a:cubicBezTo>
                    <a:pt x="116" y="300"/>
                    <a:pt x="116" y="300"/>
                    <a:pt x="116" y="300"/>
                  </a:cubicBezTo>
                  <a:cubicBezTo>
                    <a:pt x="116" y="299"/>
                    <a:pt x="116" y="299"/>
                    <a:pt x="116" y="299"/>
                  </a:cubicBezTo>
                  <a:cubicBezTo>
                    <a:pt x="116" y="299"/>
                    <a:pt x="116" y="299"/>
                    <a:pt x="116" y="299"/>
                  </a:cubicBezTo>
                  <a:cubicBezTo>
                    <a:pt x="115" y="288"/>
                    <a:pt x="115" y="288"/>
                    <a:pt x="115" y="288"/>
                  </a:cubicBezTo>
                  <a:cubicBezTo>
                    <a:pt x="115" y="287"/>
                    <a:pt x="115" y="287"/>
                    <a:pt x="115" y="287"/>
                  </a:cubicBezTo>
                  <a:cubicBezTo>
                    <a:pt x="126" y="272"/>
                    <a:pt x="126" y="272"/>
                    <a:pt x="126" y="272"/>
                  </a:cubicBezTo>
                  <a:cubicBezTo>
                    <a:pt x="127" y="271"/>
                    <a:pt x="127" y="271"/>
                    <a:pt x="127" y="271"/>
                  </a:cubicBezTo>
                  <a:cubicBezTo>
                    <a:pt x="128" y="272"/>
                    <a:pt x="128" y="272"/>
                    <a:pt x="128" y="272"/>
                  </a:cubicBezTo>
                  <a:cubicBezTo>
                    <a:pt x="128" y="272"/>
                    <a:pt x="128" y="272"/>
                    <a:pt x="128" y="272"/>
                  </a:cubicBezTo>
                  <a:cubicBezTo>
                    <a:pt x="137" y="280"/>
                    <a:pt x="137" y="280"/>
                    <a:pt x="137" y="280"/>
                  </a:cubicBezTo>
                  <a:cubicBezTo>
                    <a:pt x="138" y="281"/>
                    <a:pt x="138" y="281"/>
                    <a:pt x="138" y="281"/>
                  </a:cubicBezTo>
                  <a:cubicBezTo>
                    <a:pt x="139" y="324"/>
                    <a:pt x="139" y="324"/>
                    <a:pt x="139" y="324"/>
                  </a:cubicBezTo>
                  <a:cubicBezTo>
                    <a:pt x="139" y="340"/>
                    <a:pt x="139" y="340"/>
                    <a:pt x="139" y="340"/>
                  </a:cubicBezTo>
                  <a:cubicBezTo>
                    <a:pt x="138" y="340"/>
                    <a:pt x="138" y="340"/>
                    <a:pt x="138" y="340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137" y="341"/>
                    <a:pt x="137" y="341"/>
                    <a:pt x="137" y="341"/>
                  </a:cubicBezTo>
                  <a:cubicBezTo>
                    <a:pt x="131" y="361"/>
                    <a:pt x="131" y="361"/>
                    <a:pt x="131" y="361"/>
                  </a:cubicBezTo>
                  <a:cubicBezTo>
                    <a:pt x="131" y="361"/>
                    <a:pt x="131" y="361"/>
                    <a:pt x="131" y="361"/>
                  </a:cubicBezTo>
                  <a:cubicBezTo>
                    <a:pt x="132" y="362"/>
                    <a:pt x="132" y="362"/>
                    <a:pt x="132" y="362"/>
                  </a:cubicBezTo>
                  <a:cubicBezTo>
                    <a:pt x="136" y="364"/>
                    <a:pt x="136" y="364"/>
                    <a:pt x="136" y="364"/>
                  </a:cubicBezTo>
                  <a:cubicBezTo>
                    <a:pt x="138" y="364"/>
                    <a:pt x="138" y="364"/>
                    <a:pt x="138" y="364"/>
                  </a:cubicBezTo>
                  <a:cubicBezTo>
                    <a:pt x="146" y="362"/>
                    <a:pt x="146" y="362"/>
                    <a:pt x="146" y="362"/>
                  </a:cubicBezTo>
                  <a:cubicBezTo>
                    <a:pt x="149" y="361"/>
                    <a:pt x="149" y="361"/>
                    <a:pt x="149" y="361"/>
                  </a:cubicBezTo>
                  <a:cubicBezTo>
                    <a:pt x="153" y="360"/>
                    <a:pt x="153" y="360"/>
                    <a:pt x="153" y="360"/>
                  </a:cubicBezTo>
                  <a:cubicBezTo>
                    <a:pt x="155" y="358"/>
                    <a:pt x="155" y="358"/>
                    <a:pt x="155" y="358"/>
                  </a:cubicBezTo>
                  <a:cubicBezTo>
                    <a:pt x="156" y="357"/>
                    <a:pt x="156" y="357"/>
                    <a:pt x="156" y="357"/>
                  </a:cubicBezTo>
                  <a:cubicBezTo>
                    <a:pt x="157" y="356"/>
                    <a:pt x="157" y="356"/>
                    <a:pt x="157" y="356"/>
                  </a:cubicBezTo>
                  <a:cubicBezTo>
                    <a:pt x="158" y="356"/>
                    <a:pt x="158" y="356"/>
                    <a:pt x="158" y="356"/>
                  </a:cubicBezTo>
                  <a:cubicBezTo>
                    <a:pt x="164" y="356"/>
                    <a:pt x="164" y="356"/>
                    <a:pt x="164" y="356"/>
                  </a:cubicBezTo>
                  <a:cubicBezTo>
                    <a:pt x="169" y="356"/>
                    <a:pt x="169" y="356"/>
                    <a:pt x="169" y="356"/>
                  </a:cubicBezTo>
                  <a:cubicBezTo>
                    <a:pt x="187" y="358"/>
                    <a:pt x="187" y="358"/>
                    <a:pt x="187" y="358"/>
                  </a:cubicBezTo>
                  <a:cubicBezTo>
                    <a:pt x="187" y="359"/>
                    <a:pt x="187" y="359"/>
                    <a:pt x="187" y="359"/>
                  </a:cubicBezTo>
                  <a:cubicBezTo>
                    <a:pt x="187" y="367"/>
                    <a:pt x="187" y="367"/>
                    <a:pt x="187" y="367"/>
                  </a:cubicBezTo>
                  <a:cubicBezTo>
                    <a:pt x="184" y="382"/>
                    <a:pt x="184" y="382"/>
                    <a:pt x="184" y="382"/>
                  </a:cubicBezTo>
                  <a:cubicBezTo>
                    <a:pt x="174" y="386"/>
                    <a:pt x="174" y="386"/>
                    <a:pt x="174" y="386"/>
                  </a:cubicBezTo>
                  <a:cubicBezTo>
                    <a:pt x="170" y="386"/>
                    <a:pt x="170" y="386"/>
                    <a:pt x="170" y="386"/>
                  </a:cubicBezTo>
                  <a:cubicBezTo>
                    <a:pt x="169" y="386"/>
                    <a:pt x="169" y="386"/>
                    <a:pt x="169" y="386"/>
                  </a:cubicBezTo>
                  <a:cubicBezTo>
                    <a:pt x="154" y="386"/>
                    <a:pt x="154" y="386"/>
                    <a:pt x="154" y="386"/>
                  </a:cubicBezTo>
                  <a:cubicBezTo>
                    <a:pt x="152" y="386"/>
                    <a:pt x="152" y="386"/>
                    <a:pt x="152" y="386"/>
                  </a:cubicBezTo>
                  <a:cubicBezTo>
                    <a:pt x="135" y="390"/>
                    <a:pt x="135" y="390"/>
                    <a:pt x="135" y="390"/>
                  </a:cubicBezTo>
                  <a:cubicBezTo>
                    <a:pt x="134" y="390"/>
                    <a:pt x="134" y="390"/>
                    <a:pt x="134" y="390"/>
                  </a:cubicBezTo>
                  <a:cubicBezTo>
                    <a:pt x="131" y="403"/>
                    <a:pt x="131" y="403"/>
                    <a:pt x="131" y="403"/>
                  </a:cubicBezTo>
                  <a:cubicBezTo>
                    <a:pt x="131" y="406"/>
                    <a:pt x="131" y="406"/>
                    <a:pt x="131" y="406"/>
                  </a:cubicBezTo>
                  <a:cubicBezTo>
                    <a:pt x="130" y="407"/>
                    <a:pt x="130" y="407"/>
                    <a:pt x="130" y="407"/>
                  </a:cubicBezTo>
                  <a:cubicBezTo>
                    <a:pt x="131" y="416"/>
                    <a:pt x="131" y="416"/>
                    <a:pt x="131" y="416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11" y="431"/>
                    <a:pt x="111" y="431"/>
                    <a:pt x="111" y="431"/>
                  </a:cubicBezTo>
                  <a:cubicBezTo>
                    <a:pt x="93" y="438"/>
                    <a:pt x="93" y="438"/>
                    <a:pt x="93" y="438"/>
                  </a:cubicBezTo>
                  <a:cubicBezTo>
                    <a:pt x="87" y="472"/>
                    <a:pt x="87" y="472"/>
                    <a:pt x="87" y="472"/>
                  </a:cubicBezTo>
                  <a:cubicBezTo>
                    <a:pt x="87" y="474"/>
                    <a:pt x="87" y="474"/>
                    <a:pt x="87" y="474"/>
                  </a:cubicBezTo>
                  <a:cubicBezTo>
                    <a:pt x="88" y="475"/>
                    <a:pt x="88" y="475"/>
                    <a:pt x="88" y="475"/>
                  </a:cubicBezTo>
                  <a:cubicBezTo>
                    <a:pt x="111" y="484"/>
                    <a:pt x="111" y="484"/>
                    <a:pt x="111" y="484"/>
                  </a:cubicBezTo>
                  <a:cubicBezTo>
                    <a:pt x="118" y="486"/>
                    <a:pt x="118" y="486"/>
                    <a:pt x="118" y="486"/>
                  </a:cubicBezTo>
                  <a:cubicBezTo>
                    <a:pt x="120" y="486"/>
                    <a:pt x="120" y="486"/>
                    <a:pt x="120" y="486"/>
                  </a:cubicBezTo>
                  <a:cubicBezTo>
                    <a:pt x="121" y="486"/>
                    <a:pt x="121" y="486"/>
                    <a:pt x="121" y="486"/>
                  </a:cubicBezTo>
                  <a:cubicBezTo>
                    <a:pt x="124" y="484"/>
                    <a:pt x="124" y="484"/>
                    <a:pt x="124" y="484"/>
                  </a:cubicBezTo>
                  <a:cubicBezTo>
                    <a:pt x="125" y="483"/>
                    <a:pt x="125" y="483"/>
                    <a:pt x="125" y="483"/>
                  </a:cubicBezTo>
                  <a:cubicBezTo>
                    <a:pt x="125" y="483"/>
                    <a:pt x="125" y="483"/>
                    <a:pt x="125" y="483"/>
                  </a:cubicBezTo>
                  <a:cubicBezTo>
                    <a:pt x="126" y="479"/>
                    <a:pt x="126" y="479"/>
                    <a:pt x="126" y="479"/>
                  </a:cubicBezTo>
                  <a:cubicBezTo>
                    <a:pt x="127" y="476"/>
                    <a:pt x="127" y="476"/>
                    <a:pt x="127" y="476"/>
                  </a:cubicBezTo>
                  <a:cubicBezTo>
                    <a:pt x="127" y="476"/>
                    <a:pt x="127" y="476"/>
                    <a:pt x="127" y="476"/>
                  </a:cubicBezTo>
                  <a:cubicBezTo>
                    <a:pt x="128" y="475"/>
                    <a:pt x="128" y="475"/>
                    <a:pt x="128" y="475"/>
                  </a:cubicBezTo>
                  <a:cubicBezTo>
                    <a:pt x="134" y="474"/>
                    <a:pt x="134" y="474"/>
                    <a:pt x="134" y="474"/>
                  </a:cubicBezTo>
                  <a:cubicBezTo>
                    <a:pt x="135" y="474"/>
                    <a:pt x="135" y="474"/>
                    <a:pt x="135" y="474"/>
                  </a:cubicBezTo>
                  <a:cubicBezTo>
                    <a:pt x="144" y="476"/>
                    <a:pt x="144" y="476"/>
                    <a:pt x="144" y="476"/>
                  </a:cubicBezTo>
                  <a:cubicBezTo>
                    <a:pt x="144" y="476"/>
                    <a:pt x="144" y="476"/>
                    <a:pt x="144" y="476"/>
                  </a:cubicBezTo>
                  <a:cubicBezTo>
                    <a:pt x="147" y="481"/>
                    <a:pt x="147" y="481"/>
                    <a:pt x="147" y="481"/>
                  </a:cubicBezTo>
                  <a:cubicBezTo>
                    <a:pt x="146" y="484"/>
                    <a:pt x="146" y="484"/>
                    <a:pt x="146" y="484"/>
                  </a:cubicBezTo>
                  <a:cubicBezTo>
                    <a:pt x="141" y="487"/>
                    <a:pt x="141" y="487"/>
                    <a:pt x="141" y="487"/>
                  </a:cubicBezTo>
                  <a:cubicBezTo>
                    <a:pt x="134" y="489"/>
                    <a:pt x="134" y="489"/>
                    <a:pt x="134" y="489"/>
                  </a:cubicBezTo>
                  <a:cubicBezTo>
                    <a:pt x="131" y="489"/>
                    <a:pt x="131" y="489"/>
                    <a:pt x="131" y="489"/>
                  </a:cubicBezTo>
                  <a:cubicBezTo>
                    <a:pt x="130" y="490"/>
                    <a:pt x="130" y="490"/>
                    <a:pt x="130" y="490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9"/>
                    <a:pt x="127" y="499"/>
                    <a:pt x="127" y="499"/>
                  </a:cubicBezTo>
                  <a:cubicBezTo>
                    <a:pt x="127" y="500"/>
                    <a:pt x="127" y="500"/>
                    <a:pt x="127" y="500"/>
                  </a:cubicBezTo>
                  <a:cubicBezTo>
                    <a:pt x="129" y="501"/>
                    <a:pt x="129" y="501"/>
                    <a:pt x="129" y="501"/>
                  </a:cubicBezTo>
                  <a:cubicBezTo>
                    <a:pt x="130" y="502"/>
                    <a:pt x="130" y="502"/>
                    <a:pt x="130" y="502"/>
                  </a:cubicBezTo>
                  <a:cubicBezTo>
                    <a:pt x="146" y="507"/>
                    <a:pt x="146" y="507"/>
                    <a:pt x="146" y="507"/>
                  </a:cubicBezTo>
                  <a:cubicBezTo>
                    <a:pt x="147" y="507"/>
                    <a:pt x="147" y="507"/>
                    <a:pt x="147" y="507"/>
                  </a:cubicBezTo>
                  <a:cubicBezTo>
                    <a:pt x="151" y="506"/>
                    <a:pt x="151" y="506"/>
                    <a:pt x="151" y="506"/>
                  </a:cubicBezTo>
                  <a:cubicBezTo>
                    <a:pt x="153" y="505"/>
                    <a:pt x="153" y="505"/>
                    <a:pt x="153" y="505"/>
                  </a:cubicBezTo>
                  <a:cubicBezTo>
                    <a:pt x="154" y="503"/>
                    <a:pt x="154" y="503"/>
                    <a:pt x="154" y="503"/>
                  </a:cubicBezTo>
                  <a:cubicBezTo>
                    <a:pt x="157" y="498"/>
                    <a:pt x="157" y="498"/>
                    <a:pt x="157" y="498"/>
                  </a:cubicBezTo>
                  <a:cubicBezTo>
                    <a:pt x="158" y="495"/>
                    <a:pt x="158" y="495"/>
                    <a:pt x="158" y="495"/>
                  </a:cubicBezTo>
                  <a:cubicBezTo>
                    <a:pt x="159" y="493"/>
                    <a:pt x="159" y="493"/>
                    <a:pt x="159" y="493"/>
                  </a:cubicBezTo>
                  <a:cubicBezTo>
                    <a:pt x="160" y="492"/>
                    <a:pt x="160" y="492"/>
                    <a:pt x="160" y="492"/>
                  </a:cubicBezTo>
                  <a:cubicBezTo>
                    <a:pt x="166" y="487"/>
                    <a:pt x="166" y="487"/>
                    <a:pt x="166" y="487"/>
                  </a:cubicBezTo>
                  <a:cubicBezTo>
                    <a:pt x="166" y="487"/>
                    <a:pt x="166" y="487"/>
                    <a:pt x="166" y="487"/>
                  </a:cubicBezTo>
                  <a:cubicBezTo>
                    <a:pt x="167" y="487"/>
                    <a:pt x="167" y="487"/>
                    <a:pt x="167" y="487"/>
                  </a:cubicBezTo>
                  <a:cubicBezTo>
                    <a:pt x="174" y="493"/>
                    <a:pt x="174" y="493"/>
                    <a:pt x="174" y="493"/>
                  </a:cubicBezTo>
                  <a:cubicBezTo>
                    <a:pt x="177" y="495"/>
                    <a:pt x="177" y="495"/>
                    <a:pt x="177" y="495"/>
                  </a:cubicBezTo>
                  <a:cubicBezTo>
                    <a:pt x="178" y="498"/>
                    <a:pt x="178" y="498"/>
                    <a:pt x="178" y="498"/>
                  </a:cubicBezTo>
                  <a:cubicBezTo>
                    <a:pt x="177" y="501"/>
                    <a:pt x="177" y="501"/>
                    <a:pt x="177" y="501"/>
                  </a:cubicBezTo>
                  <a:cubicBezTo>
                    <a:pt x="171" y="514"/>
                    <a:pt x="171" y="514"/>
                    <a:pt x="171" y="514"/>
                  </a:cubicBezTo>
                  <a:cubicBezTo>
                    <a:pt x="168" y="519"/>
                    <a:pt x="168" y="519"/>
                    <a:pt x="168" y="519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8" y="522"/>
                    <a:pt x="168" y="522"/>
                    <a:pt x="168" y="522"/>
                  </a:cubicBezTo>
                  <a:cubicBezTo>
                    <a:pt x="169" y="524"/>
                    <a:pt x="169" y="524"/>
                    <a:pt x="169" y="524"/>
                  </a:cubicBezTo>
                  <a:cubicBezTo>
                    <a:pt x="169" y="524"/>
                    <a:pt x="169" y="524"/>
                    <a:pt x="169" y="524"/>
                  </a:cubicBezTo>
                  <a:cubicBezTo>
                    <a:pt x="170" y="525"/>
                    <a:pt x="170" y="525"/>
                    <a:pt x="170" y="525"/>
                  </a:cubicBezTo>
                  <a:cubicBezTo>
                    <a:pt x="183" y="527"/>
                    <a:pt x="183" y="527"/>
                    <a:pt x="183" y="527"/>
                  </a:cubicBezTo>
                  <a:cubicBezTo>
                    <a:pt x="187" y="528"/>
                    <a:pt x="187" y="528"/>
                    <a:pt x="187" y="528"/>
                  </a:cubicBezTo>
                  <a:cubicBezTo>
                    <a:pt x="190" y="528"/>
                    <a:pt x="190" y="528"/>
                    <a:pt x="190" y="528"/>
                  </a:cubicBezTo>
                  <a:cubicBezTo>
                    <a:pt x="200" y="528"/>
                    <a:pt x="200" y="528"/>
                    <a:pt x="200" y="528"/>
                  </a:cubicBezTo>
                  <a:cubicBezTo>
                    <a:pt x="236" y="526"/>
                    <a:pt x="236" y="526"/>
                    <a:pt x="236" y="526"/>
                  </a:cubicBezTo>
                  <a:cubicBezTo>
                    <a:pt x="248" y="525"/>
                    <a:pt x="248" y="525"/>
                    <a:pt x="248" y="525"/>
                  </a:cubicBezTo>
                  <a:cubicBezTo>
                    <a:pt x="250" y="525"/>
                    <a:pt x="250" y="525"/>
                    <a:pt x="250" y="525"/>
                  </a:cubicBezTo>
                  <a:cubicBezTo>
                    <a:pt x="254" y="524"/>
                    <a:pt x="254" y="524"/>
                    <a:pt x="254" y="524"/>
                  </a:cubicBezTo>
                  <a:cubicBezTo>
                    <a:pt x="258" y="521"/>
                    <a:pt x="258" y="521"/>
                    <a:pt x="258" y="521"/>
                  </a:cubicBezTo>
                  <a:cubicBezTo>
                    <a:pt x="260" y="521"/>
                    <a:pt x="260" y="521"/>
                    <a:pt x="260" y="521"/>
                  </a:cubicBezTo>
                  <a:cubicBezTo>
                    <a:pt x="272" y="522"/>
                    <a:pt x="272" y="522"/>
                    <a:pt x="272" y="522"/>
                  </a:cubicBezTo>
                  <a:cubicBezTo>
                    <a:pt x="273" y="522"/>
                    <a:pt x="273" y="522"/>
                    <a:pt x="273" y="522"/>
                  </a:cubicBezTo>
                  <a:cubicBezTo>
                    <a:pt x="273" y="523"/>
                    <a:pt x="273" y="523"/>
                    <a:pt x="273" y="523"/>
                  </a:cubicBezTo>
                  <a:cubicBezTo>
                    <a:pt x="273" y="554"/>
                    <a:pt x="273" y="554"/>
                    <a:pt x="273" y="554"/>
                  </a:cubicBezTo>
                  <a:cubicBezTo>
                    <a:pt x="273" y="555"/>
                    <a:pt x="273" y="555"/>
                    <a:pt x="273" y="555"/>
                  </a:cubicBezTo>
                  <a:cubicBezTo>
                    <a:pt x="271" y="555"/>
                    <a:pt x="271" y="555"/>
                    <a:pt x="271" y="555"/>
                  </a:cubicBezTo>
                  <a:cubicBezTo>
                    <a:pt x="266" y="551"/>
                    <a:pt x="266" y="551"/>
                    <a:pt x="266" y="551"/>
                  </a:cubicBezTo>
                  <a:cubicBezTo>
                    <a:pt x="265" y="550"/>
                    <a:pt x="265" y="550"/>
                    <a:pt x="265" y="550"/>
                  </a:cubicBezTo>
                  <a:cubicBezTo>
                    <a:pt x="265" y="549"/>
                    <a:pt x="265" y="549"/>
                    <a:pt x="265" y="549"/>
                  </a:cubicBezTo>
                  <a:cubicBezTo>
                    <a:pt x="260" y="547"/>
                    <a:pt x="260" y="547"/>
                    <a:pt x="260" y="547"/>
                  </a:cubicBezTo>
                  <a:cubicBezTo>
                    <a:pt x="254" y="546"/>
                    <a:pt x="254" y="546"/>
                    <a:pt x="254" y="546"/>
                  </a:cubicBezTo>
                  <a:cubicBezTo>
                    <a:pt x="222" y="548"/>
                    <a:pt x="222" y="548"/>
                    <a:pt x="222" y="548"/>
                  </a:cubicBezTo>
                  <a:cubicBezTo>
                    <a:pt x="221" y="548"/>
                    <a:pt x="221" y="548"/>
                    <a:pt x="221" y="548"/>
                  </a:cubicBezTo>
                  <a:cubicBezTo>
                    <a:pt x="220" y="549"/>
                    <a:pt x="220" y="549"/>
                    <a:pt x="220" y="549"/>
                  </a:cubicBezTo>
                  <a:cubicBezTo>
                    <a:pt x="218" y="551"/>
                    <a:pt x="218" y="551"/>
                    <a:pt x="218" y="551"/>
                  </a:cubicBezTo>
                  <a:cubicBezTo>
                    <a:pt x="186" y="600"/>
                    <a:pt x="186" y="600"/>
                    <a:pt x="186" y="600"/>
                  </a:cubicBezTo>
                  <a:cubicBezTo>
                    <a:pt x="186" y="600"/>
                    <a:pt x="186" y="600"/>
                    <a:pt x="186" y="600"/>
                  </a:cubicBezTo>
                  <a:cubicBezTo>
                    <a:pt x="186" y="601"/>
                    <a:pt x="186" y="601"/>
                    <a:pt x="186" y="601"/>
                  </a:cubicBezTo>
                  <a:cubicBezTo>
                    <a:pt x="186" y="602"/>
                    <a:pt x="186" y="602"/>
                    <a:pt x="186" y="602"/>
                  </a:cubicBezTo>
                  <a:cubicBezTo>
                    <a:pt x="187" y="603"/>
                    <a:pt x="187" y="603"/>
                    <a:pt x="187" y="603"/>
                  </a:cubicBezTo>
                  <a:cubicBezTo>
                    <a:pt x="198" y="604"/>
                    <a:pt x="198" y="604"/>
                    <a:pt x="198" y="604"/>
                  </a:cubicBezTo>
                  <a:cubicBezTo>
                    <a:pt x="181" y="641"/>
                    <a:pt x="181" y="641"/>
                    <a:pt x="181" y="641"/>
                  </a:cubicBezTo>
                  <a:cubicBezTo>
                    <a:pt x="170" y="648"/>
                    <a:pt x="170" y="648"/>
                    <a:pt x="170" y="648"/>
                  </a:cubicBezTo>
                  <a:cubicBezTo>
                    <a:pt x="169" y="648"/>
                    <a:pt x="169" y="648"/>
                    <a:pt x="169" y="648"/>
                  </a:cubicBezTo>
                  <a:cubicBezTo>
                    <a:pt x="166" y="648"/>
                    <a:pt x="166" y="648"/>
                    <a:pt x="166" y="648"/>
                  </a:cubicBezTo>
                  <a:cubicBezTo>
                    <a:pt x="163" y="649"/>
                    <a:pt x="163" y="649"/>
                    <a:pt x="163" y="649"/>
                  </a:cubicBezTo>
                  <a:cubicBezTo>
                    <a:pt x="159" y="653"/>
                    <a:pt x="159" y="653"/>
                    <a:pt x="159" y="653"/>
                  </a:cubicBezTo>
                  <a:cubicBezTo>
                    <a:pt x="159" y="654"/>
                    <a:pt x="159" y="654"/>
                    <a:pt x="159" y="654"/>
                  </a:cubicBezTo>
                  <a:cubicBezTo>
                    <a:pt x="159" y="656"/>
                    <a:pt x="159" y="656"/>
                    <a:pt x="159" y="656"/>
                  </a:cubicBezTo>
                  <a:cubicBezTo>
                    <a:pt x="159" y="657"/>
                    <a:pt x="159" y="657"/>
                    <a:pt x="159" y="657"/>
                  </a:cubicBezTo>
                  <a:cubicBezTo>
                    <a:pt x="153" y="663"/>
                    <a:pt x="153" y="663"/>
                    <a:pt x="153" y="663"/>
                  </a:cubicBezTo>
                  <a:cubicBezTo>
                    <a:pt x="130" y="681"/>
                    <a:pt x="130" y="681"/>
                    <a:pt x="130" y="681"/>
                  </a:cubicBezTo>
                  <a:cubicBezTo>
                    <a:pt x="113" y="688"/>
                    <a:pt x="113" y="688"/>
                    <a:pt x="113" y="688"/>
                  </a:cubicBezTo>
                  <a:cubicBezTo>
                    <a:pt x="112" y="688"/>
                    <a:pt x="112" y="688"/>
                    <a:pt x="112" y="688"/>
                  </a:cubicBezTo>
                  <a:cubicBezTo>
                    <a:pt x="109" y="691"/>
                    <a:pt x="109" y="691"/>
                    <a:pt x="109" y="691"/>
                  </a:cubicBezTo>
                  <a:cubicBezTo>
                    <a:pt x="109" y="692"/>
                    <a:pt x="109" y="692"/>
                    <a:pt x="109" y="692"/>
                  </a:cubicBezTo>
                  <a:cubicBezTo>
                    <a:pt x="110" y="692"/>
                    <a:pt x="110" y="692"/>
                    <a:pt x="110" y="692"/>
                  </a:cubicBezTo>
                  <a:cubicBezTo>
                    <a:pt x="113" y="694"/>
                    <a:pt x="113" y="694"/>
                    <a:pt x="113" y="694"/>
                  </a:cubicBezTo>
                  <a:cubicBezTo>
                    <a:pt x="117" y="694"/>
                    <a:pt x="117" y="694"/>
                    <a:pt x="117" y="694"/>
                  </a:cubicBezTo>
                  <a:cubicBezTo>
                    <a:pt x="131" y="692"/>
                    <a:pt x="131" y="692"/>
                    <a:pt x="131" y="692"/>
                  </a:cubicBezTo>
                  <a:cubicBezTo>
                    <a:pt x="144" y="689"/>
                    <a:pt x="144" y="689"/>
                    <a:pt x="144" y="689"/>
                  </a:cubicBezTo>
                  <a:cubicBezTo>
                    <a:pt x="145" y="688"/>
                    <a:pt x="145" y="688"/>
                    <a:pt x="145" y="688"/>
                  </a:cubicBezTo>
                  <a:cubicBezTo>
                    <a:pt x="146" y="687"/>
                    <a:pt x="146" y="687"/>
                    <a:pt x="146" y="687"/>
                  </a:cubicBezTo>
                  <a:cubicBezTo>
                    <a:pt x="145" y="686"/>
                    <a:pt x="145" y="686"/>
                    <a:pt x="145" y="686"/>
                  </a:cubicBezTo>
                  <a:cubicBezTo>
                    <a:pt x="145" y="685"/>
                    <a:pt x="145" y="685"/>
                    <a:pt x="145" y="685"/>
                  </a:cubicBezTo>
                  <a:cubicBezTo>
                    <a:pt x="145" y="684"/>
                    <a:pt x="145" y="684"/>
                    <a:pt x="145" y="684"/>
                  </a:cubicBezTo>
                  <a:cubicBezTo>
                    <a:pt x="147" y="682"/>
                    <a:pt x="147" y="682"/>
                    <a:pt x="147" y="682"/>
                  </a:cubicBezTo>
                  <a:cubicBezTo>
                    <a:pt x="152" y="681"/>
                    <a:pt x="152" y="681"/>
                    <a:pt x="152" y="681"/>
                  </a:cubicBezTo>
                  <a:cubicBezTo>
                    <a:pt x="167" y="677"/>
                    <a:pt x="167" y="677"/>
                    <a:pt x="167" y="677"/>
                  </a:cubicBezTo>
                  <a:cubicBezTo>
                    <a:pt x="172" y="677"/>
                    <a:pt x="172" y="677"/>
                    <a:pt x="172" y="677"/>
                  </a:cubicBezTo>
                  <a:cubicBezTo>
                    <a:pt x="173" y="678"/>
                    <a:pt x="173" y="678"/>
                    <a:pt x="173" y="678"/>
                  </a:cubicBezTo>
                  <a:cubicBezTo>
                    <a:pt x="190" y="685"/>
                    <a:pt x="190" y="685"/>
                    <a:pt x="190" y="685"/>
                  </a:cubicBezTo>
                  <a:cubicBezTo>
                    <a:pt x="216" y="684"/>
                    <a:pt x="216" y="684"/>
                    <a:pt x="216" y="684"/>
                  </a:cubicBezTo>
                  <a:cubicBezTo>
                    <a:pt x="229" y="683"/>
                    <a:pt x="229" y="683"/>
                    <a:pt x="229" y="683"/>
                  </a:cubicBezTo>
                  <a:cubicBezTo>
                    <a:pt x="231" y="682"/>
                    <a:pt x="231" y="682"/>
                    <a:pt x="231" y="682"/>
                  </a:cubicBezTo>
                  <a:cubicBezTo>
                    <a:pt x="233" y="681"/>
                    <a:pt x="233" y="681"/>
                    <a:pt x="233" y="681"/>
                  </a:cubicBezTo>
                  <a:cubicBezTo>
                    <a:pt x="241" y="672"/>
                    <a:pt x="241" y="672"/>
                    <a:pt x="241" y="672"/>
                  </a:cubicBezTo>
                  <a:cubicBezTo>
                    <a:pt x="250" y="660"/>
                    <a:pt x="250" y="660"/>
                    <a:pt x="250" y="660"/>
                  </a:cubicBezTo>
                  <a:cubicBezTo>
                    <a:pt x="250" y="659"/>
                    <a:pt x="250" y="659"/>
                    <a:pt x="250" y="659"/>
                  </a:cubicBezTo>
                  <a:cubicBezTo>
                    <a:pt x="251" y="658"/>
                    <a:pt x="251" y="658"/>
                    <a:pt x="251" y="658"/>
                  </a:cubicBezTo>
                  <a:cubicBezTo>
                    <a:pt x="251" y="657"/>
                    <a:pt x="251" y="657"/>
                    <a:pt x="251" y="657"/>
                  </a:cubicBezTo>
                  <a:cubicBezTo>
                    <a:pt x="265" y="661"/>
                    <a:pt x="265" y="661"/>
                    <a:pt x="265" y="661"/>
                  </a:cubicBezTo>
                  <a:cubicBezTo>
                    <a:pt x="278" y="668"/>
                    <a:pt x="278" y="668"/>
                    <a:pt x="278" y="668"/>
                  </a:cubicBezTo>
                  <a:cubicBezTo>
                    <a:pt x="282" y="674"/>
                    <a:pt x="282" y="674"/>
                    <a:pt x="282" y="674"/>
                  </a:cubicBezTo>
                  <a:cubicBezTo>
                    <a:pt x="282" y="674"/>
                    <a:pt x="282" y="674"/>
                    <a:pt x="282" y="674"/>
                  </a:cubicBezTo>
                  <a:cubicBezTo>
                    <a:pt x="256" y="682"/>
                    <a:pt x="256" y="682"/>
                    <a:pt x="256" y="682"/>
                  </a:cubicBezTo>
                  <a:cubicBezTo>
                    <a:pt x="229" y="687"/>
                    <a:pt x="229" y="687"/>
                    <a:pt x="229" y="687"/>
                  </a:cubicBezTo>
                  <a:cubicBezTo>
                    <a:pt x="219" y="691"/>
                    <a:pt x="219" y="691"/>
                    <a:pt x="219" y="691"/>
                  </a:cubicBezTo>
                  <a:cubicBezTo>
                    <a:pt x="210" y="695"/>
                    <a:pt x="210" y="695"/>
                    <a:pt x="210" y="695"/>
                  </a:cubicBezTo>
                  <a:cubicBezTo>
                    <a:pt x="208" y="695"/>
                    <a:pt x="208" y="695"/>
                    <a:pt x="208" y="695"/>
                  </a:cubicBezTo>
                  <a:cubicBezTo>
                    <a:pt x="206" y="695"/>
                    <a:pt x="206" y="695"/>
                    <a:pt x="206" y="695"/>
                  </a:cubicBezTo>
                  <a:cubicBezTo>
                    <a:pt x="205" y="695"/>
                    <a:pt x="205" y="695"/>
                    <a:pt x="205" y="695"/>
                  </a:cubicBezTo>
                  <a:cubicBezTo>
                    <a:pt x="188" y="691"/>
                    <a:pt x="188" y="691"/>
                    <a:pt x="188" y="691"/>
                  </a:cubicBezTo>
                  <a:cubicBezTo>
                    <a:pt x="158" y="691"/>
                    <a:pt x="158" y="691"/>
                    <a:pt x="158" y="691"/>
                  </a:cubicBezTo>
                  <a:cubicBezTo>
                    <a:pt x="156" y="691"/>
                    <a:pt x="156" y="691"/>
                    <a:pt x="156" y="691"/>
                  </a:cubicBezTo>
                  <a:cubicBezTo>
                    <a:pt x="154" y="692"/>
                    <a:pt x="154" y="692"/>
                    <a:pt x="154" y="692"/>
                  </a:cubicBezTo>
                  <a:cubicBezTo>
                    <a:pt x="153" y="693"/>
                    <a:pt x="153" y="693"/>
                    <a:pt x="153" y="693"/>
                  </a:cubicBezTo>
                  <a:cubicBezTo>
                    <a:pt x="149" y="696"/>
                    <a:pt x="149" y="696"/>
                    <a:pt x="149" y="696"/>
                  </a:cubicBezTo>
                  <a:cubicBezTo>
                    <a:pt x="149" y="697"/>
                    <a:pt x="149" y="697"/>
                    <a:pt x="149" y="697"/>
                  </a:cubicBezTo>
                  <a:cubicBezTo>
                    <a:pt x="147" y="705"/>
                    <a:pt x="147" y="705"/>
                    <a:pt x="147" y="705"/>
                  </a:cubicBezTo>
                  <a:cubicBezTo>
                    <a:pt x="148" y="710"/>
                    <a:pt x="148" y="710"/>
                    <a:pt x="148" y="710"/>
                  </a:cubicBezTo>
                  <a:cubicBezTo>
                    <a:pt x="146" y="714"/>
                    <a:pt x="146" y="714"/>
                    <a:pt x="146" y="714"/>
                  </a:cubicBezTo>
                  <a:cubicBezTo>
                    <a:pt x="135" y="721"/>
                    <a:pt x="135" y="721"/>
                    <a:pt x="135" y="721"/>
                  </a:cubicBezTo>
                  <a:cubicBezTo>
                    <a:pt x="134" y="722"/>
                    <a:pt x="134" y="722"/>
                    <a:pt x="134" y="722"/>
                  </a:cubicBezTo>
                  <a:cubicBezTo>
                    <a:pt x="122" y="725"/>
                    <a:pt x="122" y="725"/>
                    <a:pt x="122" y="725"/>
                  </a:cubicBezTo>
                  <a:cubicBezTo>
                    <a:pt x="120" y="736"/>
                    <a:pt x="120" y="736"/>
                    <a:pt x="120" y="736"/>
                  </a:cubicBezTo>
                  <a:cubicBezTo>
                    <a:pt x="119" y="756"/>
                    <a:pt x="119" y="756"/>
                    <a:pt x="119" y="756"/>
                  </a:cubicBezTo>
                  <a:cubicBezTo>
                    <a:pt x="121" y="763"/>
                    <a:pt x="121" y="763"/>
                    <a:pt x="121" y="763"/>
                  </a:cubicBezTo>
                  <a:cubicBezTo>
                    <a:pt x="129" y="765"/>
                    <a:pt x="129" y="765"/>
                    <a:pt x="129" y="765"/>
                  </a:cubicBezTo>
                  <a:cubicBezTo>
                    <a:pt x="131" y="766"/>
                    <a:pt x="131" y="766"/>
                    <a:pt x="131" y="766"/>
                  </a:cubicBezTo>
                  <a:cubicBezTo>
                    <a:pt x="133" y="767"/>
                    <a:pt x="133" y="767"/>
                    <a:pt x="133" y="767"/>
                  </a:cubicBezTo>
                  <a:cubicBezTo>
                    <a:pt x="134" y="767"/>
                    <a:pt x="134" y="767"/>
                    <a:pt x="134" y="767"/>
                  </a:cubicBezTo>
                  <a:cubicBezTo>
                    <a:pt x="134" y="769"/>
                    <a:pt x="134" y="769"/>
                    <a:pt x="134" y="769"/>
                  </a:cubicBezTo>
                  <a:cubicBezTo>
                    <a:pt x="134" y="772"/>
                    <a:pt x="134" y="772"/>
                    <a:pt x="134" y="772"/>
                  </a:cubicBezTo>
                  <a:cubicBezTo>
                    <a:pt x="115" y="774"/>
                    <a:pt x="115" y="774"/>
                    <a:pt x="115" y="774"/>
                  </a:cubicBezTo>
                  <a:cubicBezTo>
                    <a:pt x="106" y="774"/>
                    <a:pt x="106" y="774"/>
                    <a:pt x="106" y="774"/>
                  </a:cubicBezTo>
                  <a:cubicBezTo>
                    <a:pt x="102" y="774"/>
                    <a:pt x="102" y="774"/>
                    <a:pt x="102" y="774"/>
                  </a:cubicBezTo>
                  <a:cubicBezTo>
                    <a:pt x="69" y="765"/>
                    <a:pt x="69" y="765"/>
                    <a:pt x="69" y="765"/>
                  </a:cubicBezTo>
                  <a:cubicBezTo>
                    <a:pt x="70" y="761"/>
                    <a:pt x="70" y="761"/>
                    <a:pt x="70" y="761"/>
                  </a:cubicBezTo>
                  <a:cubicBezTo>
                    <a:pt x="70" y="758"/>
                    <a:pt x="70" y="758"/>
                    <a:pt x="70" y="758"/>
                  </a:cubicBezTo>
                  <a:cubicBezTo>
                    <a:pt x="70" y="757"/>
                    <a:pt x="70" y="757"/>
                    <a:pt x="70" y="757"/>
                  </a:cubicBezTo>
                  <a:cubicBezTo>
                    <a:pt x="69" y="757"/>
                    <a:pt x="69" y="757"/>
                    <a:pt x="69" y="757"/>
                  </a:cubicBezTo>
                  <a:cubicBezTo>
                    <a:pt x="68" y="757"/>
                    <a:pt x="68" y="757"/>
                    <a:pt x="68" y="757"/>
                  </a:cubicBezTo>
                  <a:cubicBezTo>
                    <a:pt x="63" y="758"/>
                    <a:pt x="63" y="758"/>
                    <a:pt x="63" y="758"/>
                  </a:cubicBezTo>
                  <a:cubicBezTo>
                    <a:pt x="56" y="760"/>
                    <a:pt x="56" y="760"/>
                    <a:pt x="56" y="760"/>
                  </a:cubicBezTo>
                  <a:cubicBezTo>
                    <a:pt x="53" y="761"/>
                    <a:pt x="53" y="761"/>
                    <a:pt x="53" y="761"/>
                  </a:cubicBezTo>
                  <a:cubicBezTo>
                    <a:pt x="52" y="762"/>
                    <a:pt x="52" y="762"/>
                    <a:pt x="52" y="762"/>
                  </a:cubicBezTo>
                  <a:cubicBezTo>
                    <a:pt x="38" y="769"/>
                    <a:pt x="38" y="769"/>
                    <a:pt x="38" y="769"/>
                  </a:cubicBezTo>
                  <a:cubicBezTo>
                    <a:pt x="21" y="780"/>
                    <a:pt x="21" y="780"/>
                    <a:pt x="21" y="780"/>
                  </a:cubicBezTo>
                  <a:cubicBezTo>
                    <a:pt x="21" y="781"/>
                    <a:pt x="21" y="781"/>
                    <a:pt x="21" y="781"/>
                  </a:cubicBezTo>
                  <a:cubicBezTo>
                    <a:pt x="21" y="781"/>
                    <a:pt x="21" y="781"/>
                    <a:pt x="21" y="781"/>
                  </a:cubicBezTo>
                  <a:cubicBezTo>
                    <a:pt x="19" y="789"/>
                    <a:pt x="19" y="789"/>
                    <a:pt x="19" y="789"/>
                  </a:cubicBezTo>
                  <a:cubicBezTo>
                    <a:pt x="18" y="793"/>
                    <a:pt x="18" y="793"/>
                    <a:pt x="18" y="793"/>
                  </a:cubicBezTo>
                  <a:cubicBezTo>
                    <a:pt x="19" y="799"/>
                    <a:pt x="19" y="799"/>
                    <a:pt x="19" y="799"/>
                  </a:cubicBezTo>
                  <a:cubicBezTo>
                    <a:pt x="20" y="800"/>
                    <a:pt x="20" y="800"/>
                    <a:pt x="20" y="800"/>
                  </a:cubicBezTo>
                  <a:cubicBezTo>
                    <a:pt x="22" y="802"/>
                    <a:pt x="22" y="802"/>
                    <a:pt x="22" y="802"/>
                  </a:cubicBezTo>
                  <a:cubicBezTo>
                    <a:pt x="22" y="803"/>
                    <a:pt x="22" y="803"/>
                    <a:pt x="22" y="803"/>
                  </a:cubicBezTo>
                  <a:cubicBezTo>
                    <a:pt x="24" y="803"/>
                    <a:pt x="24" y="803"/>
                    <a:pt x="24" y="803"/>
                  </a:cubicBezTo>
                  <a:cubicBezTo>
                    <a:pt x="73" y="799"/>
                    <a:pt x="73" y="799"/>
                    <a:pt x="73" y="799"/>
                  </a:cubicBezTo>
                  <a:cubicBezTo>
                    <a:pt x="88" y="797"/>
                    <a:pt x="88" y="797"/>
                    <a:pt x="88" y="797"/>
                  </a:cubicBezTo>
                  <a:cubicBezTo>
                    <a:pt x="100" y="795"/>
                    <a:pt x="100" y="795"/>
                    <a:pt x="100" y="795"/>
                  </a:cubicBezTo>
                  <a:cubicBezTo>
                    <a:pt x="109" y="794"/>
                    <a:pt x="109" y="794"/>
                    <a:pt x="109" y="794"/>
                  </a:cubicBezTo>
                  <a:cubicBezTo>
                    <a:pt x="112" y="795"/>
                    <a:pt x="112" y="795"/>
                    <a:pt x="112" y="795"/>
                  </a:cubicBezTo>
                  <a:cubicBezTo>
                    <a:pt x="114" y="795"/>
                    <a:pt x="114" y="795"/>
                    <a:pt x="114" y="795"/>
                  </a:cubicBezTo>
                  <a:cubicBezTo>
                    <a:pt x="122" y="798"/>
                    <a:pt x="122" y="798"/>
                    <a:pt x="122" y="798"/>
                  </a:cubicBezTo>
                  <a:cubicBezTo>
                    <a:pt x="124" y="799"/>
                    <a:pt x="124" y="799"/>
                    <a:pt x="124" y="799"/>
                  </a:cubicBezTo>
                  <a:cubicBezTo>
                    <a:pt x="126" y="801"/>
                    <a:pt x="126" y="801"/>
                    <a:pt x="126" y="801"/>
                  </a:cubicBezTo>
                  <a:cubicBezTo>
                    <a:pt x="127" y="803"/>
                    <a:pt x="127" y="803"/>
                    <a:pt x="127" y="803"/>
                  </a:cubicBezTo>
                  <a:cubicBezTo>
                    <a:pt x="126" y="803"/>
                    <a:pt x="126" y="803"/>
                    <a:pt x="126" y="803"/>
                  </a:cubicBezTo>
                  <a:cubicBezTo>
                    <a:pt x="122" y="802"/>
                    <a:pt x="122" y="802"/>
                    <a:pt x="122" y="802"/>
                  </a:cubicBezTo>
                  <a:cubicBezTo>
                    <a:pt x="120" y="802"/>
                    <a:pt x="120" y="802"/>
                    <a:pt x="120" y="802"/>
                  </a:cubicBezTo>
                  <a:cubicBezTo>
                    <a:pt x="108" y="804"/>
                    <a:pt x="108" y="804"/>
                    <a:pt x="108" y="804"/>
                  </a:cubicBezTo>
                  <a:cubicBezTo>
                    <a:pt x="106" y="805"/>
                    <a:pt x="106" y="805"/>
                    <a:pt x="106" y="805"/>
                  </a:cubicBezTo>
                  <a:cubicBezTo>
                    <a:pt x="97" y="812"/>
                    <a:pt x="97" y="812"/>
                    <a:pt x="97" y="812"/>
                  </a:cubicBezTo>
                  <a:cubicBezTo>
                    <a:pt x="76" y="821"/>
                    <a:pt x="76" y="821"/>
                    <a:pt x="76" y="821"/>
                  </a:cubicBezTo>
                  <a:cubicBezTo>
                    <a:pt x="70" y="824"/>
                    <a:pt x="70" y="824"/>
                    <a:pt x="70" y="824"/>
                  </a:cubicBezTo>
                  <a:cubicBezTo>
                    <a:pt x="48" y="831"/>
                    <a:pt x="48" y="831"/>
                    <a:pt x="48" y="831"/>
                  </a:cubicBezTo>
                  <a:cubicBezTo>
                    <a:pt x="44" y="837"/>
                    <a:pt x="44" y="837"/>
                    <a:pt x="44" y="837"/>
                  </a:cubicBezTo>
                  <a:cubicBezTo>
                    <a:pt x="44" y="841"/>
                    <a:pt x="44" y="841"/>
                    <a:pt x="44" y="841"/>
                  </a:cubicBezTo>
                  <a:cubicBezTo>
                    <a:pt x="44" y="842"/>
                    <a:pt x="44" y="842"/>
                    <a:pt x="44" y="842"/>
                  </a:cubicBezTo>
                  <a:cubicBezTo>
                    <a:pt x="46" y="844"/>
                    <a:pt x="46" y="844"/>
                    <a:pt x="46" y="844"/>
                  </a:cubicBezTo>
                  <a:cubicBezTo>
                    <a:pt x="49" y="850"/>
                    <a:pt x="49" y="850"/>
                    <a:pt x="49" y="850"/>
                  </a:cubicBezTo>
                  <a:cubicBezTo>
                    <a:pt x="49" y="853"/>
                    <a:pt x="49" y="853"/>
                    <a:pt x="49" y="853"/>
                  </a:cubicBezTo>
                  <a:cubicBezTo>
                    <a:pt x="48" y="854"/>
                    <a:pt x="48" y="854"/>
                    <a:pt x="48" y="854"/>
                  </a:cubicBezTo>
                  <a:cubicBezTo>
                    <a:pt x="47" y="852"/>
                    <a:pt x="47" y="852"/>
                    <a:pt x="47" y="852"/>
                  </a:cubicBezTo>
                  <a:cubicBezTo>
                    <a:pt x="46" y="852"/>
                    <a:pt x="46" y="852"/>
                    <a:pt x="46" y="852"/>
                  </a:cubicBezTo>
                  <a:cubicBezTo>
                    <a:pt x="45" y="852"/>
                    <a:pt x="45" y="852"/>
                    <a:pt x="45" y="852"/>
                  </a:cubicBezTo>
                  <a:cubicBezTo>
                    <a:pt x="41" y="855"/>
                    <a:pt x="41" y="855"/>
                    <a:pt x="41" y="855"/>
                  </a:cubicBezTo>
                  <a:cubicBezTo>
                    <a:pt x="27" y="858"/>
                    <a:pt x="27" y="858"/>
                    <a:pt x="27" y="858"/>
                  </a:cubicBezTo>
                  <a:cubicBezTo>
                    <a:pt x="26" y="865"/>
                    <a:pt x="26" y="865"/>
                    <a:pt x="26" y="865"/>
                  </a:cubicBezTo>
                  <a:cubicBezTo>
                    <a:pt x="26" y="866"/>
                    <a:pt x="26" y="866"/>
                    <a:pt x="26" y="866"/>
                  </a:cubicBezTo>
                  <a:cubicBezTo>
                    <a:pt x="32" y="880"/>
                    <a:pt x="32" y="880"/>
                    <a:pt x="32" y="880"/>
                  </a:cubicBezTo>
                  <a:cubicBezTo>
                    <a:pt x="32" y="881"/>
                    <a:pt x="32" y="881"/>
                    <a:pt x="32" y="881"/>
                  </a:cubicBezTo>
                  <a:cubicBezTo>
                    <a:pt x="33" y="882"/>
                    <a:pt x="33" y="882"/>
                    <a:pt x="33" y="882"/>
                  </a:cubicBezTo>
                  <a:cubicBezTo>
                    <a:pt x="34" y="882"/>
                    <a:pt x="34" y="882"/>
                    <a:pt x="34" y="882"/>
                  </a:cubicBezTo>
                  <a:cubicBezTo>
                    <a:pt x="44" y="875"/>
                    <a:pt x="44" y="875"/>
                    <a:pt x="44" y="875"/>
                  </a:cubicBezTo>
                  <a:cubicBezTo>
                    <a:pt x="57" y="883"/>
                    <a:pt x="57" y="883"/>
                    <a:pt x="57" y="883"/>
                  </a:cubicBezTo>
                  <a:cubicBezTo>
                    <a:pt x="77" y="889"/>
                    <a:pt x="77" y="889"/>
                    <a:pt x="77" y="889"/>
                  </a:cubicBezTo>
                  <a:cubicBezTo>
                    <a:pt x="102" y="880"/>
                    <a:pt x="102" y="880"/>
                    <a:pt x="102" y="880"/>
                  </a:cubicBezTo>
                  <a:cubicBezTo>
                    <a:pt x="132" y="870"/>
                    <a:pt x="132" y="870"/>
                    <a:pt x="132" y="870"/>
                  </a:cubicBezTo>
                  <a:cubicBezTo>
                    <a:pt x="136" y="869"/>
                    <a:pt x="136" y="869"/>
                    <a:pt x="136" y="869"/>
                  </a:cubicBezTo>
                  <a:cubicBezTo>
                    <a:pt x="143" y="868"/>
                    <a:pt x="143" y="868"/>
                    <a:pt x="143" y="868"/>
                  </a:cubicBezTo>
                  <a:cubicBezTo>
                    <a:pt x="152" y="867"/>
                    <a:pt x="152" y="867"/>
                    <a:pt x="152" y="867"/>
                  </a:cubicBezTo>
                  <a:cubicBezTo>
                    <a:pt x="153" y="867"/>
                    <a:pt x="153" y="867"/>
                    <a:pt x="153" y="867"/>
                  </a:cubicBezTo>
                  <a:cubicBezTo>
                    <a:pt x="153" y="869"/>
                    <a:pt x="153" y="869"/>
                    <a:pt x="153" y="869"/>
                  </a:cubicBezTo>
                  <a:cubicBezTo>
                    <a:pt x="115" y="888"/>
                    <a:pt x="115" y="888"/>
                    <a:pt x="115" y="888"/>
                  </a:cubicBezTo>
                  <a:cubicBezTo>
                    <a:pt x="102" y="893"/>
                    <a:pt x="102" y="893"/>
                    <a:pt x="102" y="893"/>
                  </a:cubicBezTo>
                  <a:cubicBezTo>
                    <a:pt x="88" y="905"/>
                    <a:pt x="88" y="905"/>
                    <a:pt x="88" y="905"/>
                  </a:cubicBezTo>
                  <a:cubicBezTo>
                    <a:pt x="65" y="928"/>
                    <a:pt x="65" y="928"/>
                    <a:pt x="65" y="928"/>
                  </a:cubicBezTo>
                  <a:cubicBezTo>
                    <a:pt x="62" y="932"/>
                    <a:pt x="62" y="932"/>
                    <a:pt x="62" y="932"/>
                  </a:cubicBezTo>
                  <a:cubicBezTo>
                    <a:pt x="76" y="934"/>
                    <a:pt x="76" y="934"/>
                    <a:pt x="76" y="934"/>
                  </a:cubicBezTo>
                  <a:cubicBezTo>
                    <a:pt x="79" y="933"/>
                    <a:pt x="79" y="933"/>
                    <a:pt x="79" y="933"/>
                  </a:cubicBezTo>
                  <a:cubicBezTo>
                    <a:pt x="92" y="929"/>
                    <a:pt x="92" y="929"/>
                    <a:pt x="92" y="929"/>
                  </a:cubicBezTo>
                  <a:cubicBezTo>
                    <a:pt x="93" y="928"/>
                    <a:pt x="93" y="928"/>
                    <a:pt x="93" y="928"/>
                  </a:cubicBezTo>
                  <a:cubicBezTo>
                    <a:pt x="94" y="926"/>
                    <a:pt x="94" y="926"/>
                    <a:pt x="94" y="926"/>
                  </a:cubicBezTo>
                  <a:cubicBezTo>
                    <a:pt x="94" y="924"/>
                    <a:pt x="94" y="924"/>
                    <a:pt x="94" y="924"/>
                  </a:cubicBezTo>
                  <a:cubicBezTo>
                    <a:pt x="94" y="924"/>
                    <a:pt x="94" y="924"/>
                    <a:pt x="94" y="924"/>
                  </a:cubicBezTo>
                  <a:cubicBezTo>
                    <a:pt x="94" y="923"/>
                    <a:pt x="94" y="923"/>
                    <a:pt x="94" y="923"/>
                  </a:cubicBezTo>
                  <a:cubicBezTo>
                    <a:pt x="97" y="921"/>
                    <a:pt x="97" y="921"/>
                    <a:pt x="97" y="921"/>
                  </a:cubicBezTo>
                  <a:cubicBezTo>
                    <a:pt x="108" y="920"/>
                    <a:pt x="108" y="920"/>
                    <a:pt x="108" y="920"/>
                  </a:cubicBezTo>
                  <a:cubicBezTo>
                    <a:pt x="119" y="920"/>
                    <a:pt x="119" y="920"/>
                    <a:pt x="119" y="920"/>
                  </a:cubicBezTo>
                  <a:cubicBezTo>
                    <a:pt x="136" y="917"/>
                    <a:pt x="136" y="917"/>
                    <a:pt x="136" y="917"/>
                  </a:cubicBezTo>
                  <a:cubicBezTo>
                    <a:pt x="146" y="914"/>
                    <a:pt x="146" y="914"/>
                    <a:pt x="146" y="914"/>
                  </a:cubicBezTo>
                  <a:cubicBezTo>
                    <a:pt x="147" y="914"/>
                    <a:pt x="147" y="914"/>
                    <a:pt x="147" y="914"/>
                  </a:cubicBezTo>
                  <a:cubicBezTo>
                    <a:pt x="155" y="907"/>
                    <a:pt x="155" y="907"/>
                    <a:pt x="155" y="907"/>
                  </a:cubicBezTo>
                  <a:cubicBezTo>
                    <a:pt x="160" y="906"/>
                    <a:pt x="160" y="906"/>
                    <a:pt x="160" y="906"/>
                  </a:cubicBezTo>
                  <a:cubicBezTo>
                    <a:pt x="170" y="906"/>
                    <a:pt x="170" y="906"/>
                    <a:pt x="170" y="906"/>
                  </a:cubicBezTo>
                  <a:cubicBezTo>
                    <a:pt x="171" y="906"/>
                    <a:pt x="171" y="906"/>
                    <a:pt x="171" y="906"/>
                  </a:cubicBezTo>
                  <a:cubicBezTo>
                    <a:pt x="172" y="909"/>
                    <a:pt x="172" y="909"/>
                    <a:pt x="172" y="909"/>
                  </a:cubicBezTo>
                  <a:cubicBezTo>
                    <a:pt x="170" y="915"/>
                    <a:pt x="170" y="915"/>
                    <a:pt x="170" y="915"/>
                  </a:cubicBezTo>
                  <a:cubicBezTo>
                    <a:pt x="170" y="916"/>
                    <a:pt x="170" y="916"/>
                    <a:pt x="170" y="916"/>
                  </a:cubicBezTo>
                  <a:cubicBezTo>
                    <a:pt x="167" y="918"/>
                    <a:pt x="167" y="918"/>
                    <a:pt x="167" y="918"/>
                  </a:cubicBezTo>
                  <a:cubicBezTo>
                    <a:pt x="159" y="921"/>
                    <a:pt x="159" y="921"/>
                    <a:pt x="159" y="921"/>
                  </a:cubicBezTo>
                  <a:cubicBezTo>
                    <a:pt x="157" y="922"/>
                    <a:pt x="157" y="922"/>
                    <a:pt x="157" y="922"/>
                  </a:cubicBezTo>
                  <a:cubicBezTo>
                    <a:pt x="153" y="922"/>
                    <a:pt x="153" y="922"/>
                    <a:pt x="153" y="922"/>
                  </a:cubicBezTo>
                  <a:cubicBezTo>
                    <a:pt x="149" y="923"/>
                    <a:pt x="149" y="923"/>
                    <a:pt x="149" y="923"/>
                  </a:cubicBezTo>
                  <a:cubicBezTo>
                    <a:pt x="148" y="924"/>
                    <a:pt x="148" y="924"/>
                    <a:pt x="148" y="924"/>
                  </a:cubicBezTo>
                  <a:cubicBezTo>
                    <a:pt x="121" y="936"/>
                    <a:pt x="121" y="936"/>
                    <a:pt x="121" y="936"/>
                  </a:cubicBezTo>
                  <a:cubicBezTo>
                    <a:pt x="117" y="938"/>
                    <a:pt x="117" y="938"/>
                    <a:pt x="117" y="938"/>
                  </a:cubicBezTo>
                  <a:cubicBezTo>
                    <a:pt x="107" y="946"/>
                    <a:pt x="107" y="946"/>
                    <a:pt x="107" y="946"/>
                  </a:cubicBezTo>
                  <a:cubicBezTo>
                    <a:pt x="106" y="947"/>
                    <a:pt x="106" y="947"/>
                    <a:pt x="106" y="947"/>
                  </a:cubicBezTo>
                  <a:cubicBezTo>
                    <a:pt x="106" y="948"/>
                    <a:pt x="106" y="948"/>
                    <a:pt x="106" y="948"/>
                  </a:cubicBezTo>
                  <a:cubicBezTo>
                    <a:pt x="107" y="948"/>
                    <a:pt x="107" y="948"/>
                    <a:pt x="107" y="948"/>
                  </a:cubicBezTo>
                  <a:cubicBezTo>
                    <a:pt x="107" y="949"/>
                    <a:pt x="107" y="949"/>
                    <a:pt x="107" y="949"/>
                  </a:cubicBezTo>
                  <a:cubicBezTo>
                    <a:pt x="108" y="949"/>
                    <a:pt x="108" y="949"/>
                    <a:pt x="108" y="949"/>
                  </a:cubicBezTo>
                  <a:cubicBezTo>
                    <a:pt x="112" y="948"/>
                    <a:pt x="112" y="948"/>
                    <a:pt x="112" y="948"/>
                  </a:cubicBezTo>
                  <a:cubicBezTo>
                    <a:pt x="138" y="938"/>
                    <a:pt x="138" y="938"/>
                    <a:pt x="138" y="938"/>
                  </a:cubicBezTo>
                  <a:cubicBezTo>
                    <a:pt x="142" y="936"/>
                    <a:pt x="142" y="936"/>
                    <a:pt x="142" y="936"/>
                  </a:cubicBezTo>
                  <a:cubicBezTo>
                    <a:pt x="142" y="936"/>
                    <a:pt x="142" y="936"/>
                    <a:pt x="142" y="936"/>
                  </a:cubicBezTo>
                  <a:cubicBezTo>
                    <a:pt x="144" y="935"/>
                    <a:pt x="144" y="935"/>
                    <a:pt x="144" y="935"/>
                  </a:cubicBezTo>
                  <a:cubicBezTo>
                    <a:pt x="147" y="933"/>
                    <a:pt x="147" y="933"/>
                    <a:pt x="147" y="933"/>
                  </a:cubicBezTo>
                  <a:cubicBezTo>
                    <a:pt x="148" y="933"/>
                    <a:pt x="148" y="933"/>
                    <a:pt x="148" y="933"/>
                  </a:cubicBezTo>
                  <a:cubicBezTo>
                    <a:pt x="149" y="932"/>
                    <a:pt x="149" y="932"/>
                    <a:pt x="149" y="932"/>
                  </a:cubicBezTo>
                  <a:cubicBezTo>
                    <a:pt x="153" y="932"/>
                    <a:pt x="153" y="932"/>
                    <a:pt x="153" y="932"/>
                  </a:cubicBezTo>
                  <a:cubicBezTo>
                    <a:pt x="153" y="932"/>
                    <a:pt x="153" y="932"/>
                    <a:pt x="153" y="932"/>
                  </a:cubicBezTo>
                  <a:cubicBezTo>
                    <a:pt x="154" y="933"/>
                    <a:pt x="154" y="933"/>
                    <a:pt x="154" y="933"/>
                  </a:cubicBezTo>
                  <a:cubicBezTo>
                    <a:pt x="154" y="934"/>
                    <a:pt x="154" y="934"/>
                    <a:pt x="154" y="934"/>
                  </a:cubicBezTo>
                  <a:cubicBezTo>
                    <a:pt x="153" y="935"/>
                    <a:pt x="153" y="935"/>
                    <a:pt x="153" y="935"/>
                  </a:cubicBezTo>
                  <a:cubicBezTo>
                    <a:pt x="136" y="948"/>
                    <a:pt x="136" y="948"/>
                    <a:pt x="136" y="948"/>
                  </a:cubicBezTo>
                  <a:cubicBezTo>
                    <a:pt x="133" y="950"/>
                    <a:pt x="133" y="950"/>
                    <a:pt x="133" y="950"/>
                  </a:cubicBezTo>
                  <a:cubicBezTo>
                    <a:pt x="128" y="953"/>
                    <a:pt x="128" y="953"/>
                    <a:pt x="128" y="953"/>
                  </a:cubicBezTo>
                  <a:cubicBezTo>
                    <a:pt x="126" y="954"/>
                    <a:pt x="126" y="954"/>
                    <a:pt x="126" y="954"/>
                  </a:cubicBezTo>
                  <a:cubicBezTo>
                    <a:pt x="122" y="955"/>
                    <a:pt x="122" y="955"/>
                    <a:pt x="122" y="955"/>
                  </a:cubicBezTo>
                  <a:cubicBezTo>
                    <a:pt x="117" y="956"/>
                    <a:pt x="117" y="956"/>
                    <a:pt x="117" y="956"/>
                  </a:cubicBezTo>
                  <a:cubicBezTo>
                    <a:pt x="107" y="964"/>
                    <a:pt x="107" y="964"/>
                    <a:pt x="107" y="964"/>
                  </a:cubicBezTo>
                  <a:cubicBezTo>
                    <a:pt x="107" y="965"/>
                    <a:pt x="107" y="965"/>
                    <a:pt x="107" y="965"/>
                  </a:cubicBezTo>
                  <a:cubicBezTo>
                    <a:pt x="107" y="965"/>
                    <a:pt x="107" y="965"/>
                    <a:pt x="107" y="965"/>
                  </a:cubicBezTo>
                  <a:cubicBezTo>
                    <a:pt x="109" y="973"/>
                    <a:pt x="109" y="973"/>
                    <a:pt x="109" y="973"/>
                  </a:cubicBezTo>
                  <a:cubicBezTo>
                    <a:pt x="111" y="973"/>
                    <a:pt x="111" y="973"/>
                    <a:pt x="111" y="973"/>
                  </a:cubicBezTo>
                  <a:cubicBezTo>
                    <a:pt x="117" y="972"/>
                    <a:pt x="117" y="972"/>
                    <a:pt x="117" y="972"/>
                  </a:cubicBezTo>
                  <a:cubicBezTo>
                    <a:pt x="120" y="971"/>
                    <a:pt x="120" y="971"/>
                    <a:pt x="120" y="971"/>
                  </a:cubicBezTo>
                  <a:cubicBezTo>
                    <a:pt x="126" y="969"/>
                    <a:pt x="126" y="969"/>
                    <a:pt x="126" y="969"/>
                  </a:cubicBezTo>
                  <a:cubicBezTo>
                    <a:pt x="127" y="969"/>
                    <a:pt x="127" y="969"/>
                    <a:pt x="127" y="969"/>
                  </a:cubicBezTo>
                  <a:cubicBezTo>
                    <a:pt x="150" y="961"/>
                    <a:pt x="150" y="961"/>
                    <a:pt x="150" y="961"/>
                  </a:cubicBezTo>
                  <a:cubicBezTo>
                    <a:pt x="169" y="954"/>
                    <a:pt x="169" y="954"/>
                    <a:pt x="169" y="954"/>
                  </a:cubicBezTo>
                  <a:cubicBezTo>
                    <a:pt x="173" y="964"/>
                    <a:pt x="173" y="964"/>
                    <a:pt x="173" y="964"/>
                  </a:cubicBezTo>
                  <a:cubicBezTo>
                    <a:pt x="174" y="965"/>
                    <a:pt x="174" y="965"/>
                    <a:pt x="174" y="965"/>
                  </a:cubicBezTo>
                  <a:cubicBezTo>
                    <a:pt x="178" y="971"/>
                    <a:pt x="178" y="971"/>
                    <a:pt x="178" y="971"/>
                  </a:cubicBezTo>
                  <a:cubicBezTo>
                    <a:pt x="178" y="971"/>
                    <a:pt x="178" y="971"/>
                    <a:pt x="178" y="971"/>
                  </a:cubicBezTo>
                  <a:cubicBezTo>
                    <a:pt x="179" y="971"/>
                    <a:pt x="179" y="971"/>
                    <a:pt x="179" y="971"/>
                  </a:cubicBezTo>
                  <a:cubicBezTo>
                    <a:pt x="183" y="971"/>
                    <a:pt x="183" y="971"/>
                    <a:pt x="183" y="971"/>
                  </a:cubicBezTo>
                  <a:cubicBezTo>
                    <a:pt x="201" y="970"/>
                    <a:pt x="201" y="970"/>
                    <a:pt x="201" y="970"/>
                  </a:cubicBezTo>
                  <a:cubicBezTo>
                    <a:pt x="202" y="969"/>
                    <a:pt x="202" y="969"/>
                    <a:pt x="202" y="969"/>
                  </a:cubicBezTo>
                  <a:cubicBezTo>
                    <a:pt x="217" y="959"/>
                    <a:pt x="217" y="959"/>
                    <a:pt x="217" y="959"/>
                  </a:cubicBezTo>
                  <a:cubicBezTo>
                    <a:pt x="218" y="959"/>
                    <a:pt x="218" y="959"/>
                    <a:pt x="218" y="959"/>
                  </a:cubicBezTo>
                  <a:cubicBezTo>
                    <a:pt x="222" y="956"/>
                    <a:pt x="222" y="956"/>
                    <a:pt x="222" y="956"/>
                  </a:cubicBezTo>
                  <a:cubicBezTo>
                    <a:pt x="222" y="955"/>
                    <a:pt x="222" y="955"/>
                    <a:pt x="222" y="955"/>
                  </a:cubicBezTo>
                  <a:cubicBezTo>
                    <a:pt x="228" y="952"/>
                    <a:pt x="228" y="952"/>
                    <a:pt x="228" y="952"/>
                  </a:cubicBezTo>
                  <a:cubicBezTo>
                    <a:pt x="237" y="950"/>
                    <a:pt x="237" y="950"/>
                    <a:pt x="237" y="950"/>
                  </a:cubicBezTo>
                  <a:cubicBezTo>
                    <a:pt x="249" y="956"/>
                    <a:pt x="249" y="956"/>
                    <a:pt x="249" y="956"/>
                  </a:cubicBezTo>
                  <a:cubicBezTo>
                    <a:pt x="255" y="955"/>
                    <a:pt x="255" y="955"/>
                    <a:pt x="255" y="955"/>
                  </a:cubicBezTo>
                  <a:cubicBezTo>
                    <a:pt x="257" y="955"/>
                    <a:pt x="257" y="955"/>
                    <a:pt x="257" y="955"/>
                  </a:cubicBezTo>
                  <a:cubicBezTo>
                    <a:pt x="259" y="950"/>
                    <a:pt x="259" y="950"/>
                    <a:pt x="259" y="950"/>
                  </a:cubicBezTo>
                  <a:cubicBezTo>
                    <a:pt x="261" y="945"/>
                    <a:pt x="261" y="945"/>
                    <a:pt x="261" y="945"/>
                  </a:cubicBezTo>
                  <a:cubicBezTo>
                    <a:pt x="262" y="945"/>
                    <a:pt x="262" y="945"/>
                    <a:pt x="262" y="945"/>
                  </a:cubicBezTo>
                  <a:cubicBezTo>
                    <a:pt x="267" y="945"/>
                    <a:pt x="267" y="945"/>
                    <a:pt x="267" y="945"/>
                  </a:cubicBezTo>
                  <a:cubicBezTo>
                    <a:pt x="268" y="945"/>
                    <a:pt x="268" y="945"/>
                    <a:pt x="268" y="945"/>
                  </a:cubicBezTo>
                  <a:cubicBezTo>
                    <a:pt x="288" y="946"/>
                    <a:pt x="288" y="946"/>
                    <a:pt x="288" y="946"/>
                  </a:cubicBezTo>
                  <a:cubicBezTo>
                    <a:pt x="303" y="934"/>
                    <a:pt x="303" y="934"/>
                    <a:pt x="303" y="934"/>
                  </a:cubicBezTo>
                  <a:cubicBezTo>
                    <a:pt x="320" y="923"/>
                    <a:pt x="320" y="923"/>
                    <a:pt x="320" y="923"/>
                  </a:cubicBezTo>
                  <a:cubicBezTo>
                    <a:pt x="344" y="917"/>
                    <a:pt x="344" y="917"/>
                    <a:pt x="344" y="917"/>
                  </a:cubicBezTo>
                  <a:cubicBezTo>
                    <a:pt x="349" y="913"/>
                    <a:pt x="349" y="913"/>
                    <a:pt x="349" y="913"/>
                  </a:cubicBezTo>
                  <a:cubicBezTo>
                    <a:pt x="359" y="898"/>
                    <a:pt x="359" y="898"/>
                    <a:pt x="359" y="898"/>
                  </a:cubicBezTo>
                  <a:cubicBezTo>
                    <a:pt x="364" y="898"/>
                    <a:pt x="364" y="898"/>
                    <a:pt x="364" y="898"/>
                  </a:cubicBezTo>
                  <a:cubicBezTo>
                    <a:pt x="370" y="898"/>
                    <a:pt x="370" y="898"/>
                    <a:pt x="370" y="898"/>
                  </a:cubicBezTo>
                  <a:cubicBezTo>
                    <a:pt x="387" y="895"/>
                    <a:pt x="387" y="895"/>
                    <a:pt x="387" y="895"/>
                  </a:cubicBezTo>
                  <a:cubicBezTo>
                    <a:pt x="389" y="895"/>
                    <a:pt x="389" y="895"/>
                    <a:pt x="389" y="895"/>
                  </a:cubicBezTo>
                  <a:cubicBezTo>
                    <a:pt x="397" y="893"/>
                    <a:pt x="397" y="893"/>
                    <a:pt x="397" y="893"/>
                  </a:cubicBezTo>
                  <a:cubicBezTo>
                    <a:pt x="397" y="892"/>
                    <a:pt x="397" y="892"/>
                    <a:pt x="397" y="892"/>
                  </a:cubicBezTo>
                  <a:cubicBezTo>
                    <a:pt x="397" y="891"/>
                    <a:pt x="397" y="891"/>
                    <a:pt x="397" y="891"/>
                  </a:cubicBezTo>
                  <a:cubicBezTo>
                    <a:pt x="402" y="882"/>
                    <a:pt x="402" y="882"/>
                    <a:pt x="402" y="882"/>
                  </a:cubicBezTo>
                  <a:cubicBezTo>
                    <a:pt x="416" y="871"/>
                    <a:pt x="416" y="871"/>
                    <a:pt x="416" y="871"/>
                  </a:cubicBezTo>
                  <a:cubicBezTo>
                    <a:pt x="435" y="863"/>
                    <a:pt x="435" y="863"/>
                    <a:pt x="435" y="863"/>
                  </a:cubicBezTo>
                  <a:cubicBezTo>
                    <a:pt x="460" y="853"/>
                    <a:pt x="460" y="853"/>
                    <a:pt x="460" y="853"/>
                  </a:cubicBezTo>
                  <a:cubicBezTo>
                    <a:pt x="462" y="852"/>
                    <a:pt x="462" y="852"/>
                    <a:pt x="462" y="852"/>
                  </a:cubicBezTo>
                  <a:cubicBezTo>
                    <a:pt x="465" y="851"/>
                    <a:pt x="465" y="851"/>
                    <a:pt x="465" y="851"/>
                  </a:cubicBezTo>
                  <a:cubicBezTo>
                    <a:pt x="472" y="838"/>
                    <a:pt x="472" y="838"/>
                    <a:pt x="472" y="838"/>
                  </a:cubicBezTo>
                  <a:cubicBezTo>
                    <a:pt x="472" y="837"/>
                    <a:pt x="472" y="837"/>
                    <a:pt x="472" y="837"/>
                  </a:cubicBezTo>
                  <a:cubicBezTo>
                    <a:pt x="471" y="836"/>
                    <a:pt x="471" y="836"/>
                    <a:pt x="471" y="836"/>
                  </a:cubicBezTo>
                  <a:cubicBezTo>
                    <a:pt x="470" y="836"/>
                    <a:pt x="470" y="836"/>
                    <a:pt x="470" y="836"/>
                  </a:cubicBezTo>
                  <a:cubicBezTo>
                    <a:pt x="466" y="836"/>
                    <a:pt x="466" y="836"/>
                    <a:pt x="466" y="836"/>
                  </a:cubicBezTo>
                  <a:cubicBezTo>
                    <a:pt x="464" y="836"/>
                    <a:pt x="464" y="836"/>
                    <a:pt x="464" y="836"/>
                  </a:cubicBezTo>
                  <a:cubicBezTo>
                    <a:pt x="463" y="835"/>
                    <a:pt x="463" y="835"/>
                    <a:pt x="463" y="835"/>
                  </a:cubicBezTo>
                  <a:cubicBezTo>
                    <a:pt x="461" y="831"/>
                    <a:pt x="461" y="831"/>
                    <a:pt x="461" y="831"/>
                  </a:cubicBezTo>
                  <a:cubicBezTo>
                    <a:pt x="461" y="830"/>
                    <a:pt x="461" y="830"/>
                    <a:pt x="461" y="830"/>
                  </a:cubicBezTo>
                  <a:cubicBezTo>
                    <a:pt x="461" y="829"/>
                    <a:pt x="461" y="829"/>
                    <a:pt x="461" y="829"/>
                  </a:cubicBezTo>
                  <a:cubicBezTo>
                    <a:pt x="464" y="827"/>
                    <a:pt x="464" y="827"/>
                    <a:pt x="464" y="827"/>
                  </a:cubicBezTo>
                  <a:cubicBezTo>
                    <a:pt x="490" y="820"/>
                    <a:pt x="490" y="820"/>
                    <a:pt x="490" y="820"/>
                  </a:cubicBezTo>
                  <a:cubicBezTo>
                    <a:pt x="500" y="818"/>
                    <a:pt x="500" y="818"/>
                    <a:pt x="500" y="818"/>
                  </a:cubicBezTo>
                  <a:cubicBezTo>
                    <a:pt x="512" y="818"/>
                    <a:pt x="512" y="818"/>
                    <a:pt x="512" y="818"/>
                  </a:cubicBezTo>
                  <a:cubicBezTo>
                    <a:pt x="540" y="821"/>
                    <a:pt x="540" y="821"/>
                    <a:pt x="540" y="821"/>
                  </a:cubicBezTo>
                  <a:cubicBezTo>
                    <a:pt x="542" y="821"/>
                    <a:pt x="542" y="821"/>
                    <a:pt x="542" y="821"/>
                  </a:cubicBezTo>
                  <a:cubicBezTo>
                    <a:pt x="552" y="820"/>
                    <a:pt x="552" y="820"/>
                    <a:pt x="552" y="820"/>
                  </a:cubicBezTo>
                  <a:cubicBezTo>
                    <a:pt x="556" y="819"/>
                    <a:pt x="556" y="819"/>
                    <a:pt x="556" y="819"/>
                  </a:cubicBezTo>
                  <a:cubicBezTo>
                    <a:pt x="558" y="818"/>
                    <a:pt x="558" y="818"/>
                    <a:pt x="558" y="818"/>
                  </a:cubicBezTo>
                  <a:cubicBezTo>
                    <a:pt x="562" y="811"/>
                    <a:pt x="562" y="811"/>
                    <a:pt x="562" y="811"/>
                  </a:cubicBezTo>
                  <a:cubicBezTo>
                    <a:pt x="562" y="802"/>
                    <a:pt x="562" y="802"/>
                    <a:pt x="562" y="802"/>
                  </a:cubicBezTo>
                  <a:cubicBezTo>
                    <a:pt x="591" y="800"/>
                    <a:pt x="591" y="800"/>
                    <a:pt x="591" y="800"/>
                  </a:cubicBezTo>
                  <a:cubicBezTo>
                    <a:pt x="599" y="801"/>
                    <a:pt x="599" y="801"/>
                    <a:pt x="599" y="801"/>
                  </a:cubicBezTo>
                  <a:cubicBezTo>
                    <a:pt x="616" y="807"/>
                    <a:pt x="616" y="807"/>
                    <a:pt x="616" y="807"/>
                  </a:cubicBezTo>
                  <a:cubicBezTo>
                    <a:pt x="644" y="807"/>
                    <a:pt x="644" y="807"/>
                    <a:pt x="644" y="807"/>
                  </a:cubicBezTo>
                  <a:cubicBezTo>
                    <a:pt x="655" y="789"/>
                    <a:pt x="655" y="789"/>
                    <a:pt x="655" y="789"/>
                  </a:cubicBezTo>
                  <a:cubicBezTo>
                    <a:pt x="646" y="778"/>
                    <a:pt x="646" y="778"/>
                    <a:pt x="646" y="778"/>
                  </a:cubicBezTo>
                  <a:cubicBezTo>
                    <a:pt x="645" y="777"/>
                    <a:pt x="645" y="777"/>
                    <a:pt x="645" y="777"/>
                  </a:cubicBezTo>
                  <a:cubicBezTo>
                    <a:pt x="645" y="776"/>
                    <a:pt x="645" y="776"/>
                    <a:pt x="645" y="776"/>
                  </a:cubicBezTo>
                  <a:cubicBezTo>
                    <a:pt x="645" y="770"/>
                    <a:pt x="645" y="770"/>
                    <a:pt x="645" y="770"/>
                  </a:cubicBezTo>
                  <a:cubicBezTo>
                    <a:pt x="645" y="769"/>
                    <a:pt x="645" y="769"/>
                    <a:pt x="645" y="769"/>
                  </a:cubicBezTo>
                  <a:cubicBezTo>
                    <a:pt x="645" y="767"/>
                    <a:pt x="645" y="767"/>
                    <a:pt x="645" y="767"/>
                  </a:cubicBezTo>
                  <a:cubicBezTo>
                    <a:pt x="646" y="766"/>
                    <a:pt x="646" y="766"/>
                    <a:pt x="646" y="766"/>
                  </a:cubicBezTo>
                  <a:cubicBezTo>
                    <a:pt x="647" y="766"/>
                    <a:pt x="647" y="766"/>
                    <a:pt x="647" y="766"/>
                  </a:cubicBezTo>
                  <a:cubicBezTo>
                    <a:pt x="657" y="757"/>
                    <a:pt x="657" y="757"/>
                    <a:pt x="657" y="757"/>
                  </a:cubicBezTo>
                  <a:cubicBezTo>
                    <a:pt x="678" y="726"/>
                    <a:pt x="678" y="726"/>
                    <a:pt x="678" y="726"/>
                  </a:cubicBezTo>
                  <a:cubicBezTo>
                    <a:pt x="683" y="718"/>
                    <a:pt x="683" y="718"/>
                    <a:pt x="683" y="718"/>
                  </a:cubicBezTo>
                  <a:cubicBezTo>
                    <a:pt x="683" y="716"/>
                    <a:pt x="683" y="716"/>
                    <a:pt x="683" y="716"/>
                  </a:cubicBezTo>
                  <a:cubicBezTo>
                    <a:pt x="683" y="710"/>
                    <a:pt x="683" y="710"/>
                    <a:pt x="683" y="710"/>
                  </a:cubicBezTo>
                  <a:cubicBezTo>
                    <a:pt x="682" y="703"/>
                    <a:pt x="682" y="703"/>
                    <a:pt x="682" y="703"/>
                  </a:cubicBezTo>
                  <a:cubicBezTo>
                    <a:pt x="681" y="702"/>
                    <a:pt x="681" y="702"/>
                    <a:pt x="681" y="702"/>
                  </a:cubicBezTo>
                  <a:cubicBezTo>
                    <a:pt x="680" y="700"/>
                    <a:pt x="680" y="700"/>
                    <a:pt x="680" y="700"/>
                  </a:cubicBezTo>
                  <a:cubicBezTo>
                    <a:pt x="680" y="697"/>
                    <a:pt x="680" y="697"/>
                    <a:pt x="680" y="697"/>
                  </a:cubicBezTo>
                  <a:cubicBezTo>
                    <a:pt x="681" y="692"/>
                    <a:pt x="681" y="692"/>
                    <a:pt x="681" y="692"/>
                  </a:cubicBezTo>
                  <a:cubicBezTo>
                    <a:pt x="681" y="689"/>
                    <a:pt x="681" y="689"/>
                    <a:pt x="681" y="689"/>
                  </a:cubicBezTo>
                  <a:cubicBezTo>
                    <a:pt x="694" y="654"/>
                    <a:pt x="694" y="654"/>
                    <a:pt x="694" y="654"/>
                  </a:cubicBezTo>
                  <a:cubicBezTo>
                    <a:pt x="696" y="647"/>
                    <a:pt x="696" y="647"/>
                    <a:pt x="696" y="647"/>
                  </a:cubicBezTo>
                  <a:cubicBezTo>
                    <a:pt x="707" y="631"/>
                    <a:pt x="707" y="631"/>
                    <a:pt x="707" y="631"/>
                  </a:cubicBezTo>
                  <a:cubicBezTo>
                    <a:pt x="714" y="617"/>
                    <a:pt x="714" y="617"/>
                    <a:pt x="714" y="617"/>
                  </a:cubicBezTo>
                  <a:lnTo>
                    <a:pt x="711" y="57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8" name="Freeform 14"/>
            <p:cNvSpPr>
              <a:spLocks noEditPoints="1"/>
            </p:cNvSpPr>
            <p:nvPr/>
          </p:nvSpPr>
          <p:spPr bwMode="auto">
            <a:xfrm>
              <a:off x="1417513" y="4177978"/>
              <a:ext cx="882650" cy="714375"/>
            </a:xfrm>
            <a:custGeom>
              <a:avLst/>
              <a:gdLst>
                <a:gd name="T0" fmla="*/ 385 w 399"/>
                <a:gd name="T1" fmla="*/ 174 h 323"/>
                <a:gd name="T2" fmla="*/ 378 w 399"/>
                <a:gd name="T3" fmla="*/ 160 h 323"/>
                <a:gd name="T4" fmla="*/ 335 w 399"/>
                <a:gd name="T5" fmla="*/ 174 h 323"/>
                <a:gd name="T6" fmla="*/ 330 w 399"/>
                <a:gd name="T7" fmla="*/ 178 h 323"/>
                <a:gd name="T8" fmla="*/ 335 w 399"/>
                <a:gd name="T9" fmla="*/ 157 h 323"/>
                <a:gd name="T10" fmla="*/ 348 w 399"/>
                <a:gd name="T11" fmla="*/ 149 h 323"/>
                <a:gd name="T12" fmla="*/ 362 w 399"/>
                <a:gd name="T13" fmla="*/ 141 h 323"/>
                <a:gd name="T14" fmla="*/ 362 w 399"/>
                <a:gd name="T15" fmla="*/ 127 h 323"/>
                <a:gd name="T16" fmla="*/ 354 w 399"/>
                <a:gd name="T17" fmla="*/ 115 h 323"/>
                <a:gd name="T18" fmla="*/ 313 w 399"/>
                <a:gd name="T19" fmla="*/ 63 h 323"/>
                <a:gd name="T20" fmla="*/ 309 w 399"/>
                <a:gd name="T21" fmla="*/ 30 h 323"/>
                <a:gd name="T22" fmla="*/ 298 w 399"/>
                <a:gd name="T23" fmla="*/ 22 h 323"/>
                <a:gd name="T24" fmla="*/ 232 w 399"/>
                <a:gd name="T25" fmla="*/ 24 h 323"/>
                <a:gd name="T26" fmla="*/ 178 w 399"/>
                <a:gd name="T27" fmla="*/ 36 h 323"/>
                <a:gd name="T28" fmla="*/ 162 w 399"/>
                <a:gd name="T29" fmla="*/ 65 h 323"/>
                <a:gd name="T30" fmla="*/ 147 w 399"/>
                <a:gd name="T31" fmla="*/ 59 h 323"/>
                <a:gd name="T32" fmla="*/ 136 w 399"/>
                <a:gd name="T33" fmla="*/ 61 h 323"/>
                <a:gd name="T34" fmla="*/ 114 w 399"/>
                <a:gd name="T35" fmla="*/ 76 h 323"/>
                <a:gd name="T36" fmla="*/ 111 w 399"/>
                <a:gd name="T37" fmla="*/ 96 h 323"/>
                <a:gd name="T38" fmla="*/ 93 w 399"/>
                <a:gd name="T39" fmla="*/ 135 h 323"/>
                <a:gd name="T40" fmla="*/ 53 w 399"/>
                <a:gd name="T41" fmla="*/ 144 h 323"/>
                <a:gd name="T42" fmla="*/ 37 w 399"/>
                <a:gd name="T43" fmla="*/ 152 h 323"/>
                <a:gd name="T44" fmla="*/ 69 w 399"/>
                <a:gd name="T45" fmla="*/ 168 h 323"/>
                <a:gd name="T46" fmla="*/ 42 w 399"/>
                <a:gd name="T47" fmla="*/ 190 h 323"/>
                <a:gd name="T48" fmla="*/ 17 w 399"/>
                <a:gd name="T49" fmla="*/ 230 h 323"/>
                <a:gd name="T50" fmla="*/ 46 w 399"/>
                <a:gd name="T51" fmla="*/ 269 h 323"/>
                <a:gd name="T52" fmla="*/ 74 w 399"/>
                <a:gd name="T53" fmla="*/ 280 h 323"/>
                <a:gd name="T54" fmla="*/ 83 w 399"/>
                <a:gd name="T55" fmla="*/ 291 h 323"/>
                <a:gd name="T56" fmla="*/ 125 w 399"/>
                <a:gd name="T57" fmla="*/ 292 h 323"/>
                <a:gd name="T58" fmla="*/ 162 w 399"/>
                <a:gd name="T59" fmla="*/ 220 h 323"/>
                <a:gd name="T60" fmla="*/ 191 w 399"/>
                <a:gd name="T61" fmla="*/ 250 h 323"/>
                <a:gd name="T62" fmla="*/ 196 w 399"/>
                <a:gd name="T63" fmla="*/ 269 h 323"/>
                <a:gd name="T64" fmla="*/ 212 w 399"/>
                <a:gd name="T65" fmla="*/ 277 h 323"/>
                <a:gd name="T66" fmla="*/ 223 w 399"/>
                <a:gd name="T67" fmla="*/ 292 h 323"/>
                <a:gd name="T68" fmla="*/ 219 w 399"/>
                <a:gd name="T69" fmla="*/ 307 h 323"/>
                <a:gd name="T70" fmla="*/ 259 w 399"/>
                <a:gd name="T71" fmla="*/ 310 h 323"/>
                <a:gd name="T72" fmla="*/ 271 w 399"/>
                <a:gd name="T73" fmla="*/ 302 h 323"/>
                <a:gd name="T74" fmla="*/ 282 w 399"/>
                <a:gd name="T75" fmla="*/ 306 h 323"/>
                <a:gd name="T76" fmla="*/ 297 w 399"/>
                <a:gd name="T77" fmla="*/ 319 h 323"/>
                <a:gd name="T78" fmla="*/ 308 w 399"/>
                <a:gd name="T79" fmla="*/ 322 h 323"/>
                <a:gd name="T80" fmla="*/ 331 w 399"/>
                <a:gd name="T81" fmla="*/ 301 h 323"/>
                <a:gd name="T82" fmla="*/ 333 w 399"/>
                <a:gd name="T83" fmla="*/ 280 h 323"/>
                <a:gd name="T84" fmla="*/ 336 w 399"/>
                <a:gd name="T85" fmla="*/ 273 h 323"/>
                <a:gd name="T86" fmla="*/ 361 w 399"/>
                <a:gd name="T87" fmla="*/ 269 h 323"/>
                <a:gd name="T88" fmla="*/ 373 w 399"/>
                <a:gd name="T89" fmla="*/ 268 h 323"/>
                <a:gd name="T90" fmla="*/ 382 w 399"/>
                <a:gd name="T91" fmla="*/ 242 h 323"/>
                <a:gd name="T92" fmla="*/ 360 w 399"/>
                <a:gd name="T93" fmla="*/ 196 h 323"/>
                <a:gd name="T94" fmla="*/ 366 w 399"/>
                <a:gd name="T95" fmla="*/ 188 h 323"/>
                <a:gd name="T96" fmla="*/ 382 w 399"/>
                <a:gd name="T97" fmla="*/ 204 h 323"/>
                <a:gd name="T98" fmla="*/ 383 w 399"/>
                <a:gd name="T99" fmla="*/ 218 h 323"/>
                <a:gd name="T100" fmla="*/ 378 w 399"/>
                <a:gd name="T101" fmla="*/ 228 h 323"/>
                <a:gd name="T102" fmla="*/ 387 w 399"/>
                <a:gd name="T103" fmla="*/ 247 h 323"/>
                <a:gd name="T104" fmla="*/ 394 w 399"/>
                <a:gd name="T105" fmla="*/ 234 h 323"/>
                <a:gd name="T106" fmla="*/ 399 w 399"/>
                <a:gd name="T107" fmla="*/ 207 h 323"/>
                <a:gd name="T108" fmla="*/ 292 w 399"/>
                <a:gd name="T109" fmla="*/ 11 h 323"/>
                <a:gd name="T110" fmla="*/ 293 w 399"/>
                <a:gd name="T111" fmla="*/ 3 h 323"/>
                <a:gd name="T112" fmla="*/ 281 w 399"/>
                <a:gd name="T113" fmla="*/ 1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99" h="323">
                  <a:moveTo>
                    <a:pt x="399" y="207"/>
                  </a:moveTo>
                  <a:cubicBezTo>
                    <a:pt x="393" y="194"/>
                    <a:pt x="393" y="194"/>
                    <a:pt x="393" y="194"/>
                  </a:cubicBezTo>
                  <a:cubicBezTo>
                    <a:pt x="386" y="178"/>
                    <a:pt x="386" y="178"/>
                    <a:pt x="386" y="178"/>
                  </a:cubicBezTo>
                  <a:cubicBezTo>
                    <a:pt x="385" y="176"/>
                    <a:pt x="385" y="176"/>
                    <a:pt x="385" y="176"/>
                  </a:cubicBezTo>
                  <a:cubicBezTo>
                    <a:pt x="385" y="174"/>
                    <a:pt x="385" y="174"/>
                    <a:pt x="385" y="174"/>
                  </a:cubicBezTo>
                  <a:cubicBezTo>
                    <a:pt x="385" y="172"/>
                    <a:pt x="385" y="172"/>
                    <a:pt x="385" y="172"/>
                  </a:cubicBezTo>
                  <a:cubicBezTo>
                    <a:pt x="385" y="167"/>
                    <a:pt x="385" y="167"/>
                    <a:pt x="385" y="167"/>
                  </a:cubicBezTo>
                  <a:cubicBezTo>
                    <a:pt x="384" y="166"/>
                    <a:pt x="384" y="166"/>
                    <a:pt x="384" y="166"/>
                  </a:cubicBezTo>
                  <a:cubicBezTo>
                    <a:pt x="379" y="160"/>
                    <a:pt x="379" y="160"/>
                    <a:pt x="379" y="160"/>
                  </a:cubicBezTo>
                  <a:cubicBezTo>
                    <a:pt x="378" y="160"/>
                    <a:pt x="378" y="160"/>
                    <a:pt x="378" y="160"/>
                  </a:cubicBezTo>
                  <a:cubicBezTo>
                    <a:pt x="371" y="159"/>
                    <a:pt x="371" y="159"/>
                    <a:pt x="371" y="159"/>
                  </a:cubicBezTo>
                  <a:cubicBezTo>
                    <a:pt x="353" y="160"/>
                    <a:pt x="353" y="160"/>
                    <a:pt x="353" y="160"/>
                  </a:cubicBezTo>
                  <a:cubicBezTo>
                    <a:pt x="345" y="164"/>
                    <a:pt x="345" y="164"/>
                    <a:pt x="345" y="164"/>
                  </a:cubicBezTo>
                  <a:cubicBezTo>
                    <a:pt x="337" y="169"/>
                    <a:pt x="337" y="169"/>
                    <a:pt x="337" y="169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34" y="176"/>
                    <a:pt x="334" y="176"/>
                    <a:pt x="334" y="176"/>
                  </a:cubicBezTo>
                  <a:cubicBezTo>
                    <a:pt x="333" y="178"/>
                    <a:pt x="333" y="178"/>
                    <a:pt x="333" y="178"/>
                  </a:cubicBezTo>
                  <a:cubicBezTo>
                    <a:pt x="333" y="178"/>
                    <a:pt x="333" y="178"/>
                    <a:pt x="333" y="178"/>
                  </a:cubicBezTo>
                  <a:cubicBezTo>
                    <a:pt x="331" y="179"/>
                    <a:pt x="331" y="179"/>
                    <a:pt x="331" y="179"/>
                  </a:cubicBezTo>
                  <a:cubicBezTo>
                    <a:pt x="330" y="178"/>
                    <a:pt x="330" y="178"/>
                    <a:pt x="330" y="178"/>
                  </a:cubicBezTo>
                  <a:cubicBezTo>
                    <a:pt x="330" y="177"/>
                    <a:pt x="330" y="177"/>
                    <a:pt x="330" y="177"/>
                  </a:cubicBezTo>
                  <a:cubicBezTo>
                    <a:pt x="327" y="171"/>
                    <a:pt x="327" y="171"/>
                    <a:pt x="327" y="171"/>
                  </a:cubicBezTo>
                  <a:cubicBezTo>
                    <a:pt x="327" y="170"/>
                    <a:pt x="327" y="170"/>
                    <a:pt x="327" y="170"/>
                  </a:cubicBezTo>
                  <a:cubicBezTo>
                    <a:pt x="332" y="161"/>
                    <a:pt x="332" y="161"/>
                    <a:pt x="332" y="161"/>
                  </a:cubicBezTo>
                  <a:cubicBezTo>
                    <a:pt x="335" y="157"/>
                    <a:pt x="335" y="157"/>
                    <a:pt x="335" y="157"/>
                  </a:cubicBezTo>
                  <a:cubicBezTo>
                    <a:pt x="336" y="156"/>
                    <a:pt x="336" y="156"/>
                    <a:pt x="336" y="156"/>
                  </a:cubicBezTo>
                  <a:cubicBezTo>
                    <a:pt x="336" y="156"/>
                    <a:pt x="336" y="156"/>
                    <a:pt x="336" y="156"/>
                  </a:cubicBezTo>
                  <a:cubicBezTo>
                    <a:pt x="342" y="152"/>
                    <a:pt x="342" y="152"/>
                    <a:pt x="342" y="152"/>
                  </a:cubicBezTo>
                  <a:cubicBezTo>
                    <a:pt x="343" y="151"/>
                    <a:pt x="343" y="151"/>
                    <a:pt x="343" y="151"/>
                  </a:cubicBezTo>
                  <a:cubicBezTo>
                    <a:pt x="348" y="149"/>
                    <a:pt x="348" y="149"/>
                    <a:pt x="348" y="149"/>
                  </a:cubicBezTo>
                  <a:cubicBezTo>
                    <a:pt x="354" y="148"/>
                    <a:pt x="354" y="148"/>
                    <a:pt x="354" y="148"/>
                  </a:cubicBezTo>
                  <a:cubicBezTo>
                    <a:pt x="355" y="148"/>
                    <a:pt x="355" y="148"/>
                    <a:pt x="355" y="148"/>
                  </a:cubicBezTo>
                  <a:cubicBezTo>
                    <a:pt x="359" y="144"/>
                    <a:pt x="359" y="144"/>
                    <a:pt x="359" y="144"/>
                  </a:cubicBezTo>
                  <a:cubicBezTo>
                    <a:pt x="360" y="143"/>
                    <a:pt x="360" y="143"/>
                    <a:pt x="360" y="143"/>
                  </a:cubicBezTo>
                  <a:cubicBezTo>
                    <a:pt x="362" y="141"/>
                    <a:pt x="362" y="141"/>
                    <a:pt x="362" y="141"/>
                  </a:cubicBezTo>
                  <a:cubicBezTo>
                    <a:pt x="362" y="140"/>
                    <a:pt x="362" y="140"/>
                    <a:pt x="362" y="140"/>
                  </a:cubicBezTo>
                  <a:cubicBezTo>
                    <a:pt x="362" y="139"/>
                    <a:pt x="362" y="139"/>
                    <a:pt x="362" y="139"/>
                  </a:cubicBezTo>
                  <a:cubicBezTo>
                    <a:pt x="362" y="137"/>
                    <a:pt x="362" y="137"/>
                    <a:pt x="362" y="137"/>
                  </a:cubicBezTo>
                  <a:cubicBezTo>
                    <a:pt x="362" y="134"/>
                    <a:pt x="362" y="134"/>
                    <a:pt x="362" y="134"/>
                  </a:cubicBezTo>
                  <a:cubicBezTo>
                    <a:pt x="362" y="127"/>
                    <a:pt x="362" y="127"/>
                    <a:pt x="362" y="127"/>
                  </a:cubicBezTo>
                  <a:cubicBezTo>
                    <a:pt x="362" y="126"/>
                    <a:pt x="362" y="126"/>
                    <a:pt x="362" y="126"/>
                  </a:cubicBezTo>
                  <a:cubicBezTo>
                    <a:pt x="359" y="120"/>
                    <a:pt x="359" y="120"/>
                    <a:pt x="359" y="120"/>
                  </a:cubicBezTo>
                  <a:cubicBezTo>
                    <a:pt x="356" y="116"/>
                    <a:pt x="356" y="116"/>
                    <a:pt x="356" y="116"/>
                  </a:cubicBezTo>
                  <a:cubicBezTo>
                    <a:pt x="355" y="116"/>
                    <a:pt x="355" y="116"/>
                    <a:pt x="355" y="116"/>
                  </a:cubicBezTo>
                  <a:cubicBezTo>
                    <a:pt x="354" y="115"/>
                    <a:pt x="354" y="115"/>
                    <a:pt x="354" y="115"/>
                  </a:cubicBezTo>
                  <a:cubicBezTo>
                    <a:pt x="350" y="114"/>
                    <a:pt x="350" y="114"/>
                    <a:pt x="350" y="114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48" y="115"/>
                    <a:pt x="348" y="115"/>
                    <a:pt x="348" y="115"/>
                  </a:cubicBezTo>
                  <a:cubicBezTo>
                    <a:pt x="347" y="116"/>
                    <a:pt x="347" y="116"/>
                    <a:pt x="347" y="116"/>
                  </a:cubicBezTo>
                  <a:cubicBezTo>
                    <a:pt x="313" y="63"/>
                    <a:pt x="313" y="63"/>
                    <a:pt x="313" y="63"/>
                  </a:cubicBezTo>
                  <a:cubicBezTo>
                    <a:pt x="312" y="52"/>
                    <a:pt x="312" y="52"/>
                    <a:pt x="312" y="52"/>
                  </a:cubicBezTo>
                  <a:cubicBezTo>
                    <a:pt x="313" y="39"/>
                    <a:pt x="313" y="39"/>
                    <a:pt x="313" y="39"/>
                  </a:cubicBezTo>
                  <a:cubicBezTo>
                    <a:pt x="313" y="39"/>
                    <a:pt x="313" y="39"/>
                    <a:pt x="313" y="39"/>
                  </a:cubicBezTo>
                  <a:cubicBezTo>
                    <a:pt x="313" y="37"/>
                    <a:pt x="313" y="37"/>
                    <a:pt x="313" y="37"/>
                  </a:cubicBezTo>
                  <a:cubicBezTo>
                    <a:pt x="309" y="30"/>
                    <a:pt x="309" y="30"/>
                    <a:pt x="309" y="30"/>
                  </a:cubicBezTo>
                  <a:cubicBezTo>
                    <a:pt x="309" y="29"/>
                    <a:pt x="309" y="29"/>
                    <a:pt x="309" y="29"/>
                  </a:cubicBezTo>
                  <a:cubicBezTo>
                    <a:pt x="307" y="27"/>
                    <a:pt x="307" y="27"/>
                    <a:pt x="307" y="27"/>
                  </a:cubicBezTo>
                  <a:cubicBezTo>
                    <a:pt x="304" y="25"/>
                    <a:pt x="304" y="25"/>
                    <a:pt x="304" y="25"/>
                  </a:cubicBezTo>
                  <a:cubicBezTo>
                    <a:pt x="303" y="25"/>
                    <a:pt x="303" y="25"/>
                    <a:pt x="303" y="25"/>
                  </a:cubicBezTo>
                  <a:cubicBezTo>
                    <a:pt x="298" y="22"/>
                    <a:pt x="298" y="22"/>
                    <a:pt x="298" y="22"/>
                  </a:cubicBezTo>
                  <a:cubicBezTo>
                    <a:pt x="268" y="17"/>
                    <a:pt x="268" y="17"/>
                    <a:pt x="268" y="17"/>
                  </a:cubicBezTo>
                  <a:cubicBezTo>
                    <a:pt x="264" y="17"/>
                    <a:pt x="264" y="17"/>
                    <a:pt x="264" y="17"/>
                  </a:cubicBezTo>
                  <a:cubicBezTo>
                    <a:pt x="263" y="17"/>
                    <a:pt x="263" y="17"/>
                    <a:pt x="263" y="17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2" y="24"/>
                    <a:pt x="232" y="24"/>
                    <a:pt x="232" y="24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199" y="33"/>
                    <a:pt x="199" y="33"/>
                    <a:pt x="199" y="33"/>
                  </a:cubicBezTo>
                  <a:cubicBezTo>
                    <a:pt x="193" y="33"/>
                    <a:pt x="193" y="33"/>
                    <a:pt x="193" y="33"/>
                  </a:cubicBezTo>
                  <a:cubicBezTo>
                    <a:pt x="190" y="33"/>
                    <a:pt x="190" y="33"/>
                    <a:pt x="190" y="33"/>
                  </a:cubicBezTo>
                  <a:cubicBezTo>
                    <a:pt x="178" y="36"/>
                    <a:pt x="178" y="36"/>
                    <a:pt x="178" y="36"/>
                  </a:cubicBezTo>
                  <a:cubicBezTo>
                    <a:pt x="174" y="47"/>
                    <a:pt x="174" y="47"/>
                    <a:pt x="174" y="47"/>
                  </a:cubicBezTo>
                  <a:cubicBezTo>
                    <a:pt x="170" y="57"/>
                    <a:pt x="170" y="57"/>
                    <a:pt x="170" y="57"/>
                  </a:cubicBezTo>
                  <a:cubicBezTo>
                    <a:pt x="169" y="59"/>
                    <a:pt x="169" y="59"/>
                    <a:pt x="169" y="59"/>
                  </a:cubicBezTo>
                  <a:cubicBezTo>
                    <a:pt x="165" y="63"/>
                    <a:pt x="165" y="63"/>
                    <a:pt x="165" y="63"/>
                  </a:cubicBezTo>
                  <a:cubicBezTo>
                    <a:pt x="162" y="65"/>
                    <a:pt x="162" y="65"/>
                    <a:pt x="162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56" y="64"/>
                    <a:pt x="156" y="64"/>
                    <a:pt x="156" y="64"/>
                  </a:cubicBezTo>
                  <a:cubicBezTo>
                    <a:pt x="152" y="63"/>
                    <a:pt x="152" y="63"/>
                    <a:pt x="152" y="63"/>
                  </a:cubicBezTo>
                  <a:cubicBezTo>
                    <a:pt x="149" y="60"/>
                    <a:pt x="149" y="60"/>
                    <a:pt x="149" y="60"/>
                  </a:cubicBezTo>
                  <a:cubicBezTo>
                    <a:pt x="147" y="59"/>
                    <a:pt x="147" y="59"/>
                    <a:pt x="147" y="59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0" y="61"/>
                    <a:pt x="140" y="61"/>
                    <a:pt x="140" y="61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6" y="61"/>
                    <a:pt x="136" y="61"/>
                    <a:pt x="136" y="61"/>
                  </a:cubicBezTo>
                  <a:cubicBezTo>
                    <a:pt x="136" y="61"/>
                    <a:pt x="136" y="61"/>
                    <a:pt x="136" y="61"/>
                  </a:cubicBezTo>
                  <a:cubicBezTo>
                    <a:pt x="134" y="62"/>
                    <a:pt x="134" y="62"/>
                    <a:pt x="134" y="62"/>
                  </a:cubicBezTo>
                  <a:cubicBezTo>
                    <a:pt x="133" y="62"/>
                    <a:pt x="133" y="62"/>
                    <a:pt x="133" y="62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0" y="67"/>
                    <a:pt x="120" y="67"/>
                    <a:pt x="120" y="67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92"/>
                    <a:pt x="112" y="92"/>
                    <a:pt x="112" y="92"/>
                  </a:cubicBezTo>
                  <a:cubicBezTo>
                    <a:pt x="112" y="93"/>
                    <a:pt x="111" y="95"/>
                    <a:pt x="111" y="9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10" y="98"/>
                    <a:pt x="110" y="98"/>
                    <a:pt x="110" y="98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06" y="110"/>
                    <a:pt x="106" y="110"/>
                    <a:pt x="106" y="110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61" y="148"/>
                    <a:pt x="61" y="148"/>
                    <a:pt x="61" y="148"/>
                  </a:cubicBezTo>
                  <a:cubicBezTo>
                    <a:pt x="59" y="148"/>
                    <a:pt x="59" y="148"/>
                    <a:pt x="59" y="148"/>
                  </a:cubicBezTo>
                  <a:cubicBezTo>
                    <a:pt x="56" y="146"/>
                    <a:pt x="56" y="146"/>
                    <a:pt x="56" y="146"/>
                  </a:cubicBezTo>
                  <a:cubicBezTo>
                    <a:pt x="54" y="145"/>
                    <a:pt x="54" y="145"/>
                    <a:pt x="54" y="145"/>
                  </a:cubicBezTo>
                  <a:cubicBezTo>
                    <a:pt x="53" y="144"/>
                    <a:pt x="53" y="144"/>
                    <a:pt x="53" y="144"/>
                  </a:cubicBezTo>
                  <a:cubicBezTo>
                    <a:pt x="47" y="139"/>
                    <a:pt x="47" y="139"/>
                    <a:pt x="47" y="139"/>
                  </a:cubicBezTo>
                  <a:cubicBezTo>
                    <a:pt x="46" y="139"/>
                    <a:pt x="46" y="139"/>
                    <a:pt x="46" y="139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39" y="149"/>
                    <a:pt x="39" y="149"/>
                    <a:pt x="39" y="149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44" y="161"/>
                    <a:pt x="44" y="161"/>
                    <a:pt x="44" y="161"/>
                  </a:cubicBezTo>
                  <a:cubicBezTo>
                    <a:pt x="53" y="162"/>
                    <a:pt x="53" y="162"/>
                    <a:pt x="53" y="162"/>
                  </a:cubicBezTo>
                  <a:cubicBezTo>
                    <a:pt x="67" y="164"/>
                    <a:pt x="67" y="164"/>
                    <a:pt x="67" y="164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9" y="168"/>
                    <a:pt x="69" y="168"/>
                    <a:pt x="69" y="168"/>
                  </a:cubicBezTo>
                  <a:cubicBezTo>
                    <a:pt x="70" y="171"/>
                    <a:pt x="69" y="172"/>
                    <a:pt x="68" y="172"/>
                  </a:cubicBezTo>
                  <a:cubicBezTo>
                    <a:pt x="68" y="172"/>
                    <a:pt x="68" y="172"/>
                    <a:pt x="68" y="171"/>
                  </a:cubicBezTo>
                  <a:cubicBezTo>
                    <a:pt x="48" y="187"/>
                    <a:pt x="48" y="187"/>
                    <a:pt x="48" y="187"/>
                  </a:cubicBezTo>
                  <a:cubicBezTo>
                    <a:pt x="44" y="190"/>
                    <a:pt x="44" y="190"/>
                    <a:pt x="44" y="190"/>
                  </a:cubicBezTo>
                  <a:cubicBezTo>
                    <a:pt x="42" y="190"/>
                    <a:pt x="42" y="190"/>
                    <a:pt x="42" y="190"/>
                  </a:cubicBezTo>
                  <a:cubicBezTo>
                    <a:pt x="28" y="190"/>
                    <a:pt x="28" y="190"/>
                    <a:pt x="28" y="190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1" y="210"/>
                    <a:pt x="1" y="210"/>
                    <a:pt x="1" y="210"/>
                  </a:cubicBezTo>
                  <a:cubicBezTo>
                    <a:pt x="15" y="228"/>
                    <a:pt x="15" y="228"/>
                    <a:pt x="15" y="228"/>
                  </a:cubicBezTo>
                  <a:cubicBezTo>
                    <a:pt x="17" y="230"/>
                    <a:pt x="17" y="230"/>
                    <a:pt x="17" y="230"/>
                  </a:cubicBezTo>
                  <a:cubicBezTo>
                    <a:pt x="26" y="239"/>
                    <a:pt x="26" y="239"/>
                    <a:pt x="26" y="239"/>
                  </a:cubicBezTo>
                  <a:cubicBezTo>
                    <a:pt x="34" y="249"/>
                    <a:pt x="34" y="249"/>
                    <a:pt x="34" y="249"/>
                  </a:cubicBezTo>
                  <a:cubicBezTo>
                    <a:pt x="40" y="264"/>
                    <a:pt x="40" y="264"/>
                    <a:pt x="40" y="264"/>
                  </a:cubicBezTo>
                  <a:cubicBezTo>
                    <a:pt x="41" y="268"/>
                    <a:pt x="41" y="268"/>
                    <a:pt x="41" y="268"/>
                  </a:cubicBezTo>
                  <a:cubicBezTo>
                    <a:pt x="46" y="269"/>
                    <a:pt x="46" y="269"/>
                    <a:pt x="46" y="269"/>
                  </a:cubicBezTo>
                  <a:cubicBezTo>
                    <a:pt x="56" y="270"/>
                    <a:pt x="56" y="270"/>
                    <a:pt x="56" y="270"/>
                  </a:cubicBezTo>
                  <a:cubicBezTo>
                    <a:pt x="62" y="271"/>
                    <a:pt x="62" y="271"/>
                    <a:pt x="62" y="271"/>
                  </a:cubicBezTo>
                  <a:cubicBezTo>
                    <a:pt x="65" y="272"/>
                    <a:pt x="65" y="272"/>
                    <a:pt x="65" y="272"/>
                  </a:cubicBezTo>
                  <a:cubicBezTo>
                    <a:pt x="71" y="276"/>
                    <a:pt x="71" y="276"/>
                    <a:pt x="71" y="276"/>
                  </a:cubicBezTo>
                  <a:cubicBezTo>
                    <a:pt x="74" y="280"/>
                    <a:pt x="74" y="280"/>
                    <a:pt x="74" y="280"/>
                  </a:cubicBezTo>
                  <a:cubicBezTo>
                    <a:pt x="74" y="282"/>
                    <a:pt x="74" y="282"/>
                    <a:pt x="74" y="282"/>
                  </a:cubicBezTo>
                  <a:cubicBezTo>
                    <a:pt x="74" y="284"/>
                    <a:pt x="74" y="284"/>
                    <a:pt x="74" y="284"/>
                  </a:cubicBezTo>
                  <a:cubicBezTo>
                    <a:pt x="75" y="285"/>
                    <a:pt x="75" y="285"/>
                    <a:pt x="75" y="285"/>
                  </a:cubicBezTo>
                  <a:cubicBezTo>
                    <a:pt x="76" y="287"/>
                    <a:pt x="76" y="287"/>
                    <a:pt x="76" y="287"/>
                  </a:cubicBezTo>
                  <a:cubicBezTo>
                    <a:pt x="83" y="291"/>
                    <a:pt x="83" y="291"/>
                    <a:pt x="83" y="291"/>
                  </a:cubicBezTo>
                  <a:cubicBezTo>
                    <a:pt x="92" y="293"/>
                    <a:pt x="92" y="293"/>
                    <a:pt x="92" y="293"/>
                  </a:cubicBezTo>
                  <a:cubicBezTo>
                    <a:pt x="116" y="295"/>
                    <a:pt x="116" y="295"/>
                    <a:pt x="116" y="295"/>
                  </a:cubicBezTo>
                  <a:cubicBezTo>
                    <a:pt x="118" y="295"/>
                    <a:pt x="118" y="295"/>
                    <a:pt x="118" y="295"/>
                  </a:cubicBezTo>
                  <a:cubicBezTo>
                    <a:pt x="122" y="295"/>
                    <a:pt x="122" y="295"/>
                    <a:pt x="122" y="295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42" y="269"/>
                    <a:pt x="142" y="269"/>
                    <a:pt x="142" y="269"/>
                  </a:cubicBezTo>
                  <a:cubicBezTo>
                    <a:pt x="142" y="262"/>
                    <a:pt x="142" y="262"/>
                    <a:pt x="142" y="262"/>
                  </a:cubicBezTo>
                  <a:cubicBezTo>
                    <a:pt x="139" y="256"/>
                    <a:pt x="139" y="256"/>
                    <a:pt x="139" y="256"/>
                  </a:cubicBezTo>
                  <a:cubicBezTo>
                    <a:pt x="144" y="241"/>
                    <a:pt x="144" y="241"/>
                    <a:pt x="144" y="241"/>
                  </a:cubicBezTo>
                  <a:cubicBezTo>
                    <a:pt x="162" y="220"/>
                    <a:pt x="162" y="220"/>
                    <a:pt x="162" y="220"/>
                  </a:cubicBezTo>
                  <a:cubicBezTo>
                    <a:pt x="166" y="221"/>
                    <a:pt x="166" y="221"/>
                    <a:pt x="166" y="221"/>
                  </a:cubicBezTo>
                  <a:cubicBezTo>
                    <a:pt x="175" y="226"/>
                    <a:pt x="175" y="226"/>
                    <a:pt x="175" y="226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6" y="238"/>
                    <a:pt x="186" y="238"/>
                    <a:pt x="186" y="238"/>
                  </a:cubicBezTo>
                  <a:cubicBezTo>
                    <a:pt x="191" y="250"/>
                    <a:pt x="191" y="250"/>
                    <a:pt x="191" y="250"/>
                  </a:cubicBezTo>
                  <a:cubicBezTo>
                    <a:pt x="191" y="252"/>
                    <a:pt x="191" y="252"/>
                    <a:pt x="191" y="252"/>
                  </a:cubicBezTo>
                  <a:cubicBezTo>
                    <a:pt x="191" y="253"/>
                    <a:pt x="191" y="253"/>
                    <a:pt x="191" y="253"/>
                  </a:cubicBezTo>
                  <a:cubicBezTo>
                    <a:pt x="190" y="255"/>
                    <a:pt x="190" y="255"/>
                    <a:pt x="190" y="255"/>
                  </a:cubicBezTo>
                  <a:cubicBezTo>
                    <a:pt x="191" y="257"/>
                    <a:pt x="191" y="257"/>
                    <a:pt x="191" y="257"/>
                  </a:cubicBezTo>
                  <a:cubicBezTo>
                    <a:pt x="196" y="269"/>
                    <a:pt x="196" y="269"/>
                    <a:pt x="196" y="269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205" y="280"/>
                    <a:pt x="205" y="280"/>
                    <a:pt x="205" y="280"/>
                  </a:cubicBezTo>
                  <a:cubicBezTo>
                    <a:pt x="207" y="277"/>
                    <a:pt x="207" y="277"/>
                    <a:pt x="207" y="277"/>
                  </a:cubicBezTo>
                  <a:cubicBezTo>
                    <a:pt x="209" y="276"/>
                    <a:pt x="209" y="276"/>
                    <a:pt x="209" y="276"/>
                  </a:cubicBezTo>
                  <a:cubicBezTo>
                    <a:pt x="212" y="277"/>
                    <a:pt x="212" y="277"/>
                    <a:pt x="212" y="277"/>
                  </a:cubicBezTo>
                  <a:cubicBezTo>
                    <a:pt x="215" y="279"/>
                    <a:pt x="215" y="279"/>
                    <a:pt x="215" y="279"/>
                  </a:cubicBezTo>
                  <a:cubicBezTo>
                    <a:pt x="215" y="279"/>
                    <a:pt x="220" y="283"/>
                    <a:pt x="221" y="285"/>
                  </a:cubicBezTo>
                  <a:cubicBezTo>
                    <a:pt x="222" y="286"/>
                    <a:pt x="222" y="286"/>
                    <a:pt x="222" y="286"/>
                  </a:cubicBezTo>
                  <a:cubicBezTo>
                    <a:pt x="223" y="291"/>
                    <a:pt x="223" y="291"/>
                    <a:pt x="223" y="291"/>
                  </a:cubicBezTo>
                  <a:cubicBezTo>
                    <a:pt x="223" y="292"/>
                    <a:pt x="223" y="292"/>
                    <a:pt x="223" y="292"/>
                  </a:cubicBezTo>
                  <a:cubicBezTo>
                    <a:pt x="223" y="296"/>
                    <a:pt x="223" y="296"/>
                    <a:pt x="223" y="296"/>
                  </a:cubicBezTo>
                  <a:cubicBezTo>
                    <a:pt x="219" y="303"/>
                    <a:pt x="219" y="303"/>
                    <a:pt x="219" y="303"/>
                  </a:cubicBezTo>
                  <a:cubicBezTo>
                    <a:pt x="219" y="304"/>
                    <a:pt x="219" y="304"/>
                    <a:pt x="219" y="304"/>
                  </a:cubicBezTo>
                  <a:cubicBezTo>
                    <a:pt x="219" y="306"/>
                    <a:pt x="219" y="306"/>
                    <a:pt x="219" y="306"/>
                  </a:cubicBezTo>
                  <a:cubicBezTo>
                    <a:pt x="219" y="307"/>
                    <a:pt x="219" y="307"/>
                    <a:pt x="219" y="307"/>
                  </a:cubicBezTo>
                  <a:cubicBezTo>
                    <a:pt x="220" y="308"/>
                    <a:pt x="220" y="308"/>
                    <a:pt x="220" y="308"/>
                  </a:cubicBezTo>
                  <a:cubicBezTo>
                    <a:pt x="225" y="316"/>
                    <a:pt x="225" y="316"/>
                    <a:pt x="225" y="316"/>
                  </a:cubicBezTo>
                  <a:cubicBezTo>
                    <a:pt x="227" y="316"/>
                    <a:pt x="227" y="316"/>
                    <a:pt x="227" y="316"/>
                  </a:cubicBezTo>
                  <a:cubicBezTo>
                    <a:pt x="254" y="312"/>
                    <a:pt x="254" y="312"/>
                    <a:pt x="254" y="312"/>
                  </a:cubicBezTo>
                  <a:cubicBezTo>
                    <a:pt x="259" y="310"/>
                    <a:pt x="259" y="310"/>
                    <a:pt x="259" y="310"/>
                  </a:cubicBezTo>
                  <a:cubicBezTo>
                    <a:pt x="259" y="307"/>
                    <a:pt x="259" y="307"/>
                    <a:pt x="259" y="307"/>
                  </a:cubicBezTo>
                  <a:cubicBezTo>
                    <a:pt x="261" y="305"/>
                    <a:pt x="261" y="305"/>
                    <a:pt x="261" y="305"/>
                  </a:cubicBezTo>
                  <a:cubicBezTo>
                    <a:pt x="262" y="304"/>
                    <a:pt x="262" y="304"/>
                    <a:pt x="262" y="304"/>
                  </a:cubicBezTo>
                  <a:cubicBezTo>
                    <a:pt x="270" y="303"/>
                    <a:pt x="270" y="303"/>
                    <a:pt x="270" y="303"/>
                  </a:cubicBezTo>
                  <a:cubicBezTo>
                    <a:pt x="271" y="302"/>
                    <a:pt x="271" y="302"/>
                    <a:pt x="271" y="302"/>
                  </a:cubicBezTo>
                  <a:cubicBezTo>
                    <a:pt x="275" y="303"/>
                    <a:pt x="275" y="303"/>
                    <a:pt x="275" y="303"/>
                  </a:cubicBezTo>
                  <a:cubicBezTo>
                    <a:pt x="277" y="305"/>
                    <a:pt x="277" y="305"/>
                    <a:pt x="277" y="305"/>
                  </a:cubicBezTo>
                  <a:cubicBezTo>
                    <a:pt x="277" y="306"/>
                    <a:pt x="277" y="306"/>
                    <a:pt x="277" y="306"/>
                  </a:cubicBezTo>
                  <a:cubicBezTo>
                    <a:pt x="281" y="306"/>
                    <a:pt x="281" y="306"/>
                    <a:pt x="281" y="306"/>
                  </a:cubicBezTo>
                  <a:cubicBezTo>
                    <a:pt x="282" y="306"/>
                    <a:pt x="282" y="306"/>
                    <a:pt x="282" y="306"/>
                  </a:cubicBezTo>
                  <a:cubicBezTo>
                    <a:pt x="284" y="307"/>
                    <a:pt x="284" y="307"/>
                    <a:pt x="284" y="307"/>
                  </a:cubicBezTo>
                  <a:cubicBezTo>
                    <a:pt x="297" y="314"/>
                    <a:pt x="297" y="314"/>
                    <a:pt x="297" y="314"/>
                  </a:cubicBezTo>
                  <a:cubicBezTo>
                    <a:pt x="298" y="318"/>
                    <a:pt x="298" y="318"/>
                    <a:pt x="298" y="318"/>
                  </a:cubicBezTo>
                  <a:cubicBezTo>
                    <a:pt x="297" y="318"/>
                    <a:pt x="297" y="318"/>
                    <a:pt x="297" y="318"/>
                  </a:cubicBezTo>
                  <a:cubicBezTo>
                    <a:pt x="297" y="319"/>
                    <a:pt x="297" y="319"/>
                    <a:pt x="297" y="319"/>
                  </a:cubicBezTo>
                  <a:cubicBezTo>
                    <a:pt x="297" y="320"/>
                    <a:pt x="297" y="320"/>
                    <a:pt x="297" y="320"/>
                  </a:cubicBezTo>
                  <a:cubicBezTo>
                    <a:pt x="298" y="321"/>
                    <a:pt x="298" y="321"/>
                    <a:pt x="298" y="321"/>
                  </a:cubicBezTo>
                  <a:cubicBezTo>
                    <a:pt x="302" y="323"/>
                    <a:pt x="302" y="323"/>
                    <a:pt x="302" y="323"/>
                  </a:cubicBezTo>
                  <a:cubicBezTo>
                    <a:pt x="304" y="323"/>
                    <a:pt x="304" y="323"/>
                    <a:pt x="304" y="323"/>
                  </a:cubicBezTo>
                  <a:cubicBezTo>
                    <a:pt x="308" y="322"/>
                    <a:pt x="308" y="322"/>
                    <a:pt x="308" y="322"/>
                  </a:cubicBezTo>
                  <a:cubicBezTo>
                    <a:pt x="312" y="319"/>
                    <a:pt x="312" y="319"/>
                    <a:pt x="312" y="319"/>
                  </a:cubicBezTo>
                  <a:cubicBezTo>
                    <a:pt x="326" y="309"/>
                    <a:pt x="326" y="309"/>
                    <a:pt x="326" y="309"/>
                  </a:cubicBezTo>
                  <a:cubicBezTo>
                    <a:pt x="329" y="306"/>
                    <a:pt x="329" y="306"/>
                    <a:pt x="329" y="306"/>
                  </a:cubicBezTo>
                  <a:cubicBezTo>
                    <a:pt x="330" y="305"/>
                    <a:pt x="330" y="305"/>
                    <a:pt x="330" y="305"/>
                  </a:cubicBezTo>
                  <a:cubicBezTo>
                    <a:pt x="331" y="301"/>
                    <a:pt x="331" y="301"/>
                    <a:pt x="331" y="301"/>
                  </a:cubicBezTo>
                  <a:cubicBezTo>
                    <a:pt x="334" y="291"/>
                    <a:pt x="334" y="291"/>
                    <a:pt x="334" y="291"/>
                  </a:cubicBezTo>
                  <a:cubicBezTo>
                    <a:pt x="335" y="287"/>
                    <a:pt x="335" y="287"/>
                    <a:pt x="335" y="287"/>
                  </a:cubicBezTo>
                  <a:cubicBezTo>
                    <a:pt x="335" y="284"/>
                    <a:pt x="335" y="284"/>
                    <a:pt x="335" y="284"/>
                  </a:cubicBezTo>
                  <a:cubicBezTo>
                    <a:pt x="335" y="283"/>
                    <a:pt x="335" y="283"/>
                    <a:pt x="335" y="283"/>
                  </a:cubicBezTo>
                  <a:cubicBezTo>
                    <a:pt x="333" y="280"/>
                    <a:pt x="333" y="280"/>
                    <a:pt x="333" y="280"/>
                  </a:cubicBezTo>
                  <a:cubicBezTo>
                    <a:pt x="333" y="279"/>
                    <a:pt x="333" y="279"/>
                    <a:pt x="333" y="279"/>
                  </a:cubicBezTo>
                  <a:cubicBezTo>
                    <a:pt x="333" y="278"/>
                    <a:pt x="333" y="278"/>
                    <a:pt x="333" y="278"/>
                  </a:cubicBezTo>
                  <a:cubicBezTo>
                    <a:pt x="333" y="276"/>
                    <a:pt x="333" y="276"/>
                    <a:pt x="333" y="276"/>
                  </a:cubicBezTo>
                  <a:cubicBezTo>
                    <a:pt x="335" y="274"/>
                    <a:pt x="335" y="274"/>
                    <a:pt x="335" y="274"/>
                  </a:cubicBezTo>
                  <a:cubicBezTo>
                    <a:pt x="336" y="273"/>
                    <a:pt x="336" y="273"/>
                    <a:pt x="336" y="273"/>
                  </a:cubicBezTo>
                  <a:cubicBezTo>
                    <a:pt x="340" y="270"/>
                    <a:pt x="340" y="270"/>
                    <a:pt x="340" y="270"/>
                  </a:cubicBezTo>
                  <a:cubicBezTo>
                    <a:pt x="341" y="270"/>
                    <a:pt x="341" y="270"/>
                    <a:pt x="341" y="270"/>
                  </a:cubicBezTo>
                  <a:cubicBezTo>
                    <a:pt x="353" y="268"/>
                    <a:pt x="353" y="268"/>
                    <a:pt x="353" y="268"/>
                  </a:cubicBezTo>
                  <a:cubicBezTo>
                    <a:pt x="359" y="269"/>
                    <a:pt x="359" y="269"/>
                    <a:pt x="359" y="269"/>
                  </a:cubicBezTo>
                  <a:cubicBezTo>
                    <a:pt x="361" y="269"/>
                    <a:pt x="361" y="269"/>
                    <a:pt x="361" y="269"/>
                  </a:cubicBezTo>
                  <a:cubicBezTo>
                    <a:pt x="363" y="271"/>
                    <a:pt x="363" y="271"/>
                    <a:pt x="363" y="271"/>
                  </a:cubicBezTo>
                  <a:cubicBezTo>
                    <a:pt x="364" y="273"/>
                    <a:pt x="364" y="273"/>
                    <a:pt x="364" y="273"/>
                  </a:cubicBezTo>
                  <a:cubicBezTo>
                    <a:pt x="366" y="274"/>
                    <a:pt x="366" y="274"/>
                    <a:pt x="366" y="274"/>
                  </a:cubicBezTo>
                  <a:cubicBezTo>
                    <a:pt x="367" y="273"/>
                    <a:pt x="367" y="273"/>
                    <a:pt x="367" y="273"/>
                  </a:cubicBezTo>
                  <a:cubicBezTo>
                    <a:pt x="373" y="268"/>
                    <a:pt x="373" y="268"/>
                    <a:pt x="373" y="268"/>
                  </a:cubicBezTo>
                  <a:cubicBezTo>
                    <a:pt x="376" y="264"/>
                    <a:pt x="376" y="264"/>
                    <a:pt x="376" y="264"/>
                  </a:cubicBezTo>
                  <a:cubicBezTo>
                    <a:pt x="380" y="259"/>
                    <a:pt x="380" y="259"/>
                    <a:pt x="380" y="259"/>
                  </a:cubicBezTo>
                  <a:cubicBezTo>
                    <a:pt x="384" y="252"/>
                    <a:pt x="384" y="252"/>
                    <a:pt x="384" y="252"/>
                  </a:cubicBezTo>
                  <a:cubicBezTo>
                    <a:pt x="384" y="252"/>
                    <a:pt x="384" y="252"/>
                    <a:pt x="384" y="252"/>
                  </a:cubicBezTo>
                  <a:cubicBezTo>
                    <a:pt x="382" y="242"/>
                    <a:pt x="382" y="242"/>
                    <a:pt x="382" y="242"/>
                  </a:cubicBezTo>
                  <a:cubicBezTo>
                    <a:pt x="381" y="238"/>
                    <a:pt x="381" y="238"/>
                    <a:pt x="381" y="238"/>
                  </a:cubicBezTo>
                  <a:cubicBezTo>
                    <a:pt x="378" y="234"/>
                    <a:pt x="378" y="234"/>
                    <a:pt x="378" y="234"/>
                  </a:cubicBezTo>
                  <a:cubicBezTo>
                    <a:pt x="370" y="224"/>
                    <a:pt x="370" y="224"/>
                    <a:pt x="370" y="224"/>
                  </a:cubicBezTo>
                  <a:cubicBezTo>
                    <a:pt x="362" y="205"/>
                    <a:pt x="362" y="205"/>
                    <a:pt x="362" y="205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87"/>
                    <a:pt x="360" y="187"/>
                    <a:pt x="360" y="187"/>
                  </a:cubicBezTo>
                  <a:cubicBezTo>
                    <a:pt x="360" y="186"/>
                    <a:pt x="360" y="186"/>
                    <a:pt x="360" y="186"/>
                  </a:cubicBezTo>
                  <a:cubicBezTo>
                    <a:pt x="361" y="185"/>
                    <a:pt x="361" y="185"/>
                    <a:pt x="361" y="185"/>
                  </a:cubicBezTo>
                  <a:cubicBezTo>
                    <a:pt x="363" y="186"/>
                    <a:pt x="363" y="186"/>
                    <a:pt x="363" y="186"/>
                  </a:cubicBezTo>
                  <a:cubicBezTo>
                    <a:pt x="366" y="188"/>
                    <a:pt x="366" y="188"/>
                    <a:pt x="366" y="188"/>
                  </a:cubicBezTo>
                  <a:cubicBezTo>
                    <a:pt x="369" y="189"/>
                    <a:pt x="369" y="189"/>
                    <a:pt x="369" y="189"/>
                  </a:cubicBezTo>
                  <a:cubicBezTo>
                    <a:pt x="375" y="194"/>
                    <a:pt x="375" y="194"/>
                    <a:pt x="375" y="194"/>
                  </a:cubicBezTo>
                  <a:cubicBezTo>
                    <a:pt x="379" y="198"/>
                    <a:pt x="379" y="198"/>
                    <a:pt x="379" y="198"/>
                  </a:cubicBezTo>
                  <a:cubicBezTo>
                    <a:pt x="380" y="200"/>
                    <a:pt x="380" y="200"/>
                    <a:pt x="380" y="200"/>
                  </a:cubicBezTo>
                  <a:cubicBezTo>
                    <a:pt x="382" y="204"/>
                    <a:pt x="382" y="204"/>
                    <a:pt x="382" y="204"/>
                  </a:cubicBezTo>
                  <a:cubicBezTo>
                    <a:pt x="382" y="205"/>
                    <a:pt x="382" y="205"/>
                    <a:pt x="382" y="205"/>
                  </a:cubicBezTo>
                  <a:cubicBezTo>
                    <a:pt x="383" y="210"/>
                    <a:pt x="383" y="210"/>
                    <a:pt x="383" y="210"/>
                  </a:cubicBezTo>
                  <a:cubicBezTo>
                    <a:pt x="383" y="216"/>
                    <a:pt x="383" y="216"/>
                    <a:pt x="383" y="216"/>
                  </a:cubicBezTo>
                  <a:cubicBezTo>
                    <a:pt x="383" y="216"/>
                    <a:pt x="383" y="216"/>
                    <a:pt x="383" y="216"/>
                  </a:cubicBezTo>
                  <a:cubicBezTo>
                    <a:pt x="383" y="218"/>
                    <a:pt x="383" y="218"/>
                    <a:pt x="383" y="218"/>
                  </a:cubicBezTo>
                  <a:cubicBezTo>
                    <a:pt x="382" y="219"/>
                    <a:pt x="382" y="219"/>
                    <a:pt x="382" y="219"/>
                  </a:cubicBezTo>
                  <a:cubicBezTo>
                    <a:pt x="381" y="221"/>
                    <a:pt x="381" y="221"/>
                    <a:pt x="381" y="221"/>
                  </a:cubicBezTo>
                  <a:cubicBezTo>
                    <a:pt x="379" y="224"/>
                    <a:pt x="379" y="224"/>
                    <a:pt x="379" y="224"/>
                  </a:cubicBezTo>
                  <a:cubicBezTo>
                    <a:pt x="378" y="225"/>
                    <a:pt x="378" y="225"/>
                    <a:pt x="378" y="225"/>
                  </a:cubicBezTo>
                  <a:cubicBezTo>
                    <a:pt x="378" y="228"/>
                    <a:pt x="378" y="228"/>
                    <a:pt x="378" y="228"/>
                  </a:cubicBezTo>
                  <a:cubicBezTo>
                    <a:pt x="378" y="231"/>
                    <a:pt x="378" y="231"/>
                    <a:pt x="378" y="231"/>
                  </a:cubicBezTo>
                  <a:cubicBezTo>
                    <a:pt x="378" y="232"/>
                    <a:pt x="378" y="232"/>
                    <a:pt x="378" y="232"/>
                  </a:cubicBezTo>
                  <a:cubicBezTo>
                    <a:pt x="385" y="246"/>
                    <a:pt x="385" y="246"/>
                    <a:pt x="385" y="246"/>
                  </a:cubicBezTo>
                  <a:cubicBezTo>
                    <a:pt x="386" y="246"/>
                    <a:pt x="386" y="246"/>
                    <a:pt x="386" y="246"/>
                  </a:cubicBezTo>
                  <a:cubicBezTo>
                    <a:pt x="387" y="247"/>
                    <a:pt x="387" y="247"/>
                    <a:pt x="387" y="247"/>
                  </a:cubicBezTo>
                  <a:cubicBezTo>
                    <a:pt x="388" y="247"/>
                    <a:pt x="388" y="247"/>
                    <a:pt x="388" y="247"/>
                  </a:cubicBezTo>
                  <a:cubicBezTo>
                    <a:pt x="389" y="247"/>
                    <a:pt x="389" y="247"/>
                    <a:pt x="389" y="247"/>
                  </a:cubicBezTo>
                  <a:cubicBezTo>
                    <a:pt x="389" y="246"/>
                    <a:pt x="389" y="246"/>
                    <a:pt x="389" y="246"/>
                  </a:cubicBezTo>
                  <a:cubicBezTo>
                    <a:pt x="391" y="242"/>
                    <a:pt x="391" y="242"/>
                    <a:pt x="391" y="242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5" y="234"/>
                    <a:pt x="395" y="234"/>
                    <a:pt x="395" y="234"/>
                  </a:cubicBezTo>
                  <a:cubicBezTo>
                    <a:pt x="399" y="215"/>
                    <a:pt x="399" y="215"/>
                    <a:pt x="399" y="215"/>
                  </a:cubicBezTo>
                  <a:cubicBezTo>
                    <a:pt x="399" y="209"/>
                    <a:pt x="399" y="209"/>
                    <a:pt x="399" y="209"/>
                  </a:cubicBezTo>
                  <a:cubicBezTo>
                    <a:pt x="399" y="208"/>
                    <a:pt x="399" y="208"/>
                    <a:pt x="399" y="208"/>
                  </a:cubicBezTo>
                  <a:lnTo>
                    <a:pt x="399" y="207"/>
                  </a:lnTo>
                  <a:close/>
                  <a:moveTo>
                    <a:pt x="290" y="13"/>
                  </a:moveTo>
                  <a:cubicBezTo>
                    <a:pt x="291" y="13"/>
                    <a:pt x="291" y="13"/>
                    <a:pt x="291" y="13"/>
                  </a:cubicBezTo>
                  <a:cubicBezTo>
                    <a:pt x="291" y="13"/>
                    <a:pt x="291" y="13"/>
                    <a:pt x="291" y="13"/>
                  </a:cubicBezTo>
                  <a:cubicBezTo>
                    <a:pt x="292" y="12"/>
                    <a:pt x="292" y="12"/>
                    <a:pt x="292" y="12"/>
                  </a:cubicBezTo>
                  <a:cubicBezTo>
                    <a:pt x="292" y="11"/>
                    <a:pt x="292" y="11"/>
                    <a:pt x="292" y="11"/>
                  </a:cubicBezTo>
                  <a:cubicBezTo>
                    <a:pt x="293" y="5"/>
                    <a:pt x="293" y="5"/>
                    <a:pt x="293" y="5"/>
                  </a:cubicBezTo>
                  <a:cubicBezTo>
                    <a:pt x="293" y="5"/>
                    <a:pt x="293" y="5"/>
                    <a:pt x="293" y="5"/>
                  </a:cubicBezTo>
                  <a:cubicBezTo>
                    <a:pt x="294" y="5"/>
                    <a:pt x="294" y="5"/>
                    <a:pt x="294" y="5"/>
                  </a:cubicBezTo>
                  <a:cubicBezTo>
                    <a:pt x="293" y="4"/>
                    <a:pt x="293" y="4"/>
                    <a:pt x="293" y="4"/>
                  </a:cubicBezTo>
                  <a:cubicBezTo>
                    <a:pt x="293" y="3"/>
                    <a:pt x="293" y="3"/>
                    <a:pt x="293" y="3"/>
                  </a:cubicBezTo>
                  <a:cubicBezTo>
                    <a:pt x="292" y="3"/>
                    <a:pt x="292" y="3"/>
                    <a:pt x="292" y="3"/>
                  </a:cubicBezTo>
                  <a:cubicBezTo>
                    <a:pt x="289" y="1"/>
                    <a:pt x="289" y="1"/>
                    <a:pt x="289" y="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78" y="3"/>
                    <a:pt x="278" y="3"/>
                    <a:pt x="278" y="3"/>
                  </a:cubicBezTo>
                  <a:cubicBezTo>
                    <a:pt x="278" y="4"/>
                    <a:pt x="278" y="4"/>
                    <a:pt x="278" y="4"/>
                  </a:cubicBezTo>
                  <a:cubicBezTo>
                    <a:pt x="278" y="4"/>
                    <a:pt x="278" y="4"/>
                    <a:pt x="278" y="4"/>
                  </a:cubicBezTo>
                  <a:lnTo>
                    <a:pt x="290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9" name="Freeform 15"/>
            <p:cNvSpPr>
              <a:spLocks noEditPoints="1"/>
            </p:cNvSpPr>
            <p:nvPr/>
          </p:nvSpPr>
          <p:spPr bwMode="auto">
            <a:xfrm>
              <a:off x="2182688" y="3904928"/>
              <a:ext cx="2563812" cy="3262312"/>
            </a:xfrm>
            <a:custGeom>
              <a:avLst/>
              <a:gdLst>
                <a:gd name="T0" fmla="*/ 211 w 1159"/>
                <a:gd name="T1" fmla="*/ 349 h 1475"/>
                <a:gd name="T2" fmla="*/ 1137 w 1159"/>
                <a:gd name="T3" fmla="*/ 723 h 1475"/>
                <a:gd name="T4" fmla="*/ 916 w 1159"/>
                <a:gd name="T5" fmla="*/ 729 h 1475"/>
                <a:gd name="T6" fmla="*/ 926 w 1159"/>
                <a:gd name="T7" fmla="*/ 655 h 1475"/>
                <a:gd name="T8" fmla="*/ 835 w 1159"/>
                <a:gd name="T9" fmla="*/ 523 h 1475"/>
                <a:gd name="T10" fmla="*/ 801 w 1159"/>
                <a:gd name="T11" fmla="*/ 506 h 1475"/>
                <a:gd name="T12" fmla="*/ 886 w 1159"/>
                <a:gd name="T13" fmla="*/ 525 h 1475"/>
                <a:gd name="T14" fmla="*/ 847 w 1159"/>
                <a:gd name="T15" fmla="*/ 468 h 1475"/>
                <a:gd name="T16" fmla="*/ 794 w 1159"/>
                <a:gd name="T17" fmla="*/ 360 h 1475"/>
                <a:gd name="T18" fmla="*/ 626 w 1159"/>
                <a:gd name="T19" fmla="*/ 168 h 1475"/>
                <a:gd name="T20" fmla="*/ 547 w 1159"/>
                <a:gd name="T21" fmla="*/ 3 h 1475"/>
                <a:gd name="T22" fmla="*/ 529 w 1159"/>
                <a:gd name="T23" fmla="*/ 45 h 1475"/>
                <a:gd name="T24" fmla="*/ 542 w 1159"/>
                <a:gd name="T25" fmla="*/ 82 h 1475"/>
                <a:gd name="T26" fmla="*/ 516 w 1159"/>
                <a:gd name="T27" fmla="*/ 110 h 1475"/>
                <a:gd name="T28" fmla="*/ 467 w 1159"/>
                <a:gd name="T29" fmla="*/ 149 h 1475"/>
                <a:gd name="T30" fmla="*/ 436 w 1159"/>
                <a:gd name="T31" fmla="*/ 187 h 1475"/>
                <a:gd name="T32" fmla="*/ 405 w 1159"/>
                <a:gd name="T33" fmla="*/ 207 h 1475"/>
                <a:gd name="T34" fmla="*/ 348 w 1159"/>
                <a:gd name="T35" fmla="*/ 364 h 1475"/>
                <a:gd name="T36" fmla="*/ 381 w 1159"/>
                <a:gd name="T37" fmla="*/ 406 h 1475"/>
                <a:gd name="T38" fmla="*/ 428 w 1159"/>
                <a:gd name="T39" fmla="*/ 464 h 1475"/>
                <a:gd name="T40" fmla="*/ 421 w 1159"/>
                <a:gd name="T41" fmla="*/ 605 h 1475"/>
                <a:gd name="T42" fmla="*/ 420 w 1159"/>
                <a:gd name="T43" fmla="*/ 606 h 1475"/>
                <a:gd name="T44" fmla="*/ 423 w 1159"/>
                <a:gd name="T45" fmla="*/ 646 h 1475"/>
                <a:gd name="T46" fmla="*/ 441 w 1159"/>
                <a:gd name="T47" fmla="*/ 698 h 1475"/>
                <a:gd name="T48" fmla="*/ 447 w 1159"/>
                <a:gd name="T49" fmla="*/ 727 h 1475"/>
                <a:gd name="T50" fmla="*/ 413 w 1159"/>
                <a:gd name="T51" fmla="*/ 728 h 1475"/>
                <a:gd name="T52" fmla="*/ 417 w 1159"/>
                <a:gd name="T53" fmla="*/ 762 h 1475"/>
                <a:gd name="T54" fmla="*/ 407 w 1159"/>
                <a:gd name="T55" fmla="*/ 808 h 1475"/>
                <a:gd name="T56" fmla="*/ 425 w 1159"/>
                <a:gd name="T57" fmla="*/ 815 h 1475"/>
                <a:gd name="T58" fmla="*/ 392 w 1159"/>
                <a:gd name="T59" fmla="*/ 850 h 1475"/>
                <a:gd name="T60" fmla="*/ 434 w 1159"/>
                <a:gd name="T61" fmla="*/ 875 h 1475"/>
                <a:gd name="T62" fmla="*/ 412 w 1159"/>
                <a:gd name="T63" fmla="*/ 910 h 1475"/>
                <a:gd name="T64" fmla="*/ 416 w 1159"/>
                <a:gd name="T65" fmla="*/ 953 h 1475"/>
                <a:gd name="T66" fmla="*/ 454 w 1159"/>
                <a:gd name="T67" fmla="*/ 973 h 1475"/>
                <a:gd name="T68" fmla="*/ 489 w 1159"/>
                <a:gd name="T69" fmla="*/ 1000 h 1475"/>
                <a:gd name="T70" fmla="*/ 484 w 1159"/>
                <a:gd name="T71" fmla="*/ 1050 h 1475"/>
                <a:gd name="T72" fmla="*/ 431 w 1159"/>
                <a:gd name="T73" fmla="*/ 1141 h 1475"/>
                <a:gd name="T74" fmla="*/ 244 w 1159"/>
                <a:gd name="T75" fmla="*/ 1162 h 1475"/>
                <a:gd name="T76" fmla="*/ 183 w 1159"/>
                <a:gd name="T77" fmla="*/ 1269 h 1475"/>
                <a:gd name="T78" fmla="*/ 72 w 1159"/>
                <a:gd name="T79" fmla="*/ 1395 h 1475"/>
                <a:gd name="T80" fmla="*/ 29 w 1159"/>
                <a:gd name="T81" fmla="*/ 1445 h 1475"/>
                <a:gd name="T82" fmla="*/ 78 w 1159"/>
                <a:gd name="T83" fmla="*/ 1468 h 1475"/>
                <a:gd name="T84" fmla="*/ 118 w 1159"/>
                <a:gd name="T85" fmla="*/ 1426 h 1475"/>
                <a:gd name="T86" fmla="*/ 246 w 1159"/>
                <a:gd name="T87" fmla="*/ 1371 h 1475"/>
                <a:gd name="T88" fmla="*/ 341 w 1159"/>
                <a:gd name="T89" fmla="*/ 1383 h 1475"/>
                <a:gd name="T90" fmla="*/ 441 w 1159"/>
                <a:gd name="T91" fmla="*/ 1281 h 1475"/>
                <a:gd name="T92" fmla="*/ 612 w 1159"/>
                <a:gd name="T93" fmla="*/ 1292 h 1475"/>
                <a:gd name="T94" fmla="*/ 690 w 1159"/>
                <a:gd name="T95" fmla="*/ 1225 h 1475"/>
                <a:gd name="T96" fmla="*/ 729 w 1159"/>
                <a:gd name="T97" fmla="*/ 1237 h 1475"/>
                <a:gd name="T98" fmla="*/ 750 w 1159"/>
                <a:gd name="T99" fmla="*/ 1239 h 1475"/>
                <a:gd name="T100" fmla="*/ 762 w 1159"/>
                <a:gd name="T101" fmla="*/ 1236 h 1475"/>
                <a:gd name="T102" fmla="*/ 789 w 1159"/>
                <a:gd name="T103" fmla="*/ 1261 h 1475"/>
                <a:gd name="T104" fmla="*/ 920 w 1159"/>
                <a:gd name="T105" fmla="*/ 1239 h 1475"/>
                <a:gd name="T106" fmla="*/ 1037 w 1159"/>
                <a:gd name="T107" fmla="*/ 1192 h 1475"/>
                <a:gd name="T108" fmla="*/ 1129 w 1159"/>
                <a:gd name="T109" fmla="*/ 1128 h 1475"/>
                <a:gd name="T110" fmla="*/ 1052 w 1159"/>
                <a:gd name="T111" fmla="*/ 1087 h 1475"/>
                <a:gd name="T112" fmla="*/ 1016 w 1159"/>
                <a:gd name="T113" fmla="*/ 1070 h 1475"/>
                <a:gd name="T114" fmla="*/ 1017 w 1159"/>
                <a:gd name="T115" fmla="*/ 1060 h 1475"/>
                <a:gd name="T116" fmla="*/ 1041 w 1159"/>
                <a:gd name="T117" fmla="*/ 1031 h 1475"/>
                <a:gd name="T118" fmla="*/ 1036 w 1159"/>
                <a:gd name="T119" fmla="*/ 982 h 1475"/>
                <a:gd name="T120" fmla="*/ 1099 w 1159"/>
                <a:gd name="T121" fmla="*/ 951 h 1475"/>
                <a:gd name="T122" fmla="*/ 1116 w 1159"/>
                <a:gd name="T123" fmla="*/ 914 h 14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9" h="1475">
                  <a:moveTo>
                    <a:pt x="150" y="440"/>
                  </a:moveTo>
                  <a:cubicBezTo>
                    <a:pt x="167" y="439"/>
                    <a:pt x="167" y="439"/>
                    <a:pt x="167" y="439"/>
                  </a:cubicBezTo>
                  <a:cubicBezTo>
                    <a:pt x="171" y="436"/>
                    <a:pt x="171" y="436"/>
                    <a:pt x="171" y="436"/>
                  </a:cubicBezTo>
                  <a:cubicBezTo>
                    <a:pt x="176" y="434"/>
                    <a:pt x="176" y="434"/>
                    <a:pt x="176" y="434"/>
                  </a:cubicBezTo>
                  <a:cubicBezTo>
                    <a:pt x="184" y="429"/>
                    <a:pt x="184" y="429"/>
                    <a:pt x="184" y="429"/>
                  </a:cubicBezTo>
                  <a:cubicBezTo>
                    <a:pt x="192" y="422"/>
                    <a:pt x="192" y="422"/>
                    <a:pt x="192" y="422"/>
                  </a:cubicBezTo>
                  <a:cubicBezTo>
                    <a:pt x="196" y="419"/>
                    <a:pt x="196" y="419"/>
                    <a:pt x="196" y="419"/>
                  </a:cubicBezTo>
                  <a:cubicBezTo>
                    <a:pt x="206" y="407"/>
                    <a:pt x="206" y="407"/>
                    <a:pt x="206" y="407"/>
                  </a:cubicBezTo>
                  <a:cubicBezTo>
                    <a:pt x="207" y="405"/>
                    <a:pt x="207" y="405"/>
                    <a:pt x="207" y="405"/>
                  </a:cubicBezTo>
                  <a:cubicBezTo>
                    <a:pt x="217" y="384"/>
                    <a:pt x="217" y="384"/>
                    <a:pt x="217" y="384"/>
                  </a:cubicBezTo>
                  <a:cubicBezTo>
                    <a:pt x="219" y="379"/>
                    <a:pt x="219" y="379"/>
                    <a:pt x="219" y="379"/>
                  </a:cubicBezTo>
                  <a:cubicBezTo>
                    <a:pt x="219" y="378"/>
                    <a:pt x="219" y="378"/>
                    <a:pt x="219" y="378"/>
                  </a:cubicBezTo>
                  <a:cubicBezTo>
                    <a:pt x="218" y="377"/>
                    <a:pt x="218" y="377"/>
                    <a:pt x="218" y="377"/>
                  </a:cubicBezTo>
                  <a:cubicBezTo>
                    <a:pt x="218" y="377"/>
                    <a:pt x="218" y="377"/>
                    <a:pt x="218" y="377"/>
                  </a:cubicBezTo>
                  <a:cubicBezTo>
                    <a:pt x="215" y="376"/>
                    <a:pt x="215" y="376"/>
                    <a:pt x="215" y="376"/>
                  </a:cubicBezTo>
                  <a:cubicBezTo>
                    <a:pt x="211" y="374"/>
                    <a:pt x="211" y="374"/>
                    <a:pt x="211" y="374"/>
                  </a:cubicBezTo>
                  <a:cubicBezTo>
                    <a:pt x="209" y="371"/>
                    <a:pt x="209" y="371"/>
                    <a:pt x="209" y="371"/>
                  </a:cubicBezTo>
                  <a:cubicBezTo>
                    <a:pt x="209" y="366"/>
                    <a:pt x="209" y="366"/>
                    <a:pt x="209" y="366"/>
                  </a:cubicBezTo>
                  <a:cubicBezTo>
                    <a:pt x="209" y="365"/>
                    <a:pt x="209" y="365"/>
                    <a:pt x="209" y="365"/>
                  </a:cubicBezTo>
                  <a:cubicBezTo>
                    <a:pt x="209" y="363"/>
                    <a:pt x="209" y="363"/>
                    <a:pt x="209" y="363"/>
                  </a:cubicBezTo>
                  <a:cubicBezTo>
                    <a:pt x="210" y="360"/>
                    <a:pt x="210" y="360"/>
                    <a:pt x="210" y="360"/>
                  </a:cubicBezTo>
                  <a:cubicBezTo>
                    <a:pt x="212" y="351"/>
                    <a:pt x="212" y="351"/>
                    <a:pt x="212" y="351"/>
                  </a:cubicBezTo>
                  <a:cubicBezTo>
                    <a:pt x="211" y="349"/>
                    <a:pt x="211" y="349"/>
                    <a:pt x="211" y="349"/>
                  </a:cubicBezTo>
                  <a:cubicBezTo>
                    <a:pt x="210" y="348"/>
                    <a:pt x="210" y="348"/>
                    <a:pt x="210" y="348"/>
                  </a:cubicBezTo>
                  <a:cubicBezTo>
                    <a:pt x="194" y="355"/>
                    <a:pt x="194" y="355"/>
                    <a:pt x="194" y="355"/>
                  </a:cubicBezTo>
                  <a:cubicBezTo>
                    <a:pt x="193" y="356"/>
                    <a:pt x="193" y="356"/>
                    <a:pt x="193" y="356"/>
                  </a:cubicBezTo>
                  <a:cubicBezTo>
                    <a:pt x="186" y="362"/>
                    <a:pt x="186" y="362"/>
                    <a:pt x="186" y="362"/>
                  </a:cubicBezTo>
                  <a:cubicBezTo>
                    <a:pt x="183" y="367"/>
                    <a:pt x="183" y="367"/>
                    <a:pt x="183" y="367"/>
                  </a:cubicBezTo>
                  <a:cubicBezTo>
                    <a:pt x="180" y="374"/>
                    <a:pt x="180" y="374"/>
                    <a:pt x="180" y="374"/>
                  </a:cubicBezTo>
                  <a:cubicBezTo>
                    <a:pt x="179" y="379"/>
                    <a:pt x="179" y="379"/>
                    <a:pt x="179" y="379"/>
                  </a:cubicBezTo>
                  <a:cubicBezTo>
                    <a:pt x="178" y="382"/>
                    <a:pt x="178" y="382"/>
                    <a:pt x="178" y="382"/>
                  </a:cubicBezTo>
                  <a:cubicBezTo>
                    <a:pt x="175" y="386"/>
                    <a:pt x="175" y="386"/>
                    <a:pt x="175" y="386"/>
                  </a:cubicBezTo>
                  <a:cubicBezTo>
                    <a:pt x="173" y="390"/>
                    <a:pt x="173" y="390"/>
                    <a:pt x="173" y="390"/>
                  </a:cubicBezTo>
                  <a:cubicBezTo>
                    <a:pt x="172" y="391"/>
                    <a:pt x="172" y="391"/>
                    <a:pt x="172" y="391"/>
                  </a:cubicBezTo>
                  <a:cubicBezTo>
                    <a:pt x="169" y="394"/>
                    <a:pt x="169" y="394"/>
                    <a:pt x="169" y="394"/>
                  </a:cubicBezTo>
                  <a:cubicBezTo>
                    <a:pt x="158" y="409"/>
                    <a:pt x="158" y="409"/>
                    <a:pt x="158" y="409"/>
                  </a:cubicBezTo>
                  <a:cubicBezTo>
                    <a:pt x="148" y="437"/>
                    <a:pt x="148" y="437"/>
                    <a:pt x="148" y="437"/>
                  </a:cubicBezTo>
                  <a:cubicBezTo>
                    <a:pt x="148" y="438"/>
                    <a:pt x="148" y="438"/>
                    <a:pt x="148" y="438"/>
                  </a:cubicBezTo>
                  <a:cubicBezTo>
                    <a:pt x="148" y="439"/>
                    <a:pt x="148" y="439"/>
                    <a:pt x="148" y="439"/>
                  </a:cubicBezTo>
                  <a:cubicBezTo>
                    <a:pt x="149" y="440"/>
                    <a:pt x="149" y="440"/>
                    <a:pt x="149" y="440"/>
                  </a:cubicBezTo>
                  <a:lnTo>
                    <a:pt x="150" y="440"/>
                  </a:lnTo>
                  <a:close/>
                  <a:moveTo>
                    <a:pt x="1151" y="754"/>
                  </a:moveTo>
                  <a:cubicBezTo>
                    <a:pt x="1150" y="749"/>
                    <a:pt x="1150" y="749"/>
                    <a:pt x="1150" y="749"/>
                  </a:cubicBezTo>
                  <a:cubicBezTo>
                    <a:pt x="1142" y="730"/>
                    <a:pt x="1142" y="730"/>
                    <a:pt x="1142" y="730"/>
                  </a:cubicBezTo>
                  <a:cubicBezTo>
                    <a:pt x="1141" y="728"/>
                    <a:pt x="1141" y="728"/>
                    <a:pt x="1141" y="728"/>
                  </a:cubicBezTo>
                  <a:cubicBezTo>
                    <a:pt x="1137" y="723"/>
                    <a:pt x="1137" y="723"/>
                    <a:pt x="1137" y="723"/>
                  </a:cubicBezTo>
                  <a:cubicBezTo>
                    <a:pt x="1134" y="719"/>
                    <a:pt x="1134" y="719"/>
                    <a:pt x="1134" y="719"/>
                  </a:cubicBezTo>
                  <a:cubicBezTo>
                    <a:pt x="1132" y="717"/>
                    <a:pt x="1132" y="717"/>
                    <a:pt x="1132" y="717"/>
                  </a:cubicBezTo>
                  <a:cubicBezTo>
                    <a:pt x="1097" y="694"/>
                    <a:pt x="1097" y="694"/>
                    <a:pt x="1097" y="694"/>
                  </a:cubicBezTo>
                  <a:cubicBezTo>
                    <a:pt x="1093" y="691"/>
                    <a:pt x="1093" y="691"/>
                    <a:pt x="1093" y="691"/>
                  </a:cubicBezTo>
                  <a:cubicBezTo>
                    <a:pt x="1088" y="688"/>
                    <a:pt x="1088" y="688"/>
                    <a:pt x="1088" y="688"/>
                  </a:cubicBezTo>
                  <a:cubicBezTo>
                    <a:pt x="1084" y="686"/>
                    <a:pt x="1084" y="686"/>
                    <a:pt x="1084" y="686"/>
                  </a:cubicBezTo>
                  <a:cubicBezTo>
                    <a:pt x="1073" y="683"/>
                    <a:pt x="1073" y="683"/>
                    <a:pt x="1073" y="683"/>
                  </a:cubicBezTo>
                  <a:cubicBezTo>
                    <a:pt x="1057" y="681"/>
                    <a:pt x="1057" y="681"/>
                    <a:pt x="1057" y="681"/>
                  </a:cubicBezTo>
                  <a:cubicBezTo>
                    <a:pt x="1029" y="681"/>
                    <a:pt x="1029" y="681"/>
                    <a:pt x="1029" y="681"/>
                  </a:cubicBezTo>
                  <a:cubicBezTo>
                    <a:pt x="965" y="683"/>
                    <a:pt x="965" y="683"/>
                    <a:pt x="965" y="683"/>
                  </a:cubicBezTo>
                  <a:cubicBezTo>
                    <a:pt x="964" y="682"/>
                    <a:pt x="964" y="682"/>
                    <a:pt x="964" y="682"/>
                  </a:cubicBezTo>
                  <a:cubicBezTo>
                    <a:pt x="962" y="682"/>
                    <a:pt x="962" y="682"/>
                    <a:pt x="962" y="682"/>
                  </a:cubicBezTo>
                  <a:cubicBezTo>
                    <a:pt x="960" y="683"/>
                    <a:pt x="960" y="683"/>
                    <a:pt x="960" y="683"/>
                  </a:cubicBezTo>
                  <a:cubicBezTo>
                    <a:pt x="953" y="691"/>
                    <a:pt x="953" y="691"/>
                    <a:pt x="953" y="691"/>
                  </a:cubicBezTo>
                  <a:cubicBezTo>
                    <a:pt x="952" y="693"/>
                    <a:pt x="952" y="693"/>
                    <a:pt x="952" y="693"/>
                  </a:cubicBezTo>
                  <a:cubicBezTo>
                    <a:pt x="949" y="705"/>
                    <a:pt x="949" y="705"/>
                    <a:pt x="949" y="705"/>
                  </a:cubicBezTo>
                  <a:cubicBezTo>
                    <a:pt x="947" y="716"/>
                    <a:pt x="947" y="716"/>
                    <a:pt x="947" y="716"/>
                  </a:cubicBezTo>
                  <a:cubicBezTo>
                    <a:pt x="946" y="719"/>
                    <a:pt x="946" y="719"/>
                    <a:pt x="946" y="719"/>
                  </a:cubicBezTo>
                  <a:cubicBezTo>
                    <a:pt x="944" y="721"/>
                    <a:pt x="944" y="721"/>
                    <a:pt x="944" y="721"/>
                  </a:cubicBezTo>
                  <a:cubicBezTo>
                    <a:pt x="939" y="729"/>
                    <a:pt x="939" y="729"/>
                    <a:pt x="939" y="729"/>
                  </a:cubicBezTo>
                  <a:cubicBezTo>
                    <a:pt x="936" y="731"/>
                    <a:pt x="936" y="731"/>
                    <a:pt x="936" y="731"/>
                  </a:cubicBezTo>
                  <a:cubicBezTo>
                    <a:pt x="918" y="729"/>
                    <a:pt x="918" y="729"/>
                    <a:pt x="918" y="729"/>
                  </a:cubicBezTo>
                  <a:cubicBezTo>
                    <a:pt x="916" y="729"/>
                    <a:pt x="916" y="729"/>
                    <a:pt x="916" y="729"/>
                  </a:cubicBezTo>
                  <a:cubicBezTo>
                    <a:pt x="913" y="725"/>
                    <a:pt x="913" y="725"/>
                    <a:pt x="913" y="725"/>
                  </a:cubicBezTo>
                  <a:cubicBezTo>
                    <a:pt x="911" y="721"/>
                    <a:pt x="911" y="721"/>
                    <a:pt x="911" y="721"/>
                  </a:cubicBezTo>
                  <a:cubicBezTo>
                    <a:pt x="905" y="713"/>
                    <a:pt x="905" y="713"/>
                    <a:pt x="905" y="713"/>
                  </a:cubicBezTo>
                  <a:cubicBezTo>
                    <a:pt x="904" y="712"/>
                    <a:pt x="904" y="712"/>
                    <a:pt x="904" y="712"/>
                  </a:cubicBezTo>
                  <a:cubicBezTo>
                    <a:pt x="892" y="707"/>
                    <a:pt x="892" y="707"/>
                    <a:pt x="892" y="707"/>
                  </a:cubicBezTo>
                  <a:cubicBezTo>
                    <a:pt x="890" y="707"/>
                    <a:pt x="890" y="707"/>
                    <a:pt x="890" y="707"/>
                  </a:cubicBezTo>
                  <a:cubicBezTo>
                    <a:pt x="890" y="707"/>
                    <a:pt x="890" y="707"/>
                    <a:pt x="890" y="707"/>
                  </a:cubicBezTo>
                  <a:cubicBezTo>
                    <a:pt x="887" y="708"/>
                    <a:pt x="887" y="708"/>
                    <a:pt x="887" y="708"/>
                  </a:cubicBezTo>
                  <a:cubicBezTo>
                    <a:pt x="884" y="710"/>
                    <a:pt x="884" y="710"/>
                    <a:pt x="884" y="710"/>
                  </a:cubicBezTo>
                  <a:cubicBezTo>
                    <a:pt x="881" y="711"/>
                    <a:pt x="881" y="711"/>
                    <a:pt x="881" y="711"/>
                  </a:cubicBezTo>
                  <a:cubicBezTo>
                    <a:pt x="880" y="711"/>
                    <a:pt x="880" y="711"/>
                    <a:pt x="880" y="711"/>
                  </a:cubicBezTo>
                  <a:cubicBezTo>
                    <a:pt x="879" y="710"/>
                    <a:pt x="879" y="710"/>
                    <a:pt x="879" y="710"/>
                  </a:cubicBezTo>
                  <a:cubicBezTo>
                    <a:pt x="880" y="710"/>
                    <a:pt x="880" y="710"/>
                    <a:pt x="880" y="710"/>
                  </a:cubicBezTo>
                  <a:cubicBezTo>
                    <a:pt x="881" y="707"/>
                    <a:pt x="881" y="707"/>
                    <a:pt x="881" y="707"/>
                  </a:cubicBezTo>
                  <a:cubicBezTo>
                    <a:pt x="883" y="703"/>
                    <a:pt x="883" y="703"/>
                    <a:pt x="883" y="703"/>
                  </a:cubicBezTo>
                  <a:cubicBezTo>
                    <a:pt x="901" y="679"/>
                    <a:pt x="901" y="679"/>
                    <a:pt x="901" y="679"/>
                  </a:cubicBezTo>
                  <a:cubicBezTo>
                    <a:pt x="903" y="676"/>
                    <a:pt x="903" y="676"/>
                    <a:pt x="903" y="676"/>
                  </a:cubicBezTo>
                  <a:cubicBezTo>
                    <a:pt x="918" y="660"/>
                    <a:pt x="918" y="660"/>
                    <a:pt x="918" y="660"/>
                  </a:cubicBezTo>
                  <a:cubicBezTo>
                    <a:pt x="921" y="657"/>
                    <a:pt x="921" y="657"/>
                    <a:pt x="921" y="657"/>
                  </a:cubicBezTo>
                  <a:cubicBezTo>
                    <a:pt x="921" y="657"/>
                    <a:pt x="921" y="657"/>
                    <a:pt x="921" y="657"/>
                  </a:cubicBezTo>
                  <a:cubicBezTo>
                    <a:pt x="923" y="656"/>
                    <a:pt x="923" y="656"/>
                    <a:pt x="923" y="656"/>
                  </a:cubicBezTo>
                  <a:cubicBezTo>
                    <a:pt x="924" y="656"/>
                    <a:pt x="924" y="656"/>
                    <a:pt x="924" y="656"/>
                  </a:cubicBezTo>
                  <a:cubicBezTo>
                    <a:pt x="926" y="655"/>
                    <a:pt x="926" y="655"/>
                    <a:pt x="926" y="655"/>
                  </a:cubicBezTo>
                  <a:cubicBezTo>
                    <a:pt x="927" y="654"/>
                    <a:pt x="927" y="654"/>
                    <a:pt x="927" y="654"/>
                  </a:cubicBezTo>
                  <a:cubicBezTo>
                    <a:pt x="927" y="652"/>
                    <a:pt x="927" y="652"/>
                    <a:pt x="927" y="652"/>
                  </a:cubicBezTo>
                  <a:cubicBezTo>
                    <a:pt x="928" y="651"/>
                    <a:pt x="928" y="651"/>
                    <a:pt x="928" y="651"/>
                  </a:cubicBezTo>
                  <a:cubicBezTo>
                    <a:pt x="929" y="639"/>
                    <a:pt x="929" y="639"/>
                    <a:pt x="929" y="639"/>
                  </a:cubicBezTo>
                  <a:cubicBezTo>
                    <a:pt x="929" y="636"/>
                    <a:pt x="929" y="636"/>
                    <a:pt x="929" y="636"/>
                  </a:cubicBezTo>
                  <a:cubicBezTo>
                    <a:pt x="928" y="633"/>
                    <a:pt x="928" y="633"/>
                    <a:pt x="928" y="633"/>
                  </a:cubicBezTo>
                  <a:cubicBezTo>
                    <a:pt x="928" y="629"/>
                    <a:pt x="928" y="629"/>
                    <a:pt x="928" y="629"/>
                  </a:cubicBezTo>
                  <a:cubicBezTo>
                    <a:pt x="927" y="627"/>
                    <a:pt x="927" y="627"/>
                    <a:pt x="927" y="627"/>
                  </a:cubicBezTo>
                  <a:cubicBezTo>
                    <a:pt x="925" y="617"/>
                    <a:pt x="925" y="617"/>
                    <a:pt x="925" y="617"/>
                  </a:cubicBezTo>
                  <a:cubicBezTo>
                    <a:pt x="924" y="617"/>
                    <a:pt x="924" y="617"/>
                    <a:pt x="924" y="617"/>
                  </a:cubicBezTo>
                  <a:cubicBezTo>
                    <a:pt x="913" y="592"/>
                    <a:pt x="913" y="592"/>
                    <a:pt x="913" y="592"/>
                  </a:cubicBezTo>
                  <a:cubicBezTo>
                    <a:pt x="912" y="590"/>
                    <a:pt x="912" y="590"/>
                    <a:pt x="912" y="590"/>
                  </a:cubicBezTo>
                  <a:cubicBezTo>
                    <a:pt x="907" y="580"/>
                    <a:pt x="907" y="580"/>
                    <a:pt x="907" y="580"/>
                  </a:cubicBezTo>
                  <a:cubicBezTo>
                    <a:pt x="903" y="572"/>
                    <a:pt x="903" y="572"/>
                    <a:pt x="903" y="572"/>
                  </a:cubicBezTo>
                  <a:cubicBezTo>
                    <a:pt x="894" y="562"/>
                    <a:pt x="894" y="562"/>
                    <a:pt x="894" y="562"/>
                  </a:cubicBezTo>
                  <a:cubicBezTo>
                    <a:pt x="891" y="559"/>
                    <a:pt x="891" y="559"/>
                    <a:pt x="891" y="559"/>
                  </a:cubicBezTo>
                  <a:cubicBezTo>
                    <a:pt x="890" y="558"/>
                    <a:pt x="890" y="558"/>
                    <a:pt x="890" y="558"/>
                  </a:cubicBezTo>
                  <a:cubicBezTo>
                    <a:pt x="888" y="559"/>
                    <a:pt x="888" y="559"/>
                    <a:pt x="888" y="559"/>
                  </a:cubicBezTo>
                  <a:cubicBezTo>
                    <a:pt x="887" y="559"/>
                    <a:pt x="887" y="559"/>
                    <a:pt x="887" y="559"/>
                  </a:cubicBezTo>
                  <a:cubicBezTo>
                    <a:pt x="880" y="555"/>
                    <a:pt x="880" y="555"/>
                    <a:pt x="880" y="555"/>
                  </a:cubicBezTo>
                  <a:cubicBezTo>
                    <a:pt x="853" y="537"/>
                    <a:pt x="853" y="537"/>
                    <a:pt x="853" y="537"/>
                  </a:cubicBezTo>
                  <a:cubicBezTo>
                    <a:pt x="849" y="534"/>
                    <a:pt x="849" y="534"/>
                    <a:pt x="849" y="534"/>
                  </a:cubicBezTo>
                  <a:cubicBezTo>
                    <a:pt x="835" y="523"/>
                    <a:pt x="835" y="523"/>
                    <a:pt x="835" y="523"/>
                  </a:cubicBezTo>
                  <a:cubicBezTo>
                    <a:pt x="833" y="520"/>
                    <a:pt x="833" y="520"/>
                    <a:pt x="833" y="520"/>
                  </a:cubicBezTo>
                  <a:cubicBezTo>
                    <a:pt x="829" y="513"/>
                    <a:pt x="829" y="513"/>
                    <a:pt x="829" y="513"/>
                  </a:cubicBezTo>
                  <a:cubicBezTo>
                    <a:pt x="825" y="508"/>
                    <a:pt x="825" y="508"/>
                    <a:pt x="825" y="508"/>
                  </a:cubicBezTo>
                  <a:cubicBezTo>
                    <a:pt x="822" y="506"/>
                    <a:pt x="822" y="506"/>
                    <a:pt x="822" y="506"/>
                  </a:cubicBezTo>
                  <a:cubicBezTo>
                    <a:pt x="821" y="505"/>
                    <a:pt x="821" y="505"/>
                    <a:pt x="821" y="505"/>
                  </a:cubicBezTo>
                  <a:cubicBezTo>
                    <a:pt x="819" y="506"/>
                    <a:pt x="819" y="506"/>
                    <a:pt x="819" y="506"/>
                  </a:cubicBezTo>
                  <a:cubicBezTo>
                    <a:pt x="803" y="511"/>
                    <a:pt x="803" y="511"/>
                    <a:pt x="803" y="511"/>
                  </a:cubicBezTo>
                  <a:cubicBezTo>
                    <a:pt x="780" y="515"/>
                    <a:pt x="780" y="515"/>
                    <a:pt x="780" y="515"/>
                  </a:cubicBezTo>
                  <a:cubicBezTo>
                    <a:pt x="762" y="516"/>
                    <a:pt x="762" y="516"/>
                    <a:pt x="762" y="516"/>
                  </a:cubicBezTo>
                  <a:cubicBezTo>
                    <a:pt x="758" y="513"/>
                    <a:pt x="758" y="513"/>
                    <a:pt x="758" y="513"/>
                  </a:cubicBezTo>
                  <a:cubicBezTo>
                    <a:pt x="757" y="512"/>
                    <a:pt x="757" y="512"/>
                    <a:pt x="757" y="512"/>
                  </a:cubicBezTo>
                  <a:cubicBezTo>
                    <a:pt x="757" y="512"/>
                    <a:pt x="757" y="512"/>
                    <a:pt x="757" y="512"/>
                  </a:cubicBezTo>
                  <a:cubicBezTo>
                    <a:pt x="758" y="511"/>
                    <a:pt x="758" y="511"/>
                    <a:pt x="758" y="511"/>
                  </a:cubicBezTo>
                  <a:cubicBezTo>
                    <a:pt x="768" y="505"/>
                    <a:pt x="768" y="505"/>
                    <a:pt x="768" y="505"/>
                  </a:cubicBezTo>
                  <a:cubicBezTo>
                    <a:pt x="771" y="504"/>
                    <a:pt x="771" y="504"/>
                    <a:pt x="771" y="504"/>
                  </a:cubicBezTo>
                  <a:cubicBezTo>
                    <a:pt x="773" y="504"/>
                    <a:pt x="773" y="504"/>
                    <a:pt x="773" y="504"/>
                  </a:cubicBezTo>
                  <a:cubicBezTo>
                    <a:pt x="776" y="505"/>
                    <a:pt x="776" y="505"/>
                    <a:pt x="776" y="505"/>
                  </a:cubicBezTo>
                  <a:cubicBezTo>
                    <a:pt x="780" y="507"/>
                    <a:pt x="780" y="507"/>
                    <a:pt x="780" y="507"/>
                  </a:cubicBezTo>
                  <a:cubicBezTo>
                    <a:pt x="780" y="507"/>
                    <a:pt x="780" y="507"/>
                    <a:pt x="780" y="507"/>
                  </a:cubicBezTo>
                  <a:cubicBezTo>
                    <a:pt x="781" y="508"/>
                    <a:pt x="781" y="508"/>
                    <a:pt x="781" y="508"/>
                  </a:cubicBezTo>
                  <a:cubicBezTo>
                    <a:pt x="782" y="509"/>
                    <a:pt x="782" y="509"/>
                    <a:pt x="782" y="509"/>
                  </a:cubicBezTo>
                  <a:cubicBezTo>
                    <a:pt x="783" y="509"/>
                    <a:pt x="783" y="509"/>
                    <a:pt x="783" y="509"/>
                  </a:cubicBezTo>
                  <a:cubicBezTo>
                    <a:pt x="801" y="506"/>
                    <a:pt x="801" y="506"/>
                    <a:pt x="801" y="506"/>
                  </a:cubicBezTo>
                  <a:cubicBezTo>
                    <a:pt x="808" y="503"/>
                    <a:pt x="808" y="503"/>
                    <a:pt x="808" y="503"/>
                  </a:cubicBezTo>
                  <a:cubicBezTo>
                    <a:pt x="816" y="500"/>
                    <a:pt x="816" y="500"/>
                    <a:pt x="816" y="500"/>
                  </a:cubicBezTo>
                  <a:cubicBezTo>
                    <a:pt x="819" y="499"/>
                    <a:pt x="819" y="499"/>
                    <a:pt x="819" y="499"/>
                  </a:cubicBezTo>
                  <a:cubicBezTo>
                    <a:pt x="821" y="499"/>
                    <a:pt x="821" y="499"/>
                    <a:pt x="821" y="499"/>
                  </a:cubicBezTo>
                  <a:cubicBezTo>
                    <a:pt x="823" y="499"/>
                    <a:pt x="823" y="499"/>
                    <a:pt x="823" y="499"/>
                  </a:cubicBezTo>
                  <a:cubicBezTo>
                    <a:pt x="827" y="500"/>
                    <a:pt x="827" y="500"/>
                    <a:pt x="827" y="500"/>
                  </a:cubicBezTo>
                  <a:cubicBezTo>
                    <a:pt x="828" y="501"/>
                    <a:pt x="828" y="501"/>
                    <a:pt x="828" y="501"/>
                  </a:cubicBezTo>
                  <a:cubicBezTo>
                    <a:pt x="829" y="501"/>
                    <a:pt x="829" y="501"/>
                    <a:pt x="829" y="501"/>
                  </a:cubicBezTo>
                  <a:cubicBezTo>
                    <a:pt x="830" y="504"/>
                    <a:pt x="830" y="504"/>
                    <a:pt x="830" y="504"/>
                  </a:cubicBezTo>
                  <a:cubicBezTo>
                    <a:pt x="832" y="507"/>
                    <a:pt x="832" y="507"/>
                    <a:pt x="832" y="507"/>
                  </a:cubicBezTo>
                  <a:cubicBezTo>
                    <a:pt x="833" y="508"/>
                    <a:pt x="833" y="508"/>
                    <a:pt x="833" y="508"/>
                  </a:cubicBezTo>
                  <a:cubicBezTo>
                    <a:pt x="842" y="516"/>
                    <a:pt x="842" y="516"/>
                    <a:pt x="842" y="516"/>
                  </a:cubicBezTo>
                  <a:cubicBezTo>
                    <a:pt x="850" y="522"/>
                    <a:pt x="850" y="522"/>
                    <a:pt x="850" y="522"/>
                  </a:cubicBezTo>
                  <a:cubicBezTo>
                    <a:pt x="853" y="524"/>
                    <a:pt x="853" y="524"/>
                    <a:pt x="853" y="524"/>
                  </a:cubicBezTo>
                  <a:cubicBezTo>
                    <a:pt x="856" y="524"/>
                    <a:pt x="856" y="524"/>
                    <a:pt x="856" y="524"/>
                  </a:cubicBezTo>
                  <a:cubicBezTo>
                    <a:pt x="859" y="524"/>
                    <a:pt x="859" y="524"/>
                    <a:pt x="859" y="524"/>
                  </a:cubicBezTo>
                  <a:cubicBezTo>
                    <a:pt x="861" y="523"/>
                    <a:pt x="861" y="523"/>
                    <a:pt x="861" y="523"/>
                  </a:cubicBezTo>
                  <a:cubicBezTo>
                    <a:pt x="868" y="519"/>
                    <a:pt x="868" y="519"/>
                    <a:pt x="868" y="519"/>
                  </a:cubicBezTo>
                  <a:cubicBezTo>
                    <a:pt x="871" y="518"/>
                    <a:pt x="871" y="518"/>
                    <a:pt x="871" y="518"/>
                  </a:cubicBezTo>
                  <a:cubicBezTo>
                    <a:pt x="873" y="518"/>
                    <a:pt x="873" y="518"/>
                    <a:pt x="873" y="518"/>
                  </a:cubicBezTo>
                  <a:cubicBezTo>
                    <a:pt x="879" y="521"/>
                    <a:pt x="879" y="521"/>
                    <a:pt x="879" y="521"/>
                  </a:cubicBezTo>
                  <a:cubicBezTo>
                    <a:pt x="882" y="522"/>
                    <a:pt x="882" y="522"/>
                    <a:pt x="882" y="522"/>
                  </a:cubicBezTo>
                  <a:cubicBezTo>
                    <a:pt x="886" y="525"/>
                    <a:pt x="886" y="525"/>
                    <a:pt x="886" y="525"/>
                  </a:cubicBezTo>
                  <a:cubicBezTo>
                    <a:pt x="886" y="526"/>
                    <a:pt x="886" y="526"/>
                    <a:pt x="886" y="526"/>
                  </a:cubicBezTo>
                  <a:cubicBezTo>
                    <a:pt x="887" y="527"/>
                    <a:pt x="887" y="527"/>
                    <a:pt x="887" y="527"/>
                  </a:cubicBezTo>
                  <a:cubicBezTo>
                    <a:pt x="888" y="528"/>
                    <a:pt x="888" y="528"/>
                    <a:pt x="888" y="528"/>
                  </a:cubicBezTo>
                  <a:cubicBezTo>
                    <a:pt x="887" y="531"/>
                    <a:pt x="887" y="531"/>
                    <a:pt x="887" y="531"/>
                  </a:cubicBezTo>
                  <a:cubicBezTo>
                    <a:pt x="885" y="534"/>
                    <a:pt x="885" y="534"/>
                    <a:pt x="885" y="534"/>
                  </a:cubicBezTo>
                  <a:cubicBezTo>
                    <a:pt x="884" y="536"/>
                    <a:pt x="884" y="536"/>
                    <a:pt x="884" y="536"/>
                  </a:cubicBezTo>
                  <a:cubicBezTo>
                    <a:pt x="884" y="537"/>
                    <a:pt x="884" y="537"/>
                    <a:pt x="884" y="537"/>
                  </a:cubicBezTo>
                  <a:cubicBezTo>
                    <a:pt x="885" y="536"/>
                    <a:pt x="885" y="536"/>
                    <a:pt x="885" y="536"/>
                  </a:cubicBezTo>
                  <a:cubicBezTo>
                    <a:pt x="886" y="536"/>
                    <a:pt x="886" y="536"/>
                    <a:pt x="886" y="536"/>
                  </a:cubicBezTo>
                  <a:cubicBezTo>
                    <a:pt x="888" y="532"/>
                    <a:pt x="888" y="532"/>
                    <a:pt x="888" y="532"/>
                  </a:cubicBezTo>
                  <a:cubicBezTo>
                    <a:pt x="889" y="531"/>
                    <a:pt x="889" y="531"/>
                    <a:pt x="889" y="531"/>
                  </a:cubicBezTo>
                  <a:cubicBezTo>
                    <a:pt x="890" y="529"/>
                    <a:pt x="890" y="529"/>
                    <a:pt x="890" y="529"/>
                  </a:cubicBezTo>
                  <a:cubicBezTo>
                    <a:pt x="890" y="527"/>
                    <a:pt x="890" y="527"/>
                    <a:pt x="890" y="527"/>
                  </a:cubicBezTo>
                  <a:cubicBezTo>
                    <a:pt x="890" y="526"/>
                    <a:pt x="890" y="526"/>
                    <a:pt x="890" y="526"/>
                  </a:cubicBezTo>
                  <a:cubicBezTo>
                    <a:pt x="889" y="523"/>
                    <a:pt x="889" y="523"/>
                    <a:pt x="889" y="523"/>
                  </a:cubicBezTo>
                  <a:cubicBezTo>
                    <a:pt x="888" y="521"/>
                    <a:pt x="888" y="521"/>
                    <a:pt x="888" y="521"/>
                  </a:cubicBezTo>
                  <a:cubicBezTo>
                    <a:pt x="886" y="517"/>
                    <a:pt x="886" y="517"/>
                    <a:pt x="886" y="517"/>
                  </a:cubicBezTo>
                  <a:cubicBezTo>
                    <a:pt x="885" y="516"/>
                    <a:pt x="885" y="516"/>
                    <a:pt x="885" y="516"/>
                  </a:cubicBezTo>
                  <a:cubicBezTo>
                    <a:pt x="875" y="502"/>
                    <a:pt x="875" y="502"/>
                    <a:pt x="875" y="502"/>
                  </a:cubicBezTo>
                  <a:cubicBezTo>
                    <a:pt x="865" y="490"/>
                    <a:pt x="865" y="490"/>
                    <a:pt x="865" y="490"/>
                  </a:cubicBezTo>
                  <a:cubicBezTo>
                    <a:pt x="863" y="488"/>
                    <a:pt x="863" y="488"/>
                    <a:pt x="863" y="488"/>
                  </a:cubicBezTo>
                  <a:cubicBezTo>
                    <a:pt x="855" y="478"/>
                    <a:pt x="855" y="478"/>
                    <a:pt x="855" y="478"/>
                  </a:cubicBezTo>
                  <a:cubicBezTo>
                    <a:pt x="847" y="468"/>
                    <a:pt x="847" y="468"/>
                    <a:pt x="847" y="468"/>
                  </a:cubicBezTo>
                  <a:cubicBezTo>
                    <a:pt x="843" y="464"/>
                    <a:pt x="843" y="464"/>
                    <a:pt x="843" y="464"/>
                  </a:cubicBezTo>
                  <a:cubicBezTo>
                    <a:pt x="836" y="451"/>
                    <a:pt x="836" y="451"/>
                    <a:pt x="836" y="451"/>
                  </a:cubicBezTo>
                  <a:cubicBezTo>
                    <a:pt x="835" y="449"/>
                    <a:pt x="835" y="449"/>
                    <a:pt x="835" y="449"/>
                  </a:cubicBezTo>
                  <a:cubicBezTo>
                    <a:pt x="828" y="428"/>
                    <a:pt x="828" y="428"/>
                    <a:pt x="828" y="428"/>
                  </a:cubicBezTo>
                  <a:cubicBezTo>
                    <a:pt x="827" y="424"/>
                    <a:pt x="827" y="424"/>
                    <a:pt x="827" y="424"/>
                  </a:cubicBezTo>
                  <a:cubicBezTo>
                    <a:pt x="827" y="423"/>
                    <a:pt x="827" y="423"/>
                    <a:pt x="827" y="423"/>
                  </a:cubicBezTo>
                  <a:cubicBezTo>
                    <a:pt x="828" y="418"/>
                    <a:pt x="828" y="418"/>
                    <a:pt x="828" y="418"/>
                  </a:cubicBezTo>
                  <a:cubicBezTo>
                    <a:pt x="829" y="416"/>
                    <a:pt x="829" y="416"/>
                    <a:pt x="829" y="416"/>
                  </a:cubicBezTo>
                  <a:cubicBezTo>
                    <a:pt x="832" y="409"/>
                    <a:pt x="832" y="409"/>
                    <a:pt x="832" y="409"/>
                  </a:cubicBezTo>
                  <a:cubicBezTo>
                    <a:pt x="834" y="407"/>
                    <a:pt x="834" y="407"/>
                    <a:pt x="834" y="407"/>
                  </a:cubicBezTo>
                  <a:cubicBezTo>
                    <a:pt x="838" y="405"/>
                    <a:pt x="838" y="405"/>
                    <a:pt x="838" y="405"/>
                  </a:cubicBezTo>
                  <a:cubicBezTo>
                    <a:pt x="841" y="404"/>
                    <a:pt x="841" y="404"/>
                    <a:pt x="841" y="404"/>
                  </a:cubicBezTo>
                  <a:cubicBezTo>
                    <a:pt x="846" y="402"/>
                    <a:pt x="846" y="402"/>
                    <a:pt x="846" y="402"/>
                  </a:cubicBezTo>
                  <a:cubicBezTo>
                    <a:pt x="847" y="400"/>
                    <a:pt x="847" y="400"/>
                    <a:pt x="847" y="400"/>
                  </a:cubicBezTo>
                  <a:cubicBezTo>
                    <a:pt x="846" y="399"/>
                    <a:pt x="846" y="399"/>
                    <a:pt x="846" y="399"/>
                  </a:cubicBezTo>
                  <a:cubicBezTo>
                    <a:pt x="840" y="396"/>
                    <a:pt x="840" y="396"/>
                    <a:pt x="840" y="396"/>
                  </a:cubicBezTo>
                  <a:cubicBezTo>
                    <a:pt x="835" y="394"/>
                    <a:pt x="835" y="394"/>
                    <a:pt x="835" y="394"/>
                  </a:cubicBezTo>
                  <a:cubicBezTo>
                    <a:pt x="823" y="391"/>
                    <a:pt x="823" y="391"/>
                    <a:pt x="823" y="391"/>
                  </a:cubicBezTo>
                  <a:cubicBezTo>
                    <a:pt x="821" y="389"/>
                    <a:pt x="821" y="389"/>
                    <a:pt x="821" y="389"/>
                  </a:cubicBezTo>
                  <a:cubicBezTo>
                    <a:pt x="818" y="387"/>
                    <a:pt x="818" y="387"/>
                    <a:pt x="818" y="387"/>
                  </a:cubicBezTo>
                  <a:cubicBezTo>
                    <a:pt x="797" y="365"/>
                    <a:pt x="797" y="365"/>
                    <a:pt x="797" y="365"/>
                  </a:cubicBezTo>
                  <a:cubicBezTo>
                    <a:pt x="795" y="361"/>
                    <a:pt x="795" y="361"/>
                    <a:pt x="795" y="361"/>
                  </a:cubicBezTo>
                  <a:cubicBezTo>
                    <a:pt x="794" y="360"/>
                    <a:pt x="794" y="360"/>
                    <a:pt x="794" y="360"/>
                  </a:cubicBezTo>
                  <a:cubicBezTo>
                    <a:pt x="793" y="356"/>
                    <a:pt x="793" y="356"/>
                    <a:pt x="793" y="356"/>
                  </a:cubicBezTo>
                  <a:cubicBezTo>
                    <a:pt x="792" y="352"/>
                    <a:pt x="792" y="352"/>
                    <a:pt x="792" y="352"/>
                  </a:cubicBezTo>
                  <a:cubicBezTo>
                    <a:pt x="792" y="350"/>
                    <a:pt x="792" y="350"/>
                    <a:pt x="792" y="350"/>
                  </a:cubicBezTo>
                  <a:cubicBezTo>
                    <a:pt x="791" y="348"/>
                    <a:pt x="791" y="348"/>
                    <a:pt x="791" y="348"/>
                  </a:cubicBezTo>
                  <a:cubicBezTo>
                    <a:pt x="787" y="338"/>
                    <a:pt x="787" y="338"/>
                    <a:pt x="787" y="338"/>
                  </a:cubicBezTo>
                  <a:cubicBezTo>
                    <a:pt x="776" y="321"/>
                    <a:pt x="776" y="321"/>
                    <a:pt x="776" y="321"/>
                  </a:cubicBezTo>
                  <a:cubicBezTo>
                    <a:pt x="775" y="320"/>
                    <a:pt x="775" y="320"/>
                    <a:pt x="775" y="320"/>
                  </a:cubicBezTo>
                  <a:cubicBezTo>
                    <a:pt x="768" y="312"/>
                    <a:pt x="768" y="312"/>
                    <a:pt x="768" y="312"/>
                  </a:cubicBezTo>
                  <a:cubicBezTo>
                    <a:pt x="736" y="295"/>
                    <a:pt x="736" y="295"/>
                    <a:pt x="736" y="295"/>
                  </a:cubicBezTo>
                  <a:cubicBezTo>
                    <a:pt x="735" y="295"/>
                    <a:pt x="735" y="295"/>
                    <a:pt x="735" y="295"/>
                  </a:cubicBezTo>
                  <a:cubicBezTo>
                    <a:pt x="726" y="292"/>
                    <a:pt x="726" y="292"/>
                    <a:pt x="726" y="292"/>
                  </a:cubicBezTo>
                  <a:cubicBezTo>
                    <a:pt x="716" y="290"/>
                    <a:pt x="716" y="290"/>
                    <a:pt x="716" y="290"/>
                  </a:cubicBezTo>
                  <a:cubicBezTo>
                    <a:pt x="701" y="287"/>
                    <a:pt x="701" y="287"/>
                    <a:pt x="701" y="287"/>
                  </a:cubicBezTo>
                  <a:cubicBezTo>
                    <a:pt x="683" y="278"/>
                    <a:pt x="683" y="278"/>
                    <a:pt x="683" y="278"/>
                  </a:cubicBezTo>
                  <a:cubicBezTo>
                    <a:pt x="664" y="256"/>
                    <a:pt x="664" y="256"/>
                    <a:pt x="664" y="256"/>
                  </a:cubicBezTo>
                  <a:cubicBezTo>
                    <a:pt x="657" y="247"/>
                    <a:pt x="657" y="247"/>
                    <a:pt x="657" y="247"/>
                  </a:cubicBezTo>
                  <a:cubicBezTo>
                    <a:pt x="656" y="245"/>
                    <a:pt x="656" y="245"/>
                    <a:pt x="656" y="245"/>
                  </a:cubicBezTo>
                  <a:cubicBezTo>
                    <a:pt x="656" y="244"/>
                    <a:pt x="656" y="244"/>
                    <a:pt x="656" y="244"/>
                  </a:cubicBezTo>
                  <a:cubicBezTo>
                    <a:pt x="647" y="215"/>
                    <a:pt x="647" y="215"/>
                    <a:pt x="647" y="215"/>
                  </a:cubicBezTo>
                  <a:cubicBezTo>
                    <a:pt x="645" y="207"/>
                    <a:pt x="645" y="207"/>
                    <a:pt x="645" y="207"/>
                  </a:cubicBezTo>
                  <a:cubicBezTo>
                    <a:pt x="642" y="194"/>
                    <a:pt x="642" y="194"/>
                    <a:pt x="642" y="194"/>
                  </a:cubicBezTo>
                  <a:cubicBezTo>
                    <a:pt x="636" y="187"/>
                    <a:pt x="636" y="187"/>
                    <a:pt x="636" y="187"/>
                  </a:cubicBezTo>
                  <a:cubicBezTo>
                    <a:pt x="626" y="168"/>
                    <a:pt x="626" y="168"/>
                    <a:pt x="626" y="168"/>
                  </a:cubicBezTo>
                  <a:cubicBezTo>
                    <a:pt x="625" y="166"/>
                    <a:pt x="625" y="166"/>
                    <a:pt x="625" y="166"/>
                  </a:cubicBezTo>
                  <a:cubicBezTo>
                    <a:pt x="611" y="119"/>
                    <a:pt x="611" y="119"/>
                    <a:pt x="611" y="119"/>
                  </a:cubicBezTo>
                  <a:cubicBezTo>
                    <a:pt x="606" y="94"/>
                    <a:pt x="606" y="94"/>
                    <a:pt x="606" y="94"/>
                  </a:cubicBezTo>
                  <a:cubicBezTo>
                    <a:pt x="605" y="92"/>
                    <a:pt x="605" y="92"/>
                    <a:pt x="605" y="92"/>
                  </a:cubicBezTo>
                  <a:cubicBezTo>
                    <a:pt x="606" y="91"/>
                    <a:pt x="606" y="91"/>
                    <a:pt x="606" y="91"/>
                  </a:cubicBezTo>
                  <a:cubicBezTo>
                    <a:pt x="607" y="89"/>
                    <a:pt x="607" y="89"/>
                    <a:pt x="607" y="89"/>
                  </a:cubicBezTo>
                  <a:cubicBezTo>
                    <a:pt x="608" y="87"/>
                    <a:pt x="608" y="87"/>
                    <a:pt x="608" y="87"/>
                  </a:cubicBezTo>
                  <a:cubicBezTo>
                    <a:pt x="609" y="85"/>
                    <a:pt x="609" y="85"/>
                    <a:pt x="609" y="85"/>
                  </a:cubicBezTo>
                  <a:cubicBezTo>
                    <a:pt x="609" y="82"/>
                    <a:pt x="609" y="82"/>
                    <a:pt x="609" y="82"/>
                  </a:cubicBezTo>
                  <a:cubicBezTo>
                    <a:pt x="605" y="66"/>
                    <a:pt x="605" y="66"/>
                    <a:pt x="605" y="66"/>
                  </a:cubicBezTo>
                  <a:cubicBezTo>
                    <a:pt x="600" y="51"/>
                    <a:pt x="600" y="51"/>
                    <a:pt x="600" y="51"/>
                  </a:cubicBezTo>
                  <a:cubicBezTo>
                    <a:pt x="598" y="44"/>
                    <a:pt x="598" y="44"/>
                    <a:pt x="598" y="44"/>
                  </a:cubicBezTo>
                  <a:cubicBezTo>
                    <a:pt x="598" y="43"/>
                    <a:pt x="598" y="43"/>
                    <a:pt x="598" y="43"/>
                  </a:cubicBezTo>
                  <a:cubicBezTo>
                    <a:pt x="576" y="27"/>
                    <a:pt x="576" y="27"/>
                    <a:pt x="576" y="27"/>
                  </a:cubicBezTo>
                  <a:cubicBezTo>
                    <a:pt x="575" y="27"/>
                    <a:pt x="575" y="27"/>
                    <a:pt x="575" y="27"/>
                  </a:cubicBezTo>
                  <a:cubicBezTo>
                    <a:pt x="575" y="27"/>
                    <a:pt x="575" y="27"/>
                    <a:pt x="575" y="27"/>
                  </a:cubicBezTo>
                  <a:cubicBezTo>
                    <a:pt x="562" y="17"/>
                    <a:pt x="562" y="17"/>
                    <a:pt x="562" y="17"/>
                  </a:cubicBezTo>
                  <a:cubicBezTo>
                    <a:pt x="555" y="11"/>
                    <a:pt x="555" y="11"/>
                    <a:pt x="555" y="11"/>
                  </a:cubicBezTo>
                  <a:cubicBezTo>
                    <a:pt x="551" y="5"/>
                    <a:pt x="551" y="5"/>
                    <a:pt x="551" y="5"/>
                  </a:cubicBezTo>
                  <a:cubicBezTo>
                    <a:pt x="548" y="0"/>
                    <a:pt x="548" y="0"/>
                    <a:pt x="548" y="0"/>
                  </a:cubicBezTo>
                  <a:cubicBezTo>
                    <a:pt x="548" y="1"/>
                    <a:pt x="548" y="1"/>
                    <a:pt x="548" y="1"/>
                  </a:cubicBezTo>
                  <a:cubicBezTo>
                    <a:pt x="547" y="2"/>
                    <a:pt x="547" y="2"/>
                    <a:pt x="547" y="2"/>
                  </a:cubicBezTo>
                  <a:cubicBezTo>
                    <a:pt x="547" y="3"/>
                    <a:pt x="547" y="3"/>
                    <a:pt x="547" y="3"/>
                  </a:cubicBezTo>
                  <a:cubicBezTo>
                    <a:pt x="547" y="3"/>
                    <a:pt x="547" y="4"/>
                    <a:pt x="547" y="5"/>
                  </a:cubicBezTo>
                  <a:cubicBezTo>
                    <a:pt x="547" y="6"/>
                    <a:pt x="547" y="7"/>
                    <a:pt x="546" y="9"/>
                  </a:cubicBezTo>
                  <a:cubicBezTo>
                    <a:pt x="545" y="10"/>
                    <a:pt x="545" y="10"/>
                    <a:pt x="545" y="10"/>
                  </a:cubicBezTo>
                  <a:cubicBezTo>
                    <a:pt x="544" y="13"/>
                    <a:pt x="540" y="15"/>
                    <a:pt x="540" y="15"/>
                  </a:cubicBezTo>
                  <a:cubicBezTo>
                    <a:pt x="539" y="16"/>
                    <a:pt x="537" y="17"/>
                    <a:pt x="537" y="18"/>
                  </a:cubicBezTo>
                  <a:cubicBezTo>
                    <a:pt x="536" y="19"/>
                    <a:pt x="536" y="20"/>
                    <a:pt x="535" y="20"/>
                  </a:cubicBezTo>
                  <a:cubicBezTo>
                    <a:pt x="535" y="20"/>
                    <a:pt x="535" y="20"/>
                    <a:pt x="533" y="22"/>
                  </a:cubicBezTo>
                  <a:cubicBezTo>
                    <a:pt x="532" y="23"/>
                    <a:pt x="531" y="24"/>
                    <a:pt x="530" y="24"/>
                  </a:cubicBezTo>
                  <a:cubicBezTo>
                    <a:pt x="530" y="24"/>
                    <a:pt x="530" y="24"/>
                    <a:pt x="530" y="24"/>
                  </a:cubicBezTo>
                  <a:cubicBezTo>
                    <a:pt x="529" y="25"/>
                    <a:pt x="528" y="26"/>
                    <a:pt x="527" y="26"/>
                  </a:cubicBezTo>
                  <a:cubicBezTo>
                    <a:pt x="526" y="26"/>
                    <a:pt x="525" y="28"/>
                    <a:pt x="525" y="29"/>
                  </a:cubicBezTo>
                  <a:cubicBezTo>
                    <a:pt x="524" y="29"/>
                    <a:pt x="524" y="29"/>
                    <a:pt x="524" y="29"/>
                  </a:cubicBezTo>
                  <a:cubicBezTo>
                    <a:pt x="523" y="30"/>
                    <a:pt x="523" y="30"/>
                    <a:pt x="523" y="30"/>
                  </a:cubicBezTo>
                  <a:cubicBezTo>
                    <a:pt x="524" y="31"/>
                    <a:pt x="524" y="32"/>
                    <a:pt x="523" y="33"/>
                  </a:cubicBezTo>
                  <a:cubicBezTo>
                    <a:pt x="522" y="35"/>
                    <a:pt x="521" y="36"/>
                    <a:pt x="519" y="37"/>
                  </a:cubicBezTo>
                  <a:cubicBezTo>
                    <a:pt x="519" y="37"/>
                    <a:pt x="519" y="37"/>
                    <a:pt x="519" y="37"/>
                  </a:cubicBezTo>
                  <a:cubicBezTo>
                    <a:pt x="519" y="37"/>
                    <a:pt x="519" y="37"/>
                    <a:pt x="519" y="37"/>
                  </a:cubicBezTo>
                  <a:cubicBezTo>
                    <a:pt x="520" y="37"/>
                    <a:pt x="520" y="37"/>
                    <a:pt x="520" y="37"/>
                  </a:cubicBezTo>
                  <a:cubicBezTo>
                    <a:pt x="520" y="37"/>
                    <a:pt x="521" y="37"/>
                    <a:pt x="521" y="38"/>
                  </a:cubicBezTo>
                  <a:cubicBezTo>
                    <a:pt x="521" y="38"/>
                    <a:pt x="524" y="39"/>
                    <a:pt x="527" y="41"/>
                  </a:cubicBezTo>
                  <a:cubicBezTo>
                    <a:pt x="528" y="42"/>
                    <a:pt x="528" y="42"/>
                    <a:pt x="528" y="42"/>
                  </a:cubicBezTo>
                  <a:cubicBezTo>
                    <a:pt x="529" y="43"/>
                    <a:pt x="529" y="43"/>
                    <a:pt x="529" y="44"/>
                  </a:cubicBezTo>
                  <a:cubicBezTo>
                    <a:pt x="529" y="45"/>
                    <a:pt x="529" y="45"/>
                    <a:pt x="529" y="45"/>
                  </a:cubicBezTo>
                  <a:cubicBezTo>
                    <a:pt x="529" y="46"/>
                    <a:pt x="529" y="47"/>
                    <a:pt x="529" y="48"/>
                  </a:cubicBezTo>
                  <a:cubicBezTo>
                    <a:pt x="529" y="49"/>
                    <a:pt x="530" y="51"/>
                    <a:pt x="531" y="51"/>
                  </a:cubicBezTo>
                  <a:cubicBezTo>
                    <a:pt x="533" y="53"/>
                    <a:pt x="533" y="53"/>
                    <a:pt x="533" y="53"/>
                  </a:cubicBezTo>
                  <a:cubicBezTo>
                    <a:pt x="535" y="56"/>
                    <a:pt x="535" y="56"/>
                    <a:pt x="535" y="56"/>
                  </a:cubicBezTo>
                  <a:cubicBezTo>
                    <a:pt x="535" y="56"/>
                    <a:pt x="535" y="56"/>
                    <a:pt x="536" y="57"/>
                  </a:cubicBezTo>
                  <a:cubicBezTo>
                    <a:pt x="537" y="62"/>
                    <a:pt x="537" y="62"/>
                    <a:pt x="537" y="62"/>
                  </a:cubicBezTo>
                  <a:cubicBezTo>
                    <a:pt x="537" y="63"/>
                    <a:pt x="537" y="63"/>
                    <a:pt x="538" y="64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38" y="64"/>
                    <a:pt x="538" y="64"/>
                    <a:pt x="538" y="64"/>
                  </a:cubicBezTo>
                  <a:cubicBezTo>
                    <a:pt x="538" y="65"/>
                    <a:pt x="538" y="65"/>
                    <a:pt x="538" y="65"/>
                  </a:cubicBezTo>
                  <a:cubicBezTo>
                    <a:pt x="538" y="65"/>
                    <a:pt x="538" y="65"/>
                    <a:pt x="538" y="65"/>
                  </a:cubicBezTo>
                  <a:cubicBezTo>
                    <a:pt x="539" y="65"/>
                    <a:pt x="539" y="66"/>
                    <a:pt x="539" y="66"/>
                  </a:cubicBezTo>
                  <a:cubicBezTo>
                    <a:pt x="540" y="68"/>
                    <a:pt x="540" y="69"/>
                    <a:pt x="540" y="71"/>
                  </a:cubicBezTo>
                  <a:cubicBezTo>
                    <a:pt x="540" y="71"/>
                    <a:pt x="539" y="71"/>
                    <a:pt x="539" y="72"/>
                  </a:cubicBezTo>
                  <a:cubicBezTo>
                    <a:pt x="539" y="72"/>
                    <a:pt x="539" y="72"/>
                    <a:pt x="539" y="72"/>
                  </a:cubicBezTo>
                  <a:cubicBezTo>
                    <a:pt x="540" y="72"/>
                    <a:pt x="540" y="72"/>
                    <a:pt x="540" y="72"/>
                  </a:cubicBezTo>
                  <a:cubicBezTo>
                    <a:pt x="540" y="72"/>
                    <a:pt x="541" y="73"/>
                    <a:pt x="542" y="74"/>
                  </a:cubicBezTo>
                  <a:cubicBezTo>
                    <a:pt x="543" y="74"/>
                    <a:pt x="543" y="74"/>
                    <a:pt x="543" y="74"/>
                  </a:cubicBezTo>
                  <a:cubicBezTo>
                    <a:pt x="544" y="75"/>
                    <a:pt x="545" y="75"/>
                    <a:pt x="546" y="76"/>
                  </a:cubicBezTo>
                  <a:cubicBezTo>
                    <a:pt x="546" y="78"/>
                    <a:pt x="545" y="81"/>
                    <a:pt x="544" y="81"/>
                  </a:cubicBezTo>
                  <a:cubicBezTo>
                    <a:pt x="544" y="82"/>
                    <a:pt x="543" y="83"/>
                    <a:pt x="542" y="82"/>
                  </a:cubicBezTo>
                  <a:cubicBezTo>
                    <a:pt x="541" y="82"/>
                    <a:pt x="541" y="82"/>
                    <a:pt x="540" y="82"/>
                  </a:cubicBezTo>
                  <a:cubicBezTo>
                    <a:pt x="541" y="82"/>
                    <a:pt x="541" y="84"/>
                    <a:pt x="540" y="85"/>
                  </a:cubicBezTo>
                  <a:cubicBezTo>
                    <a:pt x="540" y="86"/>
                    <a:pt x="539" y="87"/>
                    <a:pt x="538" y="88"/>
                  </a:cubicBezTo>
                  <a:cubicBezTo>
                    <a:pt x="537" y="89"/>
                    <a:pt x="537" y="89"/>
                    <a:pt x="537" y="89"/>
                  </a:cubicBezTo>
                  <a:cubicBezTo>
                    <a:pt x="536" y="90"/>
                    <a:pt x="536" y="90"/>
                    <a:pt x="535" y="91"/>
                  </a:cubicBezTo>
                  <a:cubicBezTo>
                    <a:pt x="535" y="91"/>
                    <a:pt x="534" y="92"/>
                    <a:pt x="533" y="92"/>
                  </a:cubicBezTo>
                  <a:cubicBezTo>
                    <a:pt x="532" y="93"/>
                    <a:pt x="532" y="93"/>
                    <a:pt x="532" y="93"/>
                  </a:cubicBezTo>
                  <a:cubicBezTo>
                    <a:pt x="531" y="94"/>
                    <a:pt x="531" y="94"/>
                    <a:pt x="531" y="94"/>
                  </a:cubicBezTo>
                  <a:cubicBezTo>
                    <a:pt x="529" y="96"/>
                    <a:pt x="527" y="96"/>
                    <a:pt x="526" y="95"/>
                  </a:cubicBezTo>
                  <a:cubicBezTo>
                    <a:pt x="525" y="95"/>
                    <a:pt x="525" y="95"/>
                    <a:pt x="525" y="95"/>
                  </a:cubicBezTo>
                  <a:cubicBezTo>
                    <a:pt x="524" y="95"/>
                    <a:pt x="524" y="95"/>
                    <a:pt x="522" y="96"/>
                  </a:cubicBezTo>
                  <a:cubicBezTo>
                    <a:pt x="522" y="97"/>
                    <a:pt x="521" y="98"/>
                    <a:pt x="520" y="99"/>
                  </a:cubicBezTo>
                  <a:cubicBezTo>
                    <a:pt x="519" y="100"/>
                    <a:pt x="519" y="100"/>
                    <a:pt x="518" y="100"/>
                  </a:cubicBezTo>
                  <a:cubicBezTo>
                    <a:pt x="518" y="101"/>
                    <a:pt x="518" y="101"/>
                    <a:pt x="518" y="101"/>
                  </a:cubicBezTo>
                  <a:cubicBezTo>
                    <a:pt x="518" y="102"/>
                    <a:pt x="518" y="102"/>
                    <a:pt x="518" y="103"/>
                  </a:cubicBezTo>
                  <a:cubicBezTo>
                    <a:pt x="518" y="103"/>
                    <a:pt x="518" y="103"/>
                    <a:pt x="518" y="103"/>
                  </a:cubicBezTo>
                  <a:cubicBezTo>
                    <a:pt x="518" y="103"/>
                    <a:pt x="518" y="103"/>
                    <a:pt x="518" y="103"/>
                  </a:cubicBezTo>
                  <a:cubicBezTo>
                    <a:pt x="518" y="103"/>
                    <a:pt x="518" y="103"/>
                    <a:pt x="518" y="103"/>
                  </a:cubicBezTo>
                  <a:cubicBezTo>
                    <a:pt x="518" y="103"/>
                    <a:pt x="518" y="103"/>
                    <a:pt x="518" y="103"/>
                  </a:cubicBezTo>
                  <a:cubicBezTo>
                    <a:pt x="517" y="103"/>
                    <a:pt x="517" y="103"/>
                    <a:pt x="517" y="103"/>
                  </a:cubicBezTo>
                  <a:cubicBezTo>
                    <a:pt x="517" y="104"/>
                    <a:pt x="517" y="104"/>
                    <a:pt x="517" y="104"/>
                  </a:cubicBezTo>
                  <a:cubicBezTo>
                    <a:pt x="517" y="105"/>
                    <a:pt x="518" y="106"/>
                    <a:pt x="517" y="107"/>
                  </a:cubicBezTo>
                  <a:cubicBezTo>
                    <a:pt x="517" y="108"/>
                    <a:pt x="517" y="109"/>
                    <a:pt x="516" y="110"/>
                  </a:cubicBezTo>
                  <a:cubicBezTo>
                    <a:pt x="514" y="110"/>
                    <a:pt x="513" y="110"/>
                    <a:pt x="513" y="109"/>
                  </a:cubicBezTo>
                  <a:cubicBezTo>
                    <a:pt x="512" y="109"/>
                    <a:pt x="512" y="109"/>
                    <a:pt x="512" y="109"/>
                  </a:cubicBezTo>
                  <a:cubicBezTo>
                    <a:pt x="511" y="109"/>
                    <a:pt x="511" y="109"/>
                    <a:pt x="511" y="109"/>
                  </a:cubicBezTo>
                  <a:cubicBezTo>
                    <a:pt x="510" y="109"/>
                    <a:pt x="510" y="109"/>
                    <a:pt x="508" y="109"/>
                  </a:cubicBezTo>
                  <a:cubicBezTo>
                    <a:pt x="507" y="109"/>
                    <a:pt x="507" y="109"/>
                    <a:pt x="507" y="109"/>
                  </a:cubicBezTo>
                  <a:cubicBezTo>
                    <a:pt x="507" y="109"/>
                    <a:pt x="507" y="109"/>
                    <a:pt x="506" y="109"/>
                  </a:cubicBezTo>
                  <a:cubicBezTo>
                    <a:pt x="500" y="109"/>
                    <a:pt x="500" y="109"/>
                    <a:pt x="500" y="109"/>
                  </a:cubicBezTo>
                  <a:cubicBezTo>
                    <a:pt x="499" y="109"/>
                    <a:pt x="498" y="110"/>
                    <a:pt x="498" y="110"/>
                  </a:cubicBezTo>
                  <a:cubicBezTo>
                    <a:pt x="497" y="111"/>
                    <a:pt x="497" y="111"/>
                    <a:pt x="496" y="111"/>
                  </a:cubicBezTo>
                  <a:cubicBezTo>
                    <a:pt x="495" y="112"/>
                    <a:pt x="494" y="113"/>
                    <a:pt x="492" y="115"/>
                  </a:cubicBezTo>
                  <a:cubicBezTo>
                    <a:pt x="491" y="116"/>
                    <a:pt x="490" y="117"/>
                    <a:pt x="489" y="117"/>
                  </a:cubicBezTo>
                  <a:cubicBezTo>
                    <a:pt x="485" y="124"/>
                    <a:pt x="485" y="124"/>
                    <a:pt x="485" y="124"/>
                  </a:cubicBezTo>
                  <a:cubicBezTo>
                    <a:pt x="485" y="128"/>
                    <a:pt x="485" y="128"/>
                    <a:pt x="485" y="128"/>
                  </a:cubicBezTo>
                  <a:cubicBezTo>
                    <a:pt x="484" y="131"/>
                    <a:pt x="483" y="132"/>
                    <a:pt x="482" y="132"/>
                  </a:cubicBezTo>
                  <a:cubicBezTo>
                    <a:pt x="481" y="133"/>
                    <a:pt x="480" y="133"/>
                    <a:pt x="478" y="134"/>
                  </a:cubicBezTo>
                  <a:cubicBezTo>
                    <a:pt x="476" y="135"/>
                    <a:pt x="474" y="136"/>
                    <a:pt x="473" y="137"/>
                  </a:cubicBezTo>
                  <a:cubicBezTo>
                    <a:pt x="473" y="137"/>
                    <a:pt x="473" y="137"/>
                    <a:pt x="473" y="137"/>
                  </a:cubicBezTo>
                  <a:cubicBezTo>
                    <a:pt x="474" y="138"/>
                    <a:pt x="474" y="140"/>
                    <a:pt x="474" y="143"/>
                  </a:cubicBezTo>
                  <a:cubicBezTo>
                    <a:pt x="473" y="146"/>
                    <a:pt x="473" y="147"/>
                    <a:pt x="471" y="147"/>
                  </a:cubicBezTo>
                  <a:cubicBezTo>
                    <a:pt x="471" y="147"/>
                    <a:pt x="471" y="147"/>
                    <a:pt x="471" y="147"/>
                  </a:cubicBezTo>
                  <a:cubicBezTo>
                    <a:pt x="470" y="148"/>
                    <a:pt x="470" y="149"/>
                    <a:pt x="468" y="149"/>
                  </a:cubicBezTo>
                  <a:cubicBezTo>
                    <a:pt x="468" y="148"/>
                    <a:pt x="468" y="148"/>
                    <a:pt x="468" y="148"/>
                  </a:cubicBezTo>
                  <a:cubicBezTo>
                    <a:pt x="467" y="148"/>
                    <a:pt x="467" y="148"/>
                    <a:pt x="467" y="149"/>
                  </a:cubicBezTo>
                  <a:cubicBezTo>
                    <a:pt x="467" y="150"/>
                    <a:pt x="467" y="150"/>
                    <a:pt x="467" y="150"/>
                  </a:cubicBezTo>
                  <a:cubicBezTo>
                    <a:pt x="467" y="150"/>
                    <a:pt x="467" y="152"/>
                    <a:pt x="467" y="154"/>
                  </a:cubicBezTo>
                  <a:cubicBezTo>
                    <a:pt x="466" y="155"/>
                    <a:pt x="466" y="156"/>
                    <a:pt x="467" y="156"/>
                  </a:cubicBezTo>
                  <a:cubicBezTo>
                    <a:pt x="467" y="157"/>
                    <a:pt x="467" y="157"/>
                    <a:pt x="467" y="158"/>
                  </a:cubicBezTo>
                  <a:cubicBezTo>
                    <a:pt x="467" y="162"/>
                    <a:pt x="467" y="162"/>
                    <a:pt x="467" y="162"/>
                  </a:cubicBezTo>
                  <a:cubicBezTo>
                    <a:pt x="467" y="162"/>
                    <a:pt x="467" y="162"/>
                    <a:pt x="467" y="162"/>
                  </a:cubicBezTo>
                  <a:cubicBezTo>
                    <a:pt x="467" y="162"/>
                    <a:pt x="467" y="162"/>
                    <a:pt x="467" y="162"/>
                  </a:cubicBezTo>
                  <a:cubicBezTo>
                    <a:pt x="467" y="162"/>
                    <a:pt x="468" y="162"/>
                    <a:pt x="468" y="163"/>
                  </a:cubicBezTo>
                  <a:cubicBezTo>
                    <a:pt x="467" y="165"/>
                    <a:pt x="467" y="166"/>
                    <a:pt x="466" y="168"/>
                  </a:cubicBezTo>
                  <a:cubicBezTo>
                    <a:pt x="465" y="167"/>
                    <a:pt x="465" y="167"/>
                    <a:pt x="465" y="166"/>
                  </a:cubicBezTo>
                  <a:cubicBezTo>
                    <a:pt x="463" y="166"/>
                    <a:pt x="463" y="166"/>
                    <a:pt x="463" y="166"/>
                  </a:cubicBezTo>
                  <a:cubicBezTo>
                    <a:pt x="463" y="167"/>
                    <a:pt x="461" y="168"/>
                    <a:pt x="457" y="169"/>
                  </a:cubicBezTo>
                  <a:cubicBezTo>
                    <a:pt x="456" y="170"/>
                    <a:pt x="456" y="170"/>
                    <a:pt x="455" y="170"/>
                  </a:cubicBezTo>
                  <a:cubicBezTo>
                    <a:pt x="455" y="171"/>
                    <a:pt x="455" y="171"/>
                    <a:pt x="455" y="171"/>
                  </a:cubicBezTo>
                  <a:cubicBezTo>
                    <a:pt x="454" y="173"/>
                    <a:pt x="454" y="173"/>
                    <a:pt x="454" y="173"/>
                  </a:cubicBezTo>
                  <a:cubicBezTo>
                    <a:pt x="453" y="175"/>
                    <a:pt x="452" y="176"/>
                    <a:pt x="451" y="176"/>
                  </a:cubicBezTo>
                  <a:cubicBezTo>
                    <a:pt x="451" y="176"/>
                    <a:pt x="451" y="176"/>
                    <a:pt x="451" y="176"/>
                  </a:cubicBezTo>
                  <a:cubicBezTo>
                    <a:pt x="450" y="177"/>
                    <a:pt x="449" y="178"/>
                    <a:pt x="449" y="177"/>
                  </a:cubicBezTo>
                  <a:cubicBezTo>
                    <a:pt x="449" y="177"/>
                    <a:pt x="448" y="177"/>
                    <a:pt x="447" y="177"/>
                  </a:cubicBezTo>
                  <a:cubicBezTo>
                    <a:pt x="446" y="178"/>
                    <a:pt x="444" y="179"/>
                    <a:pt x="442" y="180"/>
                  </a:cubicBezTo>
                  <a:cubicBezTo>
                    <a:pt x="441" y="181"/>
                    <a:pt x="441" y="181"/>
                    <a:pt x="441" y="181"/>
                  </a:cubicBezTo>
                  <a:cubicBezTo>
                    <a:pt x="441" y="181"/>
                    <a:pt x="441" y="183"/>
                    <a:pt x="440" y="184"/>
                  </a:cubicBezTo>
                  <a:cubicBezTo>
                    <a:pt x="438" y="186"/>
                    <a:pt x="437" y="187"/>
                    <a:pt x="436" y="187"/>
                  </a:cubicBezTo>
                  <a:cubicBezTo>
                    <a:pt x="434" y="188"/>
                    <a:pt x="434" y="188"/>
                    <a:pt x="434" y="188"/>
                  </a:cubicBezTo>
                  <a:cubicBezTo>
                    <a:pt x="432" y="189"/>
                    <a:pt x="432" y="189"/>
                    <a:pt x="432" y="189"/>
                  </a:cubicBezTo>
                  <a:cubicBezTo>
                    <a:pt x="432" y="190"/>
                    <a:pt x="432" y="190"/>
                    <a:pt x="432" y="190"/>
                  </a:cubicBezTo>
                  <a:cubicBezTo>
                    <a:pt x="432" y="191"/>
                    <a:pt x="431" y="192"/>
                    <a:pt x="430" y="192"/>
                  </a:cubicBezTo>
                  <a:cubicBezTo>
                    <a:pt x="430" y="192"/>
                    <a:pt x="430" y="192"/>
                    <a:pt x="429" y="193"/>
                  </a:cubicBezTo>
                  <a:cubicBezTo>
                    <a:pt x="429" y="195"/>
                    <a:pt x="428" y="195"/>
                    <a:pt x="427" y="195"/>
                  </a:cubicBezTo>
                  <a:cubicBezTo>
                    <a:pt x="426" y="195"/>
                    <a:pt x="425" y="195"/>
                    <a:pt x="424" y="194"/>
                  </a:cubicBezTo>
                  <a:cubicBezTo>
                    <a:pt x="417" y="194"/>
                    <a:pt x="417" y="194"/>
                    <a:pt x="417" y="194"/>
                  </a:cubicBezTo>
                  <a:cubicBezTo>
                    <a:pt x="416" y="195"/>
                    <a:pt x="414" y="195"/>
                    <a:pt x="413" y="196"/>
                  </a:cubicBezTo>
                  <a:cubicBezTo>
                    <a:pt x="413" y="197"/>
                    <a:pt x="414" y="198"/>
                    <a:pt x="413" y="198"/>
                  </a:cubicBezTo>
                  <a:cubicBezTo>
                    <a:pt x="413" y="199"/>
                    <a:pt x="413" y="199"/>
                    <a:pt x="413" y="200"/>
                  </a:cubicBezTo>
                  <a:cubicBezTo>
                    <a:pt x="414" y="201"/>
                    <a:pt x="414" y="202"/>
                    <a:pt x="413" y="203"/>
                  </a:cubicBezTo>
                  <a:cubicBezTo>
                    <a:pt x="413" y="204"/>
                    <a:pt x="412" y="205"/>
                    <a:pt x="411" y="206"/>
                  </a:cubicBezTo>
                  <a:cubicBezTo>
                    <a:pt x="411" y="207"/>
                    <a:pt x="411" y="207"/>
                    <a:pt x="411" y="207"/>
                  </a:cubicBezTo>
                  <a:cubicBezTo>
                    <a:pt x="411" y="207"/>
                    <a:pt x="411" y="208"/>
                    <a:pt x="410" y="208"/>
                  </a:cubicBezTo>
                  <a:cubicBezTo>
                    <a:pt x="410" y="208"/>
                    <a:pt x="410" y="208"/>
                    <a:pt x="409" y="208"/>
                  </a:cubicBezTo>
                  <a:cubicBezTo>
                    <a:pt x="409" y="209"/>
                    <a:pt x="409" y="209"/>
                    <a:pt x="409" y="209"/>
                  </a:cubicBezTo>
                  <a:cubicBezTo>
                    <a:pt x="409" y="209"/>
                    <a:pt x="409" y="209"/>
                    <a:pt x="409" y="209"/>
                  </a:cubicBezTo>
                  <a:cubicBezTo>
                    <a:pt x="409" y="209"/>
                    <a:pt x="409" y="209"/>
                    <a:pt x="409" y="209"/>
                  </a:cubicBezTo>
                  <a:cubicBezTo>
                    <a:pt x="409" y="209"/>
                    <a:pt x="409" y="209"/>
                    <a:pt x="409" y="209"/>
                  </a:cubicBezTo>
                  <a:cubicBezTo>
                    <a:pt x="405" y="209"/>
                    <a:pt x="405" y="209"/>
                    <a:pt x="405" y="209"/>
                  </a:cubicBezTo>
                  <a:cubicBezTo>
                    <a:pt x="405" y="207"/>
                    <a:pt x="405" y="207"/>
                    <a:pt x="405" y="207"/>
                  </a:cubicBezTo>
                  <a:cubicBezTo>
                    <a:pt x="405" y="207"/>
                    <a:pt x="405" y="207"/>
                    <a:pt x="405" y="207"/>
                  </a:cubicBezTo>
                  <a:cubicBezTo>
                    <a:pt x="404" y="212"/>
                    <a:pt x="404" y="212"/>
                    <a:pt x="404" y="212"/>
                  </a:cubicBezTo>
                  <a:cubicBezTo>
                    <a:pt x="403" y="213"/>
                    <a:pt x="403" y="213"/>
                    <a:pt x="403" y="213"/>
                  </a:cubicBezTo>
                  <a:cubicBezTo>
                    <a:pt x="394" y="218"/>
                    <a:pt x="394" y="218"/>
                    <a:pt x="394" y="218"/>
                  </a:cubicBezTo>
                  <a:cubicBezTo>
                    <a:pt x="388" y="217"/>
                    <a:pt x="388" y="217"/>
                    <a:pt x="388" y="217"/>
                  </a:cubicBezTo>
                  <a:cubicBezTo>
                    <a:pt x="386" y="215"/>
                    <a:pt x="386" y="215"/>
                    <a:pt x="386" y="215"/>
                  </a:cubicBezTo>
                  <a:cubicBezTo>
                    <a:pt x="380" y="212"/>
                    <a:pt x="380" y="212"/>
                    <a:pt x="380" y="212"/>
                  </a:cubicBezTo>
                  <a:cubicBezTo>
                    <a:pt x="380" y="211"/>
                    <a:pt x="380" y="211"/>
                    <a:pt x="380" y="211"/>
                  </a:cubicBezTo>
                  <a:cubicBezTo>
                    <a:pt x="377" y="211"/>
                    <a:pt x="377" y="211"/>
                    <a:pt x="377" y="211"/>
                  </a:cubicBezTo>
                  <a:cubicBezTo>
                    <a:pt x="375" y="212"/>
                    <a:pt x="375" y="212"/>
                    <a:pt x="375" y="212"/>
                  </a:cubicBezTo>
                  <a:cubicBezTo>
                    <a:pt x="371" y="215"/>
                    <a:pt x="371" y="215"/>
                    <a:pt x="371" y="215"/>
                  </a:cubicBezTo>
                  <a:cubicBezTo>
                    <a:pt x="367" y="218"/>
                    <a:pt x="367" y="218"/>
                    <a:pt x="367" y="218"/>
                  </a:cubicBezTo>
                  <a:cubicBezTo>
                    <a:pt x="352" y="233"/>
                    <a:pt x="352" y="233"/>
                    <a:pt x="352" y="233"/>
                  </a:cubicBezTo>
                  <a:cubicBezTo>
                    <a:pt x="345" y="248"/>
                    <a:pt x="345" y="248"/>
                    <a:pt x="345" y="248"/>
                  </a:cubicBezTo>
                  <a:cubicBezTo>
                    <a:pt x="326" y="290"/>
                    <a:pt x="326" y="290"/>
                    <a:pt x="326" y="290"/>
                  </a:cubicBezTo>
                  <a:cubicBezTo>
                    <a:pt x="324" y="307"/>
                    <a:pt x="324" y="307"/>
                    <a:pt x="324" y="307"/>
                  </a:cubicBezTo>
                  <a:cubicBezTo>
                    <a:pt x="318" y="322"/>
                    <a:pt x="318" y="322"/>
                    <a:pt x="318" y="322"/>
                  </a:cubicBezTo>
                  <a:cubicBezTo>
                    <a:pt x="317" y="323"/>
                    <a:pt x="317" y="323"/>
                    <a:pt x="317" y="323"/>
                  </a:cubicBezTo>
                  <a:cubicBezTo>
                    <a:pt x="318" y="324"/>
                    <a:pt x="318" y="324"/>
                    <a:pt x="318" y="324"/>
                  </a:cubicBezTo>
                  <a:cubicBezTo>
                    <a:pt x="321" y="329"/>
                    <a:pt x="321" y="329"/>
                    <a:pt x="321" y="329"/>
                  </a:cubicBezTo>
                  <a:cubicBezTo>
                    <a:pt x="331" y="342"/>
                    <a:pt x="331" y="342"/>
                    <a:pt x="331" y="342"/>
                  </a:cubicBezTo>
                  <a:cubicBezTo>
                    <a:pt x="335" y="345"/>
                    <a:pt x="335" y="345"/>
                    <a:pt x="335" y="345"/>
                  </a:cubicBezTo>
                  <a:cubicBezTo>
                    <a:pt x="339" y="350"/>
                    <a:pt x="339" y="350"/>
                    <a:pt x="339" y="350"/>
                  </a:cubicBezTo>
                  <a:cubicBezTo>
                    <a:pt x="348" y="364"/>
                    <a:pt x="348" y="364"/>
                    <a:pt x="348" y="364"/>
                  </a:cubicBezTo>
                  <a:cubicBezTo>
                    <a:pt x="351" y="376"/>
                    <a:pt x="351" y="376"/>
                    <a:pt x="351" y="376"/>
                  </a:cubicBezTo>
                  <a:cubicBezTo>
                    <a:pt x="351" y="378"/>
                    <a:pt x="351" y="378"/>
                    <a:pt x="351" y="378"/>
                  </a:cubicBezTo>
                  <a:cubicBezTo>
                    <a:pt x="351" y="380"/>
                    <a:pt x="351" y="380"/>
                    <a:pt x="351" y="380"/>
                  </a:cubicBezTo>
                  <a:cubicBezTo>
                    <a:pt x="352" y="382"/>
                    <a:pt x="352" y="382"/>
                    <a:pt x="352" y="382"/>
                  </a:cubicBezTo>
                  <a:cubicBezTo>
                    <a:pt x="356" y="390"/>
                    <a:pt x="356" y="390"/>
                    <a:pt x="356" y="390"/>
                  </a:cubicBezTo>
                  <a:cubicBezTo>
                    <a:pt x="358" y="391"/>
                    <a:pt x="358" y="391"/>
                    <a:pt x="358" y="391"/>
                  </a:cubicBezTo>
                  <a:cubicBezTo>
                    <a:pt x="360" y="393"/>
                    <a:pt x="360" y="393"/>
                    <a:pt x="360" y="393"/>
                  </a:cubicBezTo>
                  <a:cubicBezTo>
                    <a:pt x="364" y="401"/>
                    <a:pt x="364" y="401"/>
                    <a:pt x="364" y="401"/>
                  </a:cubicBezTo>
                  <a:cubicBezTo>
                    <a:pt x="366" y="403"/>
                    <a:pt x="366" y="403"/>
                    <a:pt x="366" y="403"/>
                  </a:cubicBezTo>
                  <a:cubicBezTo>
                    <a:pt x="368" y="404"/>
                    <a:pt x="368" y="404"/>
                    <a:pt x="368" y="404"/>
                  </a:cubicBezTo>
                  <a:cubicBezTo>
                    <a:pt x="369" y="404"/>
                    <a:pt x="369" y="404"/>
                    <a:pt x="369" y="404"/>
                  </a:cubicBezTo>
                  <a:cubicBezTo>
                    <a:pt x="377" y="402"/>
                    <a:pt x="377" y="402"/>
                    <a:pt x="377" y="402"/>
                  </a:cubicBezTo>
                  <a:cubicBezTo>
                    <a:pt x="378" y="400"/>
                    <a:pt x="378" y="400"/>
                    <a:pt x="378" y="400"/>
                  </a:cubicBezTo>
                  <a:cubicBezTo>
                    <a:pt x="378" y="393"/>
                    <a:pt x="378" y="393"/>
                    <a:pt x="378" y="393"/>
                  </a:cubicBezTo>
                  <a:cubicBezTo>
                    <a:pt x="378" y="391"/>
                    <a:pt x="378" y="391"/>
                    <a:pt x="378" y="391"/>
                  </a:cubicBezTo>
                  <a:cubicBezTo>
                    <a:pt x="378" y="388"/>
                    <a:pt x="378" y="388"/>
                    <a:pt x="378" y="388"/>
                  </a:cubicBezTo>
                  <a:cubicBezTo>
                    <a:pt x="379" y="386"/>
                    <a:pt x="379" y="386"/>
                    <a:pt x="379" y="386"/>
                  </a:cubicBezTo>
                  <a:cubicBezTo>
                    <a:pt x="380" y="384"/>
                    <a:pt x="380" y="384"/>
                    <a:pt x="380" y="384"/>
                  </a:cubicBezTo>
                  <a:cubicBezTo>
                    <a:pt x="381" y="385"/>
                    <a:pt x="381" y="385"/>
                    <a:pt x="381" y="385"/>
                  </a:cubicBezTo>
                  <a:cubicBezTo>
                    <a:pt x="381" y="385"/>
                    <a:pt x="381" y="385"/>
                    <a:pt x="381" y="385"/>
                  </a:cubicBezTo>
                  <a:cubicBezTo>
                    <a:pt x="383" y="393"/>
                    <a:pt x="383" y="393"/>
                    <a:pt x="383" y="393"/>
                  </a:cubicBezTo>
                  <a:cubicBezTo>
                    <a:pt x="383" y="394"/>
                    <a:pt x="383" y="394"/>
                    <a:pt x="383" y="394"/>
                  </a:cubicBezTo>
                  <a:cubicBezTo>
                    <a:pt x="381" y="406"/>
                    <a:pt x="381" y="406"/>
                    <a:pt x="381" y="406"/>
                  </a:cubicBezTo>
                  <a:cubicBezTo>
                    <a:pt x="381" y="407"/>
                    <a:pt x="381" y="407"/>
                    <a:pt x="381" y="407"/>
                  </a:cubicBezTo>
                  <a:cubicBezTo>
                    <a:pt x="380" y="408"/>
                    <a:pt x="380" y="408"/>
                    <a:pt x="380" y="408"/>
                  </a:cubicBezTo>
                  <a:cubicBezTo>
                    <a:pt x="379" y="411"/>
                    <a:pt x="379" y="411"/>
                    <a:pt x="379" y="411"/>
                  </a:cubicBezTo>
                  <a:cubicBezTo>
                    <a:pt x="378" y="417"/>
                    <a:pt x="378" y="417"/>
                    <a:pt x="378" y="417"/>
                  </a:cubicBezTo>
                  <a:cubicBezTo>
                    <a:pt x="377" y="418"/>
                    <a:pt x="377" y="418"/>
                    <a:pt x="377" y="418"/>
                  </a:cubicBezTo>
                  <a:cubicBezTo>
                    <a:pt x="378" y="423"/>
                    <a:pt x="378" y="423"/>
                    <a:pt x="378" y="423"/>
                  </a:cubicBezTo>
                  <a:cubicBezTo>
                    <a:pt x="378" y="425"/>
                    <a:pt x="378" y="425"/>
                    <a:pt x="378" y="425"/>
                  </a:cubicBezTo>
                  <a:cubicBezTo>
                    <a:pt x="380" y="426"/>
                    <a:pt x="380" y="426"/>
                    <a:pt x="380" y="426"/>
                  </a:cubicBezTo>
                  <a:cubicBezTo>
                    <a:pt x="387" y="429"/>
                    <a:pt x="387" y="429"/>
                    <a:pt x="387" y="429"/>
                  </a:cubicBezTo>
                  <a:cubicBezTo>
                    <a:pt x="390" y="430"/>
                    <a:pt x="390" y="430"/>
                    <a:pt x="390" y="430"/>
                  </a:cubicBezTo>
                  <a:cubicBezTo>
                    <a:pt x="400" y="421"/>
                    <a:pt x="400" y="421"/>
                    <a:pt x="400" y="421"/>
                  </a:cubicBezTo>
                  <a:cubicBezTo>
                    <a:pt x="400" y="420"/>
                    <a:pt x="400" y="420"/>
                    <a:pt x="400" y="420"/>
                  </a:cubicBezTo>
                  <a:cubicBezTo>
                    <a:pt x="401" y="419"/>
                    <a:pt x="401" y="419"/>
                    <a:pt x="401" y="419"/>
                  </a:cubicBezTo>
                  <a:cubicBezTo>
                    <a:pt x="403" y="415"/>
                    <a:pt x="403" y="415"/>
                    <a:pt x="403" y="415"/>
                  </a:cubicBezTo>
                  <a:cubicBezTo>
                    <a:pt x="430" y="401"/>
                    <a:pt x="430" y="401"/>
                    <a:pt x="430" y="401"/>
                  </a:cubicBezTo>
                  <a:cubicBezTo>
                    <a:pt x="431" y="401"/>
                    <a:pt x="431" y="401"/>
                    <a:pt x="431" y="401"/>
                  </a:cubicBezTo>
                  <a:cubicBezTo>
                    <a:pt x="436" y="399"/>
                    <a:pt x="436" y="399"/>
                    <a:pt x="436" y="399"/>
                  </a:cubicBezTo>
                  <a:cubicBezTo>
                    <a:pt x="438" y="399"/>
                    <a:pt x="438" y="399"/>
                    <a:pt x="438" y="399"/>
                  </a:cubicBezTo>
                  <a:cubicBezTo>
                    <a:pt x="439" y="400"/>
                    <a:pt x="439" y="400"/>
                    <a:pt x="439" y="400"/>
                  </a:cubicBezTo>
                  <a:cubicBezTo>
                    <a:pt x="439" y="400"/>
                    <a:pt x="439" y="400"/>
                    <a:pt x="439" y="400"/>
                  </a:cubicBezTo>
                  <a:cubicBezTo>
                    <a:pt x="439" y="401"/>
                    <a:pt x="439" y="401"/>
                    <a:pt x="439" y="401"/>
                  </a:cubicBezTo>
                  <a:cubicBezTo>
                    <a:pt x="443" y="419"/>
                    <a:pt x="443" y="419"/>
                    <a:pt x="443" y="419"/>
                  </a:cubicBezTo>
                  <a:cubicBezTo>
                    <a:pt x="428" y="464"/>
                    <a:pt x="428" y="464"/>
                    <a:pt x="428" y="464"/>
                  </a:cubicBezTo>
                  <a:cubicBezTo>
                    <a:pt x="425" y="464"/>
                    <a:pt x="425" y="464"/>
                    <a:pt x="425" y="464"/>
                  </a:cubicBezTo>
                  <a:cubicBezTo>
                    <a:pt x="409" y="468"/>
                    <a:pt x="409" y="468"/>
                    <a:pt x="409" y="468"/>
                  </a:cubicBezTo>
                  <a:cubicBezTo>
                    <a:pt x="408" y="469"/>
                    <a:pt x="408" y="469"/>
                    <a:pt x="408" y="469"/>
                  </a:cubicBezTo>
                  <a:cubicBezTo>
                    <a:pt x="408" y="471"/>
                    <a:pt x="408" y="471"/>
                    <a:pt x="408" y="471"/>
                  </a:cubicBezTo>
                  <a:cubicBezTo>
                    <a:pt x="407" y="473"/>
                    <a:pt x="407" y="473"/>
                    <a:pt x="407" y="473"/>
                  </a:cubicBezTo>
                  <a:cubicBezTo>
                    <a:pt x="406" y="501"/>
                    <a:pt x="406" y="501"/>
                    <a:pt x="406" y="501"/>
                  </a:cubicBezTo>
                  <a:cubicBezTo>
                    <a:pt x="406" y="503"/>
                    <a:pt x="406" y="503"/>
                    <a:pt x="406" y="503"/>
                  </a:cubicBezTo>
                  <a:cubicBezTo>
                    <a:pt x="407" y="508"/>
                    <a:pt x="407" y="508"/>
                    <a:pt x="407" y="508"/>
                  </a:cubicBezTo>
                  <a:cubicBezTo>
                    <a:pt x="407" y="512"/>
                    <a:pt x="407" y="512"/>
                    <a:pt x="407" y="512"/>
                  </a:cubicBezTo>
                  <a:cubicBezTo>
                    <a:pt x="409" y="514"/>
                    <a:pt x="409" y="514"/>
                    <a:pt x="409" y="514"/>
                  </a:cubicBezTo>
                  <a:cubicBezTo>
                    <a:pt x="412" y="517"/>
                    <a:pt x="412" y="517"/>
                    <a:pt x="412" y="517"/>
                  </a:cubicBezTo>
                  <a:cubicBezTo>
                    <a:pt x="413" y="518"/>
                    <a:pt x="413" y="518"/>
                    <a:pt x="413" y="518"/>
                  </a:cubicBezTo>
                  <a:cubicBezTo>
                    <a:pt x="412" y="541"/>
                    <a:pt x="412" y="541"/>
                    <a:pt x="412" y="541"/>
                  </a:cubicBezTo>
                  <a:cubicBezTo>
                    <a:pt x="409" y="546"/>
                    <a:pt x="409" y="546"/>
                    <a:pt x="409" y="546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03" y="558"/>
                    <a:pt x="403" y="558"/>
                    <a:pt x="403" y="558"/>
                  </a:cubicBezTo>
                  <a:cubicBezTo>
                    <a:pt x="401" y="561"/>
                    <a:pt x="401" y="561"/>
                    <a:pt x="401" y="561"/>
                  </a:cubicBezTo>
                  <a:cubicBezTo>
                    <a:pt x="401" y="562"/>
                    <a:pt x="401" y="562"/>
                    <a:pt x="401" y="562"/>
                  </a:cubicBezTo>
                  <a:cubicBezTo>
                    <a:pt x="401" y="564"/>
                    <a:pt x="401" y="564"/>
                    <a:pt x="401" y="564"/>
                  </a:cubicBezTo>
                  <a:cubicBezTo>
                    <a:pt x="402" y="565"/>
                    <a:pt x="402" y="565"/>
                    <a:pt x="402" y="565"/>
                  </a:cubicBezTo>
                  <a:cubicBezTo>
                    <a:pt x="418" y="600"/>
                    <a:pt x="418" y="600"/>
                    <a:pt x="418" y="600"/>
                  </a:cubicBezTo>
                  <a:cubicBezTo>
                    <a:pt x="420" y="603"/>
                    <a:pt x="420" y="603"/>
                    <a:pt x="420" y="603"/>
                  </a:cubicBezTo>
                  <a:cubicBezTo>
                    <a:pt x="421" y="605"/>
                    <a:pt x="421" y="605"/>
                    <a:pt x="421" y="605"/>
                  </a:cubicBezTo>
                  <a:cubicBezTo>
                    <a:pt x="423" y="607"/>
                    <a:pt x="423" y="607"/>
                    <a:pt x="423" y="607"/>
                  </a:cubicBezTo>
                  <a:cubicBezTo>
                    <a:pt x="439" y="617"/>
                    <a:pt x="439" y="617"/>
                    <a:pt x="439" y="617"/>
                  </a:cubicBezTo>
                  <a:cubicBezTo>
                    <a:pt x="441" y="619"/>
                    <a:pt x="441" y="619"/>
                    <a:pt x="441" y="619"/>
                  </a:cubicBezTo>
                  <a:cubicBezTo>
                    <a:pt x="450" y="619"/>
                    <a:pt x="450" y="619"/>
                    <a:pt x="450" y="619"/>
                  </a:cubicBezTo>
                  <a:cubicBezTo>
                    <a:pt x="452" y="618"/>
                    <a:pt x="452" y="618"/>
                    <a:pt x="452" y="618"/>
                  </a:cubicBezTo>
                  <a:cubicBezTo>
                    <a:pt x="456" y="615"/>
                    <a:pt x="456" y="615"/>
                    <a:pt x="456" y="615"/>
                  </a:cubicBezTo>
                  <a:cubicBezTo>
                    <a:pt x="458" y="614"/>
                    <a:pt x="458" y="614"/>
                    <a:pt x="458" y="614"/>
                  </a:cubicBezTo>
                  <a:cubicBezTo>
                    <a:pt x="458" y="615"/>
                    <a:pt x="458" y="615"/>
                    <a:pt x="458" y="615"/>
                  </a:cubicBezTo>
                  <a:cubicBezTo>
                    <a:pt x="459" y="615"/>
                    <a:pt x="459" y="615"/>
                    <a:pt x="459" y="615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49" y="630"/>
                    <a:pt x="449" y="630"/>
                    <a:pt x="449" y="630"/>
                  </a:cubicBezTo>
                  <a:cubicBezTo>
                    <a:pt x="445" y="631"/>
                    <a:pt x="445" y="631"/>
                    <a:pt x="445" y="631"/>
                  </a:cubicBezTo>
                  <a:cubicBezTo>
                    <a:pt x="444" y="631"/>
                    <a:pt x="444" y="631"/>
                    <a:pt x="444" y="631"/>
                  </a:cubicBezTo>
                  <a:cubicBezTo>
                    <a:pt x="442" y="631"/>
                    <a:pt x="442" y="631"/>
                    <a:pt x="442" y="631"/>
                  </a:cubicBezTo>
                  <a:cubicBezTo>
                    <a:pt x="437" y="629"/>
                    <a:pt x="437" y="629"/>
                    <a:pt x="437" y="629"/>
                  </a:cubicBezTo>
                  <a:cubicBezTo>
                    <a:pt x="435" y="629"/>
                    <a:pt x="435" y="629"/>
                    <a:pt x="435" y="629"/>
                  </a:cubicBezTo>
                  <a:cubicBezTo>
                    <a:pt x="433" y="627"/>
                    <a:pt x="433" y="627"/>
                    <a:pt x="433" y="627"/>
                  </a:cubicBezTo>
                  <a:cubicBezTo>
                    <a:pt x="430" y="625"/>
                    <a:pt x="430" y="625"/>
                    <a:pt x="430" y="625"/>
                  </a:cubicBezTo>
                  <a:cubicBezTo>
                    <a:pt x="427" y="622"/>
                    <a:pt x="427" y="622"/>
                    <a:pt x="427" y="622"/>
                  </a:cubicBezTo>
                  <a:cubicBezTo>
                    <a:pt x="420" y="609"/>
                    <a:pt x="420" y="609"/>
                    <a:pt x="420" y="609"/>
                  </a:cubicBezTo>
                  <a:cubicBezTo>
                    <a:pt x="419" y="608"/>
                    <a:pt x="419" y="608"/>
                    <a:pt x="419" y="608"/>
                  </a:cubicBezTo>
                  <a:cubicBezTo>
                    <a:pt x="420" y="606"/>
                    <a:pt x="420" y="606"/>
                    <a:pt x="420" y="606"/>
                  </a:cubicBezTo>
                  <a:cubicBezTo>
                    <a:pt x="419" y="605"/>
                    <a:pt x="419" y="605"/>
                    <a:pt x="419" y="605"/>
                  </a:cubicBezTo>
                  <a:cubicBezTo>
                    <a:pt x="415" y="595"/>
                    <a:pt x="415" y="595"/>
                    <a:pt x="415" y="595"/>
                  </a:cubicBezTo>
                  <a:cubicBezTo>
                    <a:pt x="414" y="594"/>
                    <a:pt x="414" y="594"/>
                    <a:pt x="414" y="594"/>
                  </a:cubicBezTo>
                  <a:cubicBezTo>
                    <a:pt x="412" y="594"/>
                    <a:pt x="412" y="594"/>
                    <a:pt x="412" y="594"/>
                  </a:cubicBezTo>
                  <a:cubicBezTo>
                    <a:pt x="408" y="594"/>
                    <a:pt x="408" y="594"/>
                    <a:pt x="408" y="594"/>
                  </a:cubicBezTo>
                  <a:cubicBezTo>
                    <a:pt x="393" y="601"/>
                    <a:pt x="393" y="601"/>
                    <a:pt x="393" y="601"/>
                  </a:cubicBezTo>
                  <a:cubicBezTo>
                    <a:pt x="391" y="603"/>
                    <a:pt x="391" y="603"/>
                    <a:pt x="391" y="603"/>
                  </a:cubicBezTo>
                  <a:cubicBezTo>
                    <a:pt x="390" y="604"/>
                    <a:pt x="390" y="604"/>
                    <a:pt x="390" y="604"/>
                  </a:cubicBezTo>
                  <a:cubicBezTo>
                    <a:pt x="390" y="605"/>
                    <a:pt x="390" y="605"/>
                    <a:pt x="390" y="605"/>
                  </a:cubicBezTo>
                  <a:cubicBezTo>
                    <a:pt x="389" y="606"/>
                    <a:pt x="389" y="606"/>
                    <a:pt x="389" y="606"/>
                  </a:cubicBezTo>
                  <a:cubicBezTo>
                    <a:pt x="389" y="607"/>
                    <a:pt x="389" y="607"/>
                    <a:pt x="389" y="607"/>
                  </a:cubicBezTo>
                  <a:cubicBezTo>
                    <a:pt x="390" y="608"/>
                    <a:pt x="390" y="608"/>
                    <a:pt x="390" y="608"/>
                  </a:cubicBezTo>
                  <a:cubicBezTo>
                    <a:pt x="391" y="610"/>
                    <a:pt x="391" y="610"/>
                    <a:pt x="391" y="610"/>
                  </a:cubicBezTo>
                  <a:cubicBezTo>
                    <a:pt x="396" y="617"/>
                    <a:pt x="396" y="617"/>
                    <a:pt x="396" y="617"/>
                  </a:cubicBezTo>
                  <a:cubicBezTo>
                    <a:pt x="402" y="621"/>
                    <a:pt x="402" y="621"/>
                    <a:pt x="402" y="621"/>
                  </a:cubicBezTo>
                  <a:cubicBezTo>
                    <a:pt x="405" y="626"/>
                    <a:pt x="405" y="626"/>
                    <a:pt x="405" y="626"/>
                  </a:cubicBezTo>
                  <a:cubicBezTo>
                    <a:pt x="409" y="636"/>
                    <a:pt x="409" y="636"/>
                    <a:pt x="409" y="636"/>
                  </a:cubicBezTo>
                  <a:cubicBezTo>
                    <a:pt x="409" y="639"/>
                    <a:pt x="409" y="639"/>
                    <a:pt x="409" y="639"/>
                  </a:cubicBezTo>
                  <a:cubicBezTo>
                    <a:pt x="410" y="639"/>
                    <a:pt x="410" y="639"/>
                    <a:pt x="410" y="639"/>
                  </a:cubicBezTo>
                  <a:cubicBezTo>
                    <a:pt x="414" y="641"/>
                    <a:pt x="414" y="641"/>
                    <a:pt x="414" y="641"/>
                  </a:cubicBezTo>
                  <a:cubicBezTo>
                    <a:pt x="415" y="641"/>
                    <a:pt x="415" y="641"/>
                    <a:pt x="415" y="641"/>
                  </a:cubicBezTo>
                  <a:cubicBezTo>
                    <a:pt x="415" y="641"/>
                    <a:pt x="417" y="643"/>
                    <a:pt x="419" y="645"/>
                  </a:cubicBezTo>
                  <a:cubicBezTo>
                    <a:pt x="421" y="646"/>
                    <a:pt x="423" y="646"/>
                    <a:pt x="423" y="646"/>
                  </a:cubicBezTo>
                  <a:cubicBezTo>
                    <a:pt x="425" y="647"/>
                    <a:pt x="425" y="647"/>
                    <a:pt x="425" y="647"/>
                  </a:cubicBezTo>
                  <a:cubicBezTo>
                    <a:pt x="426" y="647"/>
                    <a:pt x="427" y="648"/>
                    <a:pt x="428" y="649"/>
                  </a:cubicBezTo>
                  <a:cubicBezTo>
                    <a:pt x="428" y="649"/>
                    <a:pt x="428" y="649"/>
                    <a:pt x="428" y="649"/>
                  </a:cubicBezTo>
                  <a:cubicBezTo>
                    <a:pt x="429" y="650"/>
                    <a:pt x="430" y="651"/>
                    <a:pt x="431" y="653"/>
                  </a:cubicBezTo>
                  <a:cubicBezTo>
                    <a:pt x="432" y="655"/>
                    <a:pt x="432" y="656"/>
                    <a:pt x="431" y="657"/>
                  </a:cubicBezTo>
                  <a:cubicBezTo>
                    <a:pt x="431" y="657"/>
                    <a:pt x="431" y="657"/>
                    <a:pt x="431" y="657"/>
                  </a:cubicBezTo>
                  <a:cubicBezTo>
                    <a:pt x="432" y="658"/>
                    <a:pt x="432" y="659"/>
                    <a:pt x="431" y="662"/>
                  </a:cubicBezTo>
                  <a:cubicBezTo>
                    <a:pt x="430" y="663"/>
                    <a:pt x="430" y="663"/>
                    <a:pt x="430" y="663"/>
                  </a:cubicBezTo>
                  <a:cubicBezTo>
                    <a:pt x="429" y="664"/>
                    <a:pt x="428" y="664"/>
                    <a:pt x="428" y="664"/>
                  </a:cubicBezTo>
                  <a:cubicBezTo>
                    <a:pt x="427" y="665"/>
                    <a:pt x="426" y="665"/>
                    <a:pt x="425" y="665"/>
                  </a:cubicBezTo>
                  <a:cubicBezTo>
                    <a:pt x="425" y="665"/>
                    <a:pt x="424" y="665"/>
                    <a:pt x="424" y="666"/>
                  </a:cubicBezTo>
                  <a:cubicBezTo>
                    <a:pt x="425" y="667"/>
                    <a:pt x="425" y="667"/>
                    <a:pt x="425" y="667"/>
                  </a:cubicBezTo>
                  <a:cubicBezTo>
                    <a:pt x="425" y="668"/>
                    <a:pt x="425" y="668"/>
                    <a:pt x="425" y="668"/>
                  </a:cubicBezTo>
                  <a:cubicBezTo>
                    <a:pt x="427" y="668"/>
                    <a:pt x="427" y="668"/>
                    <a:pt x="427" y="668"/>
                  </a:cubicBezTo>
                  <a:cubicBezTo>
                    <a:pt x="428" y="668"/>
                    <a:pt x="428" y="668"/>
                    <a:pt x="428" y="669"/>
                  </a:cubicBezTo>
                  <a:cubicBezTo>
                    <a:pt x="430" y="669"/>
                    <a:pt x="430" y="669"/>
                    <a:pt x="430" y="669"/>
                  </a:cubicBezTo>
                  <a:cubicBezTo>
                    <a:pt x="431" y="669"/>
                    <a:pt x="432" y="670"/>
                    <a:pt x="432" y="671"/>
                  </a:cubicBezTo>
                  <a:cubicBezTo>
                    <a:pt x="436" y="671"/>
                    <a:pt x="436" y="671"/>
                    <a:pt x="436" y="671"/>
                  </a:cubicBezTo>
                  <a:cubicBezTo>
                    <a:pt x="437" y="671"/>
                    <a:pt x="438" y="672"/>
                    <a:pt x="438" y="673"/>
                  </a:cubicBezTo>
                  <a:cubicBezTo>
                    <a:pt x="438" y="680"/>
                    <a:pt x="438" y="680"/>
                    <a:pt x="438" y="680"/>
                  </a:cubicBezTo>
                  <a:cubicBezTo>
                    <a:pt x="439" y="680"/>
                    <a:pt x="439" y="680"/>
                    <a:pt x="439" y="680"/>
                  </a:cubicBezTo>
                  <a:cubicBezTo>
                    <a:pt x="440" y="680"/>
                    <a:pt x="441" y="681"/>
                    <a:pt x="441" y="682"/>
                  </a:cubicBezTo>
                  <a:cubicBezTo>
                    <a:pt x="441" y="698"/>
                    <a:pt x="441" y="698"/>
                    <a:pt x="441" y="698"/>
                  </a:cubicBezTo>
                  <a:cubicBezTo>
                    <a:pt x="443" y="700"/>
                    <a:pt x="443" y="700"/>
                    <a:pt x="443" y="700"/>
                  </a:cubicBezTo>
                  <a:cubicBezTo>
                    <a:pt x="443" y="700"/>
                    <a:pt x="443" y="700"/>
                    <a:pt x="443" y="700"/>
                  </a:cubicBezTo>
                  <a:cubicBezTo>
                    <a:pt x="447" y="700"/>
                    <a:pt x="447" y="700"/>
                    <a:pt x="447" y="700"/>
                  </a:cubicBezTo>
                  <a:cubicBezTo>
                    <a:pt x="448" y="700"/>
                    <a:pt x="448" y="700"/>
                    <a:pt x="448" y="700"/>
                  </a:cubicBezTo>
                  <a:cubicBezTo>
                    <a:pt x="451" y="702"/>
                    <a:pt x="451" y="702"/>
                    <a:pt x="451" y="702"/>
                  </a:cubicBezTo>
                  <a:cubicBezTo>
                    <a:pt x="456" y="702"/>
                    <a:pt x="456" y="702"/>
                    <a:pt x="456" y="702"/>
                  </a:cubicBezTo>
                  <a:cubicBezTo>
                    <a:pt x="457" y="702"/>
                    <a:pt x="458" y="702"/>
                    <a:pt x="458" y="703"/>
                  </a:cubicBezTo>
                  <a:cubicBezTo>
                    <a:pt x="459" y="703"/>
                    <a:pt x="459" y="703"/>
                    <a:pt x="459" y="703"/>
                  </a:cubicBezTo>
                  <a:cubicBezTo>
                    <a:pt x="460" y="703"/>
                    <a:pt x="462" y="703"/>
                    <a:pt x="464" y="704"/>
                  </a:cubicBezTo>
                  <a:cubicBezTo>
                    <a:pt x="464" y="706"/>
                    <a:pt x="465" y="708"/>
                    <a:pt x="465" y="711"/>
                  </a:cubicBezTo>
                  <a:cubicBezTo>
                    <a:pt x="465" y="711"/>
                    <a:pt x="465" y="711"/>
                    <a:pt x="464" y="711"/>
                  </a:cubicBezTo>
                  <a:cubicBezTo>
                    <a:pt x="464" y="718"/>
                    <a:pt x="464" y="718"/>
                    <a:pt x="464" y="718"/>
                  </a:cubicBezTo>
                  <a:cubicBezTo>
                    <a:pt x="464" y="720"/>
                    <a:pt x="464" y="721"/>
                    <a:pt x="464" y="722"/>
                  </a:cubicBezTo>
                  <a:cubicBezTo>
                    <a:pt x="464" y="723"/>
                    <a:pt x="463" y="723"/>
                    <a:pt x="463" y="723"/>
                  </a:cubicBezTo>
                  <a:cubicBezTo>
                    <a:pt x="463" y="724"/>
                    <a:pt x="463" y="724"/>
                    <a:pt x="462" y="724"/>
                  </a:cubicBezTo>
                  <a:cubicBezTo>
                    <a:pt x="461" y="725"/>
                    <a:pt x="460" y="725"/>
                    <a:pt x="460" y="725"/>
                  </a:cubicBezTo>
                  <a:cubicBezTo>
                    <a:pt x="459" y="726"/>
                    <a:pt x="456" y="727"/>
                    <a:pt x="456" y="727"/>
                  </a:cubicBezTo>
                  <a:cubicBezTo>
                    <a:pt x="455" y="727"/>
                    <a:pt x="455" y="727"/>
                    <a:pt x="455" y="727"/>
                  </a:cubicBezTo>
                  <a:cubicBezTo>
                    <a:pt x="455" y="728"/>
                    <a:pt x="454" y="728"/>
                    <a:pt x="453" y="729"/>
                  </a:cubicBezTo>
                  <a:cubicBezTo>
                    <a:pt x="452" y="729"/>
                    <a:pt x="452" y="730"/>
                    <a:pt x="451" y="730"/>
                  </a:cubicBezTo>
                  <a:cubicBezTo>
                    <a:pt x="451" y="730"/>
                    <a:pt x="451" y="730"/>
                    <a:pt x="451" y="730"/>
                  </a:cubicBezTo>
                  <a:cubicBezTo>
                    <a:pt x="449" y="729"/>
                    <a:pt x="449" y="729"/>
                    <a:pt x="449" y="729"/>
                  </a:cubicBezTo>
                  <a:cubicBezTo>
                    <a:pt x="447" y="729"/>
                    <a:pt x="447" y="728"/>
                    <a:pt x="447" y="727"/>
                  </a:cubicBezTo>
                  <a:cubicBezTo>
                    <a:pt x="447" y="726"/>
                    <a:pt x="447" y="726"/>
                    <a:pt x="447" y="726"/>
                  </a:cubicBezTo>
                  <a:cubicBezTo>
                    <a:pt x="446" y="725"/>
                    <a:pt x="446" y="725"/>
                    <a:pt x="445" y="724"/>
                  </a:cubicBezTo>
                  <a:cubicBezTo>
                    <a:pt x="445" y="723"/>
                    <a:pt x="445" y="723"/>
                    <a:pt x="445" y="722"/>
                  </a:cubicBezTo>
                  <a:cubicBezTo>
                    <a:pt x="444" y="721"/>
                    <a:pt x="444" y="721"/>
                    <a:pt x="444" y="721"/>
                  </a:cubicBezTo>
                  <a:cubicBezTo>
                    <a:pt x="441" y="720"/>
                    <a:pt x="441" y="720"/>
                    <a:pt x="441" y="720"/>
                  </a:cubicBezTo>
                  <a:cubicBezTo>
                    <a:pt x="441" y="720"/>
                    <a:pt x="441" y="720"/>
                    <a:pt x="440" y="719"/>
                  </a:cubicBezTo>
                  <a:cubicBezTo>
                    <a:pt x="439" y="717"/>
                    <a:pt x="439" y="717"/>
                    <a:pt x="439" y="717"/>
                  </a:cubicBezTo>
                  <a:cubicBezTo>
                    <a:pt x="438" y="717"/>
                    <a:pt x="438" y="717"/>
                    <a:pt x="438" y="717"/>
                  </a:cubicBezTo>
                  <a:cubicBezTo>
                    <a:pt x="432" y="717"/>
                    <a:pt x="432" y="717"/>
                    <a:pt x="432" y="717"/>
                  </a:cubicBezTo>
                  <a:cubicBezTo>
                    <a:pt x="431" y="717"/>
                    <a:pt x="431" y="717"/>
                    <a:pt x="431" y="717"/>
                  </a:cubicBezTo>
                  <a:cubicBezTo>
                    <a:pt x="431" y="718"/>
                    <a:pt x="430" y="718"/>
                    <a:pt x="430" y="718"/>
                  </a:cubicBezTo>
                  <a:cubicBezTo>
                    <a:pt x="427" y="718"/>
                    <a:pt x="427" y="718"/>
                    <a:pt x="427" y="718"/>
                  </a:cubicBezTo>
                  <a:cubicBezTo>
                    <a:pt x="427" y="718"/>
                    <a:pt x="427" y="718"/>
                    <a:pt x="426" y="718"/>
                  </a:cubicBezTo>
                  <a:cubicBezTo>
                    <a:pt x="424" y="717"/>
                    <a:pt x="424" y="717"/>
                    <a:pt x="424" y="717"/>
                  </a:cubicBezTo>
                  <a:cubicBezTo>
                    <a:pt x="422" y="717"/>
                    <a:pt x="422" y="717"/>
                    <a:pt x="422" y="717"/>
                  </a:cubicBezTo>
                  <a:cubicBezTo>
                    <a:pt x="422" y="717"/>
                    <a:pt x="421" y="719"/>
                    <a:pt x="421" y="720"/>
                  </a:cubicBezTo>
                  <a:cubicBezTo>
                    <a:pt x="420" y="720"/>
                    <a:pt x="420" y="721"/>
                    <a:pt x="419" y="721"/>
                  </a:cubicBezTo>
                  <a:cubicBezTo>
                    <a:pt x="419" y="722"/>
                    <a:pt x="419" y="722"/>
                    <a:pt x="419" y="723"/>
                  </a:cubicBezTo>
                  <a:cubicBezTo>
                    <a:pt x="419" y="724"/>
                    <a:pt x="419" y="724"/>
                    <a:pt x="419" y="724"/>
                  </a:cubicBezTo>
                  <a:cubicBezTo>
                    <a:pt x="418" y="726"/>
                    <a:pt x="417" y="726"/>
                    <a:pt x="416" y="726"/>
                  </a:cubicBezTo>
                  <a:cubicBezTo>
                    <a:pt x="415" y="726"/>
                    <a:pt x="414" y="726"/>
                    <a:pt x="414" y="726"/>
                  </a:cubicBezTo>
                  <a:cubicBezTo>
                    <a:pt x="413" y="726"/>
                    <a:pt x="413" y="726"/>
                    <a:pt x="413" y="726"/>
                  </a:cubicBezTo>
                  <a:cubicBezTo>
                    <a:pt x="413" y="728"/>
                    <a:pt x="413" y="728"/>
                    <a:pt x="413" y="728"/>
                  </a:cubicBezTo>
                  <a:cubicBezTo>
                    <a:pt x="413" y="730"/>
                    <a:pt x="412" y="731"/>
                    <a:pt x="410" y="731"/>
                  </a:cubicBezTo>
                  <a:cubicBezTo>
                    <a:pt x="409" y="732"/>
                    <a:pt x="409" y="732"/>
                    <a:pt x="409" y="732"/>
                  </a:cubicBezTo>
                  <a:cubicBezTo>
                    <a:pt x="409" y="733"/>
                    <a:pt x="408" y="733"/>
                    <a:pt x="408" y="733"/>
                  </a:cubicBezTo>
                  <a:cubicBezTo>
                    <a:pt x="406" y="733"/>
                    <a:pt x="406" y="733"/>
                    <a:pt x="406" y="733"/>
                  </a:cubicBezTo>
                  <a:cubicBezTo>
                    <a:pt x="405" y="733"/>
                    <a:pt x="404" y="734"/>
                    <a:pt x="403" y="735"/>
                  </a:cubicBezTo>
                  <a:cubicBezTo>
                    <a:pt x="402" y="736"/>
                    <a:pt x="401" y="736"/>
                    <a:pt x="400" y="736"/>
                  </a:cubicBezTo>
                  <a:cubicBezTo>
                    <a:pt x="400" y="736"/>
                    <a:pt x="400" y="736"/>
                    <a:pt x="400" y="736"/>
                  </a:cubicBezTo>
                  <a:cubicBezTo>
                    <a:pt x="401" y="736"/>
                    <a:pt x="401" y="737"/>
                    <a:pt x="401" y="738"/>
                  </a:cubicBezTo>
                  <a:cubicBezTo>
                    <a:pt x="401" y="740"/>
                    <a:pt x="401" y="740"/>
                    <a:pt x="401" y="740"/>
                  </a:cubicBezTo>
                  <a:cubicBezTo>
                    <a:pt x="401" y="741"/>
                    <a:pt x="401" y="742"/>
                    <a:pt x="400" y="742"/>
                  </a:cubicBezTo>
                  <a:cubicBezTo>
                    <a:pt x="396" y="744"/>
                    <a:pt x="396" y="744"/>
                    <a:pt x="396" y="744"/>
                  </a:cubicBezTo>
                  <a:cubicBezTo>
                    <a:pt x="398" y="745"/>
                    <a:pt x="398" y="745"/>
                    <a:pt x="398" y="745"/>
                  </a:cubicBezTo>
                  <a:cubicBezTo>
                    <a:pt x="400" y="746"/>
                    <a:pt x="400" y="746"/>
                    <a:pt x="400" y="746"/>
                  </a:cubicBezTo>
                  <a:cubicBezTo>
                    <a:pt x="402" y="748"/>
                    <a:pt x="401" y="750"/>
                    <a:pt x="401" y="751"/>
                  </a:cubicBezTo>
                  <a:cubicBezTo>
                    <a:pt x="401" y="751"/>
                    <a:pt x="401" y="751"/>
                    <a:pt x="401" y="751"/>
                  </a:cubicBezTo>
                  <a:cubicBezTo>
                    <a:pt x="402" y="751"/>
                    <a:pt x="402" y="751"/>
                    <a:pt x="402" y="751"/>
                  </a:cubicBezTo>
                  <a:cubicBezTo>
                    <a:pt x="403" y="751"/>
                    <a:pt x="404" y="752"/>
                    <a:pt x="404" y="753"/>
                  </a:cubicBezTo>
                  <a:cubicBezTo>
                    <a:pt x="404" y="759"/>
                    <a:pt x="404" y="759"/>
                    <a:pt x="404" y="759"/>
                  </a:cubicBezTo>
                  <a:cubicBezTo>
                    <a:pt x="405" y="759"/>
                    <a:pt x="405" y="759"/>
                    <a:pt x="405" y="759"/>
                  </a:cubicBezTo>
                  <a:cubicBezTo>
                    <a:pt x="414" y="759"/>
                    <a:pt x="414" y="759"/>
                    <a:pt x="414" y="759"/>
                  </a:cubicBezTo>
                  <a:cubicBezTo>
                    <a:pt x="415" y="760"/>
                    <a:pt x="415" y="760"/>
                    <a:pt x="415" y="760"/>
                  </a:cubicBezTo>
                  <a:cubicBezTo>
                    <a:pt x="417" y="762"/>
                    <a:pt x="417" y="762"/>
                    <a:pt x="417" y="762"/>
                  </a:cubicBezTo>
                  <a:cubicBezTo>
                    <a:pt x="417" y="762"/>
                    <a:pt x="417" y="762"/>
                    <a:pt x="417" y="762"/>
                  </a:cubicBezTo>
                  <a:cubicBezTo>
                    <a:pt x="418" y="762"/>
                    <a:pt x="418" y="762"/>
                    <a:pt x="419" y="763"/>
                  </a:cubicBezTo>
                  <a:cubicBezTo>
                    <a:pt x="421" y="765"/>
                    <a:pt x="421" y="765"/>
                    <a:pt x="421" y="765"/>
                  </a:cubicBezTo>
                  <a:cubicBezTo>
                    <a:pt x="424" y="767"/>
                    <a:pt x="424" y="767"/>
                    <a:pt x="424" y="767"/>
                  </a:cubicBezTo>
                  <a:cubicBezTo>
                    <a:pt x="425" y="767"/>
                    <a:pt x="425" y="768"/>
                    <a:pt x="425" y="769"/>
                  </a:cubicBezTo>
                  <a:cubicBezTo>
                    <a:pt x="425" y="770"/>
                    <a:pt x="425" y="770"/>
                    <a:pt x="425" y="770"/>
                  </a:cubicBezTo>
                  <a:cubicBezTo>
                    <a:pt x="426" y="770"/>
                    <a:pt x="426" y="770"/>
                    <a:pt x="426" y="770"/>
                  </a:cubicBezTo>
                  <a:cubicBezTo>
                    <a:pt x="428" y="773"/>
                    <a:pt x="428" y="773"/>
                    <a:pt x="428" y="773"/>
                  </a:cubicBezTo>
                  <a:cubicBezTo>
                    <a:pt x="428" y="773"/>
                    <a:pt x="429" y="774"/>
                    <a:pt x="428" y="774"/>
                  </a:cubicBezTo>
                  <a:cubicBezTo>
                    <a:pt x="428" y="775"/>
                    <a:pt x="428" y="775"/>
                    <a:pt x="427" y="776"/>
                  </a:cubicBezTo>
                  <a:cubicBezTo>
                    <a:pt x="424" y="777"/>
                    <a:pt x="423" y="777"/>
                    <a:pt x="423" y="777"/>
                  </a:cubicBezTo>
                  <a:cubicBezTo>
                    <a:pt x="420" y="777"/>
                    <a:pt x="420" y="777"/>
                    <a:pt x="420" y="777"/>
                  </a:cubicBezTo>
                  <a:cubicBezTo>
                    <a:pt x="420" y="778"/>
                    <a:pt x="420" y="778"/>
                    <a:pt x="419" y="779"/>
                  </a:cubicBezTo>
                  <a:cubicBezTo>
                    <a:pt x="419" y="780"/>
                    <a:pt x="418" y="781"/>
                    <a:pt x="418" y="782"/>
                  </a:cubicBezTo>
                  <a:cubicBezTo>
                    <a:pt x="418" y="782"/>
                    <a:pt x="417" y="784"/>
                    <a:pt x="417" y="785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3" y="795"/>
                    <a:pt x="413" y="795"/>
                    <a:pt x="413" y="795"/>
                  </a:cubicBezTo>
                  <a:cubicBezTo>
                    <a:pt x="412" y="799"/>
                    <a:pt x="412" y="799"/>
                    <a:pt x="412" y="799"/>
                  </a:cubicBezTo>
                  <a:cubicBezTo>
                    <a:pt x="412" y="799"/>
                    <a:pt x="412" y="799"/>
                    <a:pt x="412" y="799"/>
                  </a:cubicBezTo>
                  <a:cubicBezTo>
                    <a:pt x="410" y="804"/>
                    <a:pt x="410" y="804"/>
                    <a:pt x="410" y="804"/>
                  </a:cubicBezTo>
                  <a:cubicBezTo>
                    <a:pt x="410" y="805"/>
                    <a:pt x="409" y="805"/>
                    <a:pt x="408" y="805"/>
                  </a:cubicBezTo>
                  <a:cubicBezTo>
                    <a:pt x="408" y="805"/>
                    <a:pt x="408" y="805"/>
                    <a:pt x="408" y="805"/>
                  </a:cubicBezTo>
                  <a:cubicBezTo>
                    <a:pt x="408" y="806"/>
                    <a:pt x="407" y="807"/>
                    <a:pt x="407" y="807"/>
                  </a:cubicBezTo>
                  <a:cubicBezTo>
                    <a:pt x="407" y="808"/>
                    <a:pt x="407" y="808"/>
                    <a:pt x="407" y="808"/>
                  </a:cubicBezTo>
                  <a:cubicBezTo>
                    <a:pt x="408" y="809"/>
                    <a:pt x="407" y="810"/>
                    <a:pt x="405" y="811"/>
                  </a:cubicBezTo>
                  <a:cubicBezTo>
                    <a:pt x="401" y="812"/>
                    <a:pt x="401" y="812"/>
                    <a:pt x="401" y="812"/>
                  </a:cubicBezTo>
                  <a:cubicBezTo>
                    <a:pt x="401" y="812"/>
                    <a:pt x="401" y="812"/>
                    <a:pt x="401" y="812"/>
                  </a:cubicBezTo>
                  <a:cubicBezTo>
                    <a:pt x="400" y="812"/>
                    <a:pt x="400" y="812"/>
                    <a:pt x="400" y="812"/>
                  </a:cubicBezTo>
                  <a:cubicBezTo>
                    <a:pt x="400" y="819"/>
                    <a:pt x="400" y="819"/>
                    <a:pt x="400" y="819"/>
                  </a:cubicBezTo>
                  <a:cubicBezTo>
                    <a:pt x="401" y="821"/>
                    <a:pt x="401" y="821"/>
                    <a:pt x="401" y="821"/>
                  </a:cubicBezTo>
                  <a:cubicBezTo>
                    <a:pt x="402" y="821"/>
                    <a:pt x="402" y="821"/>
                    <a:pt x="402" y="821"/>
                  </a:cubicBezTo>
                  <a:cubicBezTo>
                    <a:pt x="402" y="821"/>
                    <a:pt x="403" y="821"/>
                    <a:pt x="403" y="820"/>
                  </a:cubicBezTo>
                  <a:cubicBezTo>
                    <a:pt x="403" y="820"/>
                    <a:pt x="403" y="820"/>
                    <a:pt x="404" y="820"/>
                  </a:cubicBezTo>
                  <a:cubicBezTo>
                    <a:pt x="404" y="820"/>
                    <a:pt x="405" y="819"/>
                    <a:pt x="406" y="819"/>
                  </a:cubicBezTo>
                  <a:cubicBezTo>
                    <a:pt x="407" y="818"/>
                    <a:pt x="408" y="817"/>
                    <a:pt x="408" y="817"/>
                  </a:cubicBezTo>
                  <a:cubicBezTo>
                    <a:pt x="408" y="816"/>
                    <a:pt x="409" y="816"/>
                    <a:pt x="409" y="815"/>
                  </a:cubicBezTo>
                  <a:cubicBezTo>
                    <a:pt x="410" y="815"/>
                    <a:pt x="411" y="814"/>
                    <a:pt x="411" y="814"/>
                  </a:cubicBezTo>
                  <a:cubicBezTo>
                    <a:pt x="413" y="812"/>
                    <a:pt x="413" y="812"/>
                    <a:pt x="413" y="812"/>
                  </a:cubicBezTo>
                  <a:cubicBezTo>
                    <a:pt x="415" y="811"/>
                    <a:pt x="415" y="811"/>
                    <a:pt x="415" y="811"/>
                  </a:cubicBezTo>
                  <a:cubicBezTo>
                    <a:pt x="415" y="811"/>
                    <a:pt x="415" y="811"/>
                    <a:pt x="415" y="811"/>
                  </a:cubicBezTo>
                  <a:cubicBezTo>
                    <a:pt x="418" y="810"/>
                    <a:pt x="418" y="810"/>
                    <a:pt x="418" y="810"/>
                  </a:cubicBezTo>
                  <a:cubicBezTo>
                    <a:pt x="419" y="810"/>
                    <a:pt x="419" y="810"/>
                    <a:pt x="419" y="810"/>
                  </a:cubicBezTo>
                  <a:cubicBezTo>
                    <a:pt x="421" y="811"/>
                    <a:pt x="421" y="811"/>
                    <a:pt x="421" y="811"/>
                  </a:cubicBezTo>
                  <a:cubicBezTo>
                    <a:pt x="421" y="811"/>
                    <a:pt x="421" y="811"/>
                    <a:pt x="421" y="811"/>
                  </a:cubicBezTo>
                  <a:cubicBezTo>
                    <a:pt x="424" y="812"/>
                    <a:pt x="424" y="812"/>
                    <a:pt x="424" y="812"/>
                  </a:cubicBezTo>
                  <a:cubicBezTo>
                    <a:pt x="424" y="813"/>
                    <a:pt x="425" y="813"/>
                    <a:pt x="425" y="814"/>
                  </a:cubicBezTo>
                  <a:cubicBezTo>
                    <a:pt x="425" y="815"/>
                    <a:pt x="425" y="815"/>
                    <a:pt x="425" y="815"/>
                  </a:cubicBezTo>
                  <a:cubicBezTo>
                    <a:pt x="425" y="815"/>
                    <a:pt x="425" y="815"/>
                    <a:pt x="426" y="815"/>
                  </a:cubicBezTo>
                  <a:cubicBezTo>
                    <a:pt x="427" y="817"/>
                    <a:pt x="425" y="819"/>
                    <a:pt x="424" y="820"/>
                  </a:cubicBezTo>
                  <a:cubicBezTo>
                    <a:pt x="423" y="822"/>
                    <a:pt x="423" y="822"/>
                    <a:pt x="423" y="822"/>
                  </a:cubicBezTo>
                  <a:cubicBezTo>
                    <a:pt x="422" y="824"/>
                    <a:pt x="422" y="824"/>
                    <a:pt x="421" y="824"/>
                  </a:cubicBezTo>
                  <a:cubicBezTo>
                    <a:pt x="419" y="825"/>
                    <a:pt x="418" y="825"/>
                    <a:pt x="417" y="825"/>
                  </a:cubicBezTo>
                  <a:cubicBezTo>
                    <a:pt x="416" y="826"/>
                    <a:pt x="416" y="826"/>
                    <a:pt x="416" y="826"/>
                  </a:cubicBezTo>
                  <a:cubicBezTo>
                    <a:pt x="415" y="827"/>
                    <a:pt x="415" y="827"/>
                    <a:pt x="415" y="827"/>
                  </a:cubicBezTo>
                  <a:cubicBezTo>
                    <a:pt x="414" y="827"/>
                    <a:pt x="414" y="827"/>
                    <a:pt x="414" y="827"/>
                  </a:cubicBezTo>
                  <a:cubicBezTo>
                    <a:pt x="412" y="829"/>
                    <a:pt x="412" y="829"/>
                    <a:pt x="412" y="829"/>
                  </a:cubicBezTo>
                  <a:cubicBezTo>
                    <a:pt x="412" y="830"/>
                    <a:pt x="411" y="830"/>
                    <a:pt x="411" y="830"/>
                  </a:cubicBezTo>
                  <a:cubicBezTo>
                    <a:pt x="402" y="830"/>
                    <a:pt x="402" y="830"/>
                    <a:pt x="402" y="830"/>
                  </a:cubicBezTo>
                  <a:cubicBezTo>
                    <a:pt x="401" y="830"/>
                    <a:pt x="401" y="830"/>
                    <a:pt x="401" y="830"/>
                  </a:cubicBezTo>
                  <a:cubicBezTo>
                    <a:pt x="399" y="832"/>
                    <a:pt x="397" y="833"/>
                    <a:pt x="397" y="833"/>
                  </a:cubicBezTo>
                  <a:cubicBezTo>
                    <a:pt x="392" y="835"/>
                    <a:pt x="392" y="835"/>
                    <a:pt x="392" y="835"/>
                  </a:cubicBezTo>
                  <a:cubicBezTo>
                    <a:pt x="390" y="837"/>
                    <a:pt x="390" y="837"/>
                    <a:pt x="390" y="837"/>
                  </a:cubicBezTo>
                  <a:cubicBezTo>
                    <a:pt x="390" y="838"/>
                    <a:pt x="390" y="838"/>
                    <a:pt x="390" y="838"/>
                  </a:cubicBezTo>
                  <a:cubicBezTo>
                    <a:pt x="387" y="839"/>
                    <a:pt x="387" y="839"/>
                    <a:pt x="387" y="839"/>
                  </a:cubicBezTo>
                  <a:cubicBezTo>
                    <a:pt x="387" y="840"/>
                    <a:pt x="387" y="840"/>
                    <a:pt x="386" y="840"/>
                  </a:cubicBezTo>
                  <a:cubicBezTo>
                    <a:pt x="388" y="840"/>
                    <a:pt x="388" y="840"/>
                    <a:pt x="388" y="840"/>
                  </a:cubicBezTo>
                  <a:cubicBezTo>
                    <a:pt x="385" y="844"/>
                    <a:pt x="383" y="848"/>
                    <a:pt x="390" y="849"/>
                  </a:cubicBezTo>
                  <a:cubicBezTo>
                    <a:pt x="390" y="849"/>
                    <a:pt x="390" y="849"/>
                    <a:pt x="390" y="850"/>
                  </a:cubicBezTo>
                  <a:cubicBezTo>
                    <a:pt x="391" y="850"/>
                    <a:pt x="391" y="850"/>
                    <a:pt x="391" y="850"/>
                  </a:cubicBezTo>
                  <a:cubicBezTo>
                    <a:pt x="392" y="850"/>
                    <a:pt x="392" y="850"/>
                    <a:pt x="392" y="850"/>
                  </a:cubicBezTo>
                  <a:cubicBezTo>
                    <a:pt x="394" y="851"/>
                    <a:pt x="394" y="851"/>
                    <a:pt x="394" y="851"/>
                  </a:cubicBezTo>
                  <a:cubicBezTo>
                    <a:pt x="394" y="851"/>
                    <a:pt x="394" y="851"/>
                    <a:pt x="395" y="851"/>
                  </a:cubicBezTo>
                  <a:cubicBezTo>
                    <a:pt x="396" y="853"/>
                    <a:pt x="396" y="853"/>
                    <a:pt x="396" y="853"/>
                  </a:cubicBezTo>
                  <a:cubicBezTo>
                    <a:pt x="397" y="853"/>
                    <a:pt x="397" y="853"/>
                    <a:pt x="397" y="853"/>
                  </a:cubicBezTo>
                  <a:cubicBezTo>
                    <a:pt x="398" y="853"/>
                    <a:pt x="399" y="853"/>
                    <a:pt x="399" y="854"/>
                  </a:cubicBezTo>
                  <a:cubicBezTo>
                    <a:pt x="400" y="857"/>
                    <a:pt x="400" y="857"/>
                    <a:pt x="400" y="857"/>
                  </a:cubicBezTo>
                  <a:cubicBezTo>
                    <a:pt x="402" y="858"/>
                    <a:pt x="402" y="858"/>
                    <a:pt x="402" y="858"/>
                  </a:cubicBezTo>
                  <a:cubicBezTo>
                    <a:pt x="402" y="858"/>
                    <a:pt x="402" y="858"/>
                    <a:pt x="402" y="858"/>
                  </a:cubicBezTo>
                  <a:cubicBezTo>
                    <a:pt x="403" y="860"/>
                    <a:pt x="403" y="860"/>
                    <a:pt x="403" y="860"/>
                  </a:cubicBezTo>
                  <a:cubicBezTo>
                    <a:pt x="405" y="860"/>
                    <a:pt x="406" y="861"/>
                    <a:pt x="406" y="861"/>
                  </a:cubicBezTo>
                  <a:cubicBezTo>
                    <a:pt x="407" y="861"/>
                    <a:pt x="407" y="861"/>
                    <a:pt x="407" y="862"/>
                  </a:cubicBezTo>
                  <a:cubicBezTo>
                    <a:pt x="408" y="863"/>
                    <a:pt x="408" y="863"/>
                    <a:pt x="408" y="863"/>
                  </a:cubicBezTo>
                  <a:cubicBezTo>
                    <a:pt x="409" y="863"/>
                    <a:pt x="409" y="863"/>
                    <a:pt x="409" y="863"/>
                  </a:cubicBezTo>
                  <a:cubicBezTo>
                    <a:pt x="412" y="865"/>
                    <a:pt x="412" y="865"/>
                    <a:pt x="412" y="865"/>
                  </a:cubicBezTo>
                  <a:cubicBezTo>
                    <a:pt x="412" y="865"/>
                    <a:pt x="412" y="865"/>
                    <a:pt x="412" y="865"/>
                  </a:cubicBezTo>
                  <a:cubicBezTo>
                    <a:pt x="415" y="865"/>
                    <a:pt x="417" y="865"/>
                    <a:pt x="417" y="865"/>
                  </a:cubicBezTo>
                  <a:cubicBezTo>
                    <a:pt x="419" y="866"/>
                    <a:pt x="419" y="866"/>
                    <a:pt x="419" y="866"/>
                  </a:cubicBezTo>
                  <a:cubicBezTo>
                    <a:pt x="426" y="866"/>
                    <a:pt x="426" y="866"/>
                    <a:pt x="426" y="866"/>
                  </a:cubicBezTo>
                  <a:cubicBezTo>
                    <a:pt x="434" y="871"/>
                    <a:pt x="440" y="870"/>
                    <a:pt x="440" y="870"/>
                  </a:cubicBezTo>
                  <a:cubicBezTo>
                    <a:pt x="439" y="870"/>
                    <a:pt x="439" y="870"/>
                    <a:pt x="438" y="871"/>
                  </a:cubicBezTo>
                  <a:cubicBezTo>
                    <a:pt x="437" y="872"/>
                    <a:pt x="436" y="873"/>
                    <a:pt x="436" y="873"/>
                  </a:cubicBezTo>
                  <a:cubicBezTo>
                    <a:pt x="436" y="873"/>
                    <a:pt x="436" y="873"/>
                    <a:pt x="436" y="873"/>
                  </a:cubicBezTo>
                  <a:cubicBezTo>
                    <a:pt x="435" y="874"/>
                    <a:pt x="435" y="875"/>
                    <a:pt x="434" y="875"/>
                  </a:cubicBezTo>
                  <a:cubicBezTo>
                    <a:pt x="433" y="877"/>
                    <a:pt x="432" y="877"/>
                    <a:pt x="432" y="877"/>
                  </a:cubicBezTo>
                  <a:cubicBezTo>
                    <a:pt x="431" y="877"/>
                    <a:pt x="431" y="877"/>
                    <a:pt x="431" y="877"/>
                  </a:cubicBezTo>
                  <a:cubicBezTo>
                    <a:pt x="431" y="877"/>
                    <a:pt x="431" y="877"/>
                    <a:pt x="430" y="877"/>
                  </a:cubicBezTo>
                  <a:cubicBezTo>
                    <a:pt x="429" y="879"/>
                    <a:pt x="429" y="879"/>
                    <a:pt x="429" y="879"/>
                  </a:cubicBezTo>
                  <a:cubicBezTo>
                    <a:pt x="429" y="879"/>
                    <a:pt x="429" y="879"/>
                    <a:pt x="429" y="880"/>
                  </a:cubicBezTo>
                  <a:cubicBezTo>
                    <a:pt x="429" y="880"/>
                    <a:pt x="429" y="880"/>
                    <a:pt x="428" y="881"/>
                  </a:cubicBezTo>
                  <a:cubicBezTo>
                    <a:pt x="429" y="882"/>
                    <a:pt x="430" y="883"/>
                    <a:pt x="431" y="884"/>
                  </a:cubicBezTo>
                  <a:cubicBezTo>
                    <a:pt x="432" y="883"/>
                    <a:pt x="432" y="883"/>
                    <a:pt x="433" y="883"/>
                  </a:cubicBezTo>
                  <a:cubicBezTo>
                    <a:pt x="434" y="883"/>
                    <a:pt x="435" y="883"/>
                    <a:pt x="436" y="884"/>
                  </a:cubicBezTo>
                  <a:cubicBezTo>
                    <a:pt x="436" y="884"/>
                    <a:pt x="437" y="884"/>
                    <a:pt x="437" y="885"/>
                  </a:cubicBezTo>
                  <a:cubicBezTo>
                    <a:pt x="438" y="885"/>
                    <a:pt x="438" y="886"/>
                    <a:pt x="438" y="887"/>
                  </a:cubicBezTo>
                  <a:cubicBezTo>
                    <a:pt x="438" y="887"/>
                    <a:pt x="438" y="888"/>
                    <a:pt x="437" y="888"/>
                  </a:cubicBezTo>
                  <a:cubicBezTo>
                    <a:pt x="435" y="890"/>
                    <a:pt x="435" y="890"/>
                    <a:pt x="435" y="890"/>
                  </a:cubicBezTo>
                  <a:cubicBezTo>
                    <a:pt x="434" y="891"/>
                    <a:pt x="432" y="892"/>
                    <a:pt x="431" y="892"/>
                  </a:cubicBezTo>
                  <a:cubicBezTo>
                    <a:pt x="430" y="892"/>
                    <a:pt x="430" y="892"/>
                    <a:pt x="430" y="892"/>
                  </a:cubicBezTo>
                  <a:cubicBezTo>
                    <a:pt x="429" y="892"/>
                    <a:pt x="426" y="893"/>
                    <a:pt x="423" y="894"/>
                  </a:cubicBezTo>
                  <a:cubicBezTo>
                    <a:pt x="418" y="895"/>
                    <a:pt x="418" y="895"/>
                    <a:pt x="418" y="895"/>
                  </a:cubicBezTo>
                  <a:cubicBezTo>
                    <a:pt x="418" y="897"/>
                    <a:pt x="418" y="897"/>
                    <a:pt x="418" y="897"/>
                  </a:cubicBezTo>
                  <a:cubicBezTo>
                    <a:pt x="417" y="899"/>
                    <a:pt x="417" y="899"/>
                    <a:pt x="417" y="899"/>
                  </a:cubicBezTo>
                  <a:cubicBezTo>
                    <a:pt x="417" y="900"/>
                    <a:pt x="416" y="900"/>
                    <a:pt x="416" y="900"/>
                  </a:cubicBezTo>
                  <a:cubicBezTo>
                    <a:pt x="415" y="902"/>
                    <a:pt x="415" y="903"/>
                    <a:pt x="415" y="903"/>
                  </a:cubicBezTo>
                  <a:cubicBezTo>
                    <a:pt x="415" y="903"/>
                    <a:pt x="415" y="903"/>
                    <a:pt x="414" y="904"/>
                  </a:cubicBezTo>
                  <a:cubicBezTo>
                    <a:pt x="412" y="910"/>
                    <a:pt x="412" y="910"/>
                    <a:pt x="412" y="910"/>
                  </a:cubicBezTo>
                  <a:cubicBezTo>
                    <a:pt x="413" y="911"/>
                    <a:pt x="414" y="911"/>
                    <a:pt x="416" y="912"/>
                  </a:cubicBezTo>
                  <a:cubicBezTo>
                    <a:pt x="417" y="913"/>
                    <a:pt x="418" y="914"/>
                    <a:pt x="417" y="915"/>
                  </a:cubicBezTo>
                  <a:cubicBezTo>
                    <a:pt x="417" y="916"/>
                    <a:pt x="417" y="916"/>
                    <a:pt x="417" y="916"/>
                  </a:cubicBezTo>
                  <a:cubicBezTo>
                    <a:pt x="417" y="917"/>
                    <a:pt x="416" y="918"/>
                    <a:pt x="416" y="918"/>
                  </a:cubicBezTo>
                  <a:cubicBezTo>
                    <a:pt x="415" y="919"/>
                    <a:pt x="415" y="919"/>
                    <a:pt x="414" y="919"/>
                  </a:cubicBezTo>
                  <a:cubicBezTo>
                    <a:pt x="413" y="921"/>
                    <a:pt x="413" y="921"/>
                    <a:pt x="413" y="921"/>
                  </a:cubicBezTo>
                  <a:cubicBezTo>
                    <a:pt x="412" y="921"/>
                    <a:pt x="412" y="921"/>
                    <a:pt x="411" y="921"/>
                  </a:cubicBezTo>
                  <a:cubicBezTo>
                    <a:pt x="409" y="921"/>
                    <a:pt x="409" y="921"/>
                    <a:pt x="409" y="921"/>
                  </a:cubicBezTo>
                  <a:cubicBezTo>
                    <a:pt x="409" y="922"/>
                    <a:pt x="409" y="922"/>
                    <a:pt x="409" y="922"/>
                  </a:cubicBezTo>
                  <a:cubicBezTo>
                    <a:pt x="410" y="923"/>
                    <a:pt x="411" y="924"/>
                    <a:pt x="410" y="925"/>
                  </a:cubicBezTo>
                  <a:cubicBezTo>
                    <a:pt x="410" y="925"/>
                    <a:pt x="410" y="925"/>
                    <a:pt x="410" y="926"/>
                  </a:cubicBezTo>
                  <a:cubicBezTo>
                    <a:pt x="410" y="927"/>
                    <a:pt x="410" y="927"/>
                    <a:pt x="410" y="928"/>
                  </a:cubicBezTo>
                  <a:cubicBezTo>
                    <a:pt x="410" y="928"/>
                    <a:pt x="410" y="928"/>
                    <a:pt x="409" y="929"/>
                  </a:cubicBezTo>
                  <a:cubicBezTo>
                    <a:pt x="409" y="929"/>
                    <a:pt x="409" y="931"/>
                    <a:pt x="409" y="932"/>
                  </a:cubicBezTo>
                  <a:cubicBezTo>
                    <a:pt x="409" y="933"/>
                    <a:pt x="409" y="933"/>
                    <a:pt x="409" y="934"/>
                  </a:cubicBezTo>
                  <a:cubicBezTo>
                    <a:pt x="410" y="935"/>
                    <a:pt x="410" y="936"/>
                    <a:pt x="411" y="938"/>
                  </a:cubicBezTo>
                  <a:cubicBezTo>
                    <a:pt x="411" y="938"/>
                    <a:pt x="411" y="938"/>
                    <a:pt x="411" y="938"/>
                  </a:cubicBezTo>
                  <a:cubicBezTo>
                    <a:pt x="411" y="938"/>
                    <a:pt x="411" y="938"/>
                    <a:pt x="411" y="939"/>
                  </a:cubicBezTo>
                  <a:cubicBezTo>
                    <a:pt x="412" y="939"/>
                    <a:pt x="412" y="940"/>
                    <a:pt x="412" y="940"/>
                  </a:cubicBezTo>
                  <a:cubicBezTo>
                    <a:pt x="413" y="940"/>
                    <a:pt x="413" y="941"/>
                    <a:pt x="414" y="942"/>
                  </a:cubicBezTo>
                  <a:cubicBezTo>
                    <a:pt x="414" y="943"/>
                    <a:pt x="414" y="944"/>
                    <a:pt x="414" y="945"/>
                  </a:cubicBezTo>
                  <a:cubicBezTo>
                    <a:pt x="414" y="950"/>
                    <a:pt x="414" y="950"/>
                    <a:pt x="414" y="950"/>
                  </a:cubicBezTo>
                  <a:cubicBezTo>
                    <a:pt x="414" y="950"/>
                    <a:pt x="415" y="952"/>
                    <a:pt x="416" y="953"/>
                  </a:cubicBezTo>
                  <a:cubicBezTo>
                    <a:pt x="416" y="953"/>
                    <a:pt x="417" y="955"/>
                    <a:pt x="419" y="958"/>
                  </a:cubicBezTo>
                  <a:cubicBezTo>
                    <a:pt x="419" y="959"/>
                    <a:pt x="422" y="961"/>
                    <a:pt x="422" y="961"/>
                  </a:cubicBezTo>
                  <a:cubicBezTo>
                    <a:pt x="422" y="961"/>
                    <a:pt x="422" y="961"/>
                    <a:pt x="422" y="961"/>
                  </a:cubicBezTo>
                  <a:cubicBezTo>
                    <a:pt x="424" y="963"/>
                    <a:pt x="424" y="963"/>
                    <a:pt x="424" y="963"/>
                  </a:cubicBezTo>
                  <a:cubicBezTo>
                    <a:pt x="424" y="965"/>
                    <a:pt x="425" y="965"/>
                    <a:pt x="425" y="965"/>
                  </a:cubicBezTo>
                  <a:cubicBezTo>
                    <a:pt x="426" y="965"/>
                    <a:pt x="427" y="966"/>
                    <a:pt x="427" y="967"/>
                  </a:cubicBezTo>
                  <a:cubicBezTo>
                    <a:pt x="427" y="968"/>
                    <a:pt x="427" y="968"/>
                    <a:pt x="427" y="968"/>
                  </a:cubicBezTo>
                  <a:cubicBezTo>
                    <a:pt x="428" y="969"/>
                    <a:pt x="428" y="969"/>
                    <a:pt x="428" y="969"/>
                  </a:cubicBezTo>
                  <a:cubicBezTo>
                    <a:pt x="428" y="969"/>
                    <a:pt x="428" y="969"/>
                    <a:pt x="428" y="969"/>
                  </a:cubicBezTo>
                  <a:cubicBezTo>
                    <a:pt x="428" y="969"/>
                    <a:pt x="429" y="970"/>
                    <a:pt x="429" y="971"/>
                  </a:cubicBezTo>
                  <a:cubicBezTo>
                    <a:pt x="429" y="971"/>
                    <a:pt x="429" y="971"/>
                    <a:pt x="429" y="971"/>
                  </a:cubicBezTo>
                  <a:cubicBezTo>
                    <a:pt x="431" y="971"/>
                    <a:pt x="431" y="971"/>
                    <a:pt x="431" y="971"/>
                  </a:cubicBezTo>
                  <a:cubicBezTo>
                    <a:pt x="432" y="971"/>
                    <a:pt x="433" y="971"/>
                    <a:pt x="433" y="972"/>
                  </a:cubicBezTo>
                  <a:cubicBezTo>
                    <a:pt x="433" y="973"/>
                    <a:pt x="434" y="974"/>
                    <a:pt x="434" y="974"/>
                  </a:cubicBezTo>
                  <a:cubicBezTo>
                    <a:pt x="435" y="974"/>
                    <a:pt x="435" y="974"/>
                    <a:pt x="435" y="974"/>
                  </a:cubicBezTo>
                  <a:cubicBezTo>
                    <a:pt x="438" y="974"/>
                    <a:pt x="438" y="974"/>
                    <a:pt x="438" y="974"/>
                  </a:cubicBezTo>
                  <a:cubicBezTo>
                    <a:pt x="438" y="973"/>
                    <a:pt x="440" y="973"/>
                    <a:pt x="442" y="972"/>
                  </a:cubicBezTo>
                  <a:cubicBezTo>
                    <a:pt x="443" y="972"/>
                    <a:pt x="443" y="972"/>
                    <a:pt x="443" y="972"/>
                  </a:cubicBezTo>
                  <a:cubicBezTo>
                    <a:pt x="443" y="971"/>
                    <a:pt x="443" y="971"/>
                    <a:pt x="443" y="971"/>
                  </a:cubicBezTo>
                  <a:cubicBezTo>
                    <a:pt x="444" y="971"/>
                    <a:pt x="444" y="971"/>
                    <a:pt x="445" y="971"/>
                  </a:cubicBezTo>
                  <a:cubicBezTo>
                    <a:pt x="450" y="971"/>
                    <a:pt x="450" y="971"/>
                    <a:pt x="450" y="971"/>
                  </a:cubicBezTo>
                  <a:cubicBezTo>
                    <a:pt x="450" y="971"/>
                    <a:pt x="450" y="971"/>
                    <a:pt x="451" y="971"/>
                  </a:cubicBezTo>
                  <a:cubicBezTo>
                    <a:pt x="451" y="971"/>
                    <a:pt x="452" y="972"/>
                    <a:pt x="454" y="973"/>
                  </a:cubicBezTo>
                  <a:cubicBezTo>
                    <a:pt x="455" y="974"/>
                    <a:pt x="455" y="974"/>
                    <a:pt x="455" y="974"/>
                  </a:cubicBezTo>
                  <a:cubicBezTo>
                    <a:pt x="456" y="974"/>
                    <a:pt x="456" y="974"/>
                    <a:pt x="456" y="974"/>
                  </a:cubicBezTo>
                  <a:cubicBezTo>
                    <a:pt x="456" y="974"/>
                    <a:pt x="457" y="974"/>
                    <a:pt x="457" y="975"/>
                  </a:cubicBezTo>
                  <a:cubicBezTo>
                    <a:pt x="457" y="975"/>
                    <a:pt x="457" y="975"/>
                    <a:pt x="458" y="975"/>
                  </a:cubicBezTo>
                  <a:cubicBezTo>
                    <a:pt x="459" y="976"/>
                    <a:pt x="460" y="977"/>
                    <a:pt x="460" y="977"/>
                  </a:cubicBezTo>
                  <a:cubicBezTo>
                    <a:pt x="460" y="977"/>
                    <a:pt x="463" y="979"/>
                    <a:pt x="464" y="981"/>
                  </a:cubicBezTo>
                  <a:cubicBezTo>
                    <a:pt x="465" y="981"/>
                    <a:pt x="465" y="981"/>
                    <a:pt x="465" y="981"/>
                  </a:cubicBezTo>
                  <a:cubicBezTo>
                    <a:pt x="467" y="982"/>
                    <a:pt x="467" y="984"/>
                    <a:pt x="467" y="984"/>
                  </a:cubicBezTo>
                  <a:cubicBezTo>
                    <a:pt x="467" y="985"/>
                    <a:pt x="467" y="986"/>
                    <a:pt x="468" y="986"/>
                  </a:cubicBezTo>
                  <a:cubicBezTo>
                    <a:pt x="469" y="988"/>
                    <a:pt x="469" y="989"/>
                    <a:pt x="468" y="990"/>
                  </a:cubicBezTo>
                  <a:cubicBezTo>
                    <a:pt x="469" y="991"/>
                    <a:pt x="469" y="991"/>
                    <a:pt x="469" y="991"/>
                  </a:cubicBezTo>
                  <a:cubicBezTo>
                    <a:pt x="470" y="992"/>
                    <a:pt x="470" y="992"/>
                    <a:pt x="471" y="992"/>
                  </a:cubicBezTo>
                  <a:cubicBezTo>
                    <a:pt x="471" y="992"/>
                    <a:pt x="471" y="992"/>
                    <a:pt x="471" y="992"/>
                  </a:cubicBezTo>
                  <a:cubicBezTo>
                    <a:pt x="471" y="992"/>
                    <a:pt x="472" y="992"/>
                    <a:pt x="473" y="992"/>
                  </a:cubicBezTo>
                  <a:cubicBezTo>
                    <a:pt x="474" y="992"/>
                    <a:pt x="474" y="992"/>
                    <a:pt x="475" y="992"/>
                  </a:cubicBezTo>
                  <a:cubicBezTo>
                    <a:pt x="475" y="992"/>
                    <a:pt x="476" y="992"/>
                    <a:pt x="478" y="992"/>
                  </a:cubicBezTo>
                  <a:cubicBezTo>
                    <a:pt x="479" y="993"/>
                    <a:pt x="479" y="993"/>
                    <a:pt x="480" y="993"/>
                  </a:cubicBezTo>
                  <a:cubicBezTo>
                    <a:pt x="481" y="994"/>
                    <a:pt x="481" y="994"/>
                    <a:pt x="481" y="994"/>
                  </a:cubicBezTo>
                  <a:cubicBezTo>
                    <a:pt x="481" y="995"/>
                    <a:pt x="481" y="995"/>
                    <a:pt x="481" y="995"/>
                  </a:cubicBezTo>
                  <a:cubicBezTo>
                    <a:pt x="481" y="995"/>
                    <a:pt x="481" y="995"/>
                    <a:pt x="482" y="995"/>
                  </a:cubicBezTo>
                  <a:cubicBezTo>
                    <a:pt x="482" y="996"/>
                    <a:pt x="482" y="996"/>
                    <a:pt x="482" y="996"/>
                  </a:cubicBezTo>
                  <a:cubicBezTo>
                    <a:pt x="483" y="996"/>
                    <a:pt x="483" y="995"/>
                    <a:pt x="483" y="995"/>
                  </a:cubicBezTo>
                  <a:cubicBezTo>
                    <a:pt x="485" y="997"/>
                    <a:pt x="487" y="999"/>
                    <a:pt x="489" y="1000"/>
                  </a:cubicBezTo>
                  <a:cubicBezTo>
                    <a:pt x="488" y="1001"/>
                    <a:pt x="488" y="1001"/>
                    <a:pt x="488" y="1001"/>
                  </a:cubicBezTo>
                  <a:cubicBezTo>
                    <a:pt x="487" y="1003"/>
                    <a:pt x="485" y="1003"/>
                    <a:pt x="484" y="1003"/>
                  </a:cubicBezTo>
                  <a:cubicBezTo>
                    <a:pt x="484" y="1004"/>
                    <a:pt x="483" y="1006"/>
                    <a:pt x="482" y="1007"/>
                  </a:cubicBezTo>
                  <a:cubicBezTo>
                    <a:pt x="481" y="1008"/>
                    <a:pt x="482" y="1010"/>
                    <a:pt x="482" y="1012"/>
                  </a:cubicBezTo>
                  <a:cubicBezTo>
                    <a:pt x="482" y="1012"/>
                    <a:pt x="482" y="1012"/>
                    <a:pt x="482" y="1012"/>
                  </a:cubicBezTo>
                  <a:cubicBezTo>
                    <a:pt x="482" y="1013"/>
                    <a:pt x="482" y="1016"/>
                    <a:pt x="481" y="1018"/>
                  </a:cubicBezTo>
                  <a:cubicBezTo>
                    <a:pt x="481" y="1019"/>
                    <a:pt x="481" y="1019"/>
                    <a:pt x="481" y="1019"/>
                  </a:cubicBezTo>
                  <a:cubicBezTo>
                    <a:pt x="481" y="1020"/>
                    <a:pt x="481" y="1020"/>
                    <a:pt x="481" y="1020"/>
                  </a:cubicBezTo>
                  <a:cubicBezTo>
                    <a:pt x="481" y="1020"/>
                    <a:pt x="481" y="1023"/>
                    <a:pt x="481" y="1026"/>
                  </a:cubicBezTo>
                  <a:cubicBezTo>
                    <a:pt x="481" y="1027"/>
                    <a:pt x="481" y="1028"/>
                    <a:pt x="481" y="1028"/>
                  </a:cubicBezTo>
                  <a:cubicBezTo>
                    <a:pt x="481" y="1029"/>
                    <a:pt x="481" y="1029"/>
                    <a:pt x="481" y="1029"/>
                  </a:cubicBezTo>
                  <a:cubicBezTo>
                    <a:pt x="481" y="1030"/>
                    <a:pt x="481" y="1031"/>
                    <a:pt x="481" y="1031"/>
                  </a:cubicBezTo>
                  <a:cubicBezTo>
                    <a:pt x="481" y="1032"/>
                    <a:pt x="481" y="1032"/>
                    <a:pt x="481" y="1032"/>
                  </a:cubicBezTo>
                  <a:cubicBezTo>
                    <a:pt x="481" y="1033"/>
                    <a:pt x="481" y="1034"/>
                    <a:pt x="481" y="1035"/>
                  </a:cubicBezTo>
                  <a:cubicBezTo>
                    <a:pt x="481" y="1036"/>
                    <a:pt x="481" y="1037"/>
                    <a:pt x="481" y="1039"/>
                  </a:cubicBezTo>
                  <a:cubicBezTo>
                    <a:pt x="481" y="1039"/>
                    <a:pt x="481" y="1039"/>
                    <a:pt x="481" y="1039"/>
                  </a:cubicBezTo>
                  <a:cubicBezTo>
                    <a:pt x="482" y="1040"/>
                    <a:pt x="482" y="1040"/>
                    <a:pt x="482" y="1041"/>
                  </a:cubicBezTo>
                  <a:cubicBezTo>
                    <a:pt x="482" y="1041"/>
                    <a:pt x="482" y="1041"/>
                    <a:pt x="482" y="1041"/>
                  </a:cubicBezTo>
                  <a:cubicBezTo>
                    <a:pt x="482" y="1048"/>
                    <a:pt x="482" y="1048"/>
                    <a:pt x="482" y="1048"/>
                  </a:cubicBezTo>
                  <a:cubicBezTo>
                    <a:pt x="483" y="1049"/>
                    <a:pt x="484" y="1049"/>
                    <a:pt x="484" y="1050"/>
                  </a:cubicBezTo>
                  <a:cubicBezTo>
                    <a:pt x="483" y="1051"/>
                    <a:pt x="483" y="1051"/>
                    <a:pt x="483" y="1051"/>
                  </a:cubicBezTo>
                  <a:cubicBezTo>
                    <a:pt x="483" y="1051"/>
                    <a:pt x="483" y="1051"/>
                    <a:pt x="483" y="1051"/>
                  </a:cubicBezTo>
                  <a:cubicBezTo>
                    <a:pt x="484" y="1050"/>
                    <a:pt x="484" y="1050"/>
                    <a:pt x="484" y="1050"/>
                  </a:cubicBezTo>
                  <a:cubicBezTo>
                    <a:pt x="488" y="1043"/>
                    <a:pt x="488" y="1043"/>
                    <a:pt x="488" y="1043"/>
                  </a:cubicBezTo>
                  <a:cubicBezTo>
                    <a:pt x="510" y="1020"/>
                    <a:pt x="510" y="1020"/>
                    <a:pt x="510" y="1020"/>
                  </a:cubicBezTo>
                  <a:cubicBezTo>
                    <a:pt x="513" y="1017"/>
                    <a:pt x="513" y="1017"/>
                    <a:pt x="513" y="1017"/>
                  </a:cubicBezTo>
                  <a:cubicBezTo>
                    <a:pt x="524" y="1008"/>
                    <a:pt x="524" y="1008"/>
                    <a:pt x="524" y="1008"/>
                  </a:cubicBezTo>
                  <a:cubicBezTo>
                    <a:pt x="525" y="1009"/>
                    <a:pt x="525" y="1009"/>
                    <a:pt x="525" y="1009"/>
                  </a:cubicBezTo>
                  <a:cubicBezTo>
                    <a:pt x="526" y="1010"/>
                    <a:pt x="526" y="1010"/>
                    <a:pt x="526" y="1010"/>
                  </a:cubicBezTo>
                  <a:cubicBezTo>
                    <a:pt x="527" y="1012"/>
                    <a:pt x="527" y="1012"/>
                    <a:pt x="527" y="1012"/>
                  </a:cubicBezTo>
                  <a:cubicBezTo>
                    <a:pt x="527" y="1013"/>
                    <a:pt x="527" y="1013"/>
                    <a:pt x="527" y="1013"/>
                  </a:cubicBezTo>
                  <a:cubicBezTo>
                    <a:pt x="526" y="1015"/>
                    <a:pt x="526" y="1015"/>
                    <a:pt x="526" y="1015"/>
                  </a:cubicBezTo>
                  <a:cubicBezTo>
                    <a:pt x="525" y="1016"/>
                    <a:pt x="525" y="1016"/>
                    <a:pt x="525" y="1016"/>
                  </a:cubicBezTo>
                  <a:cubicBezTo>
                    <a:pt x="523" y="1017"/>
                    <a:pt x="523" y="1017"/>
                    <a:pt x="523" y="1017"/>
                  </a:cubicBezTo>
                  <a:cubicBezTo>
                    <a:pt x="519" y="1018"/>
                    <a:pt x="519" y="1018"/>
                    <a:pt x="519" y="1018"/>
                  </a:cubicBezTo>
                  <a:cubicBezTo>
                    <a:pt x="516" y="1019"/>
                    <a:pt x="516" y="1019"/>
                    <a:pt x="516" y="1019"/>
                  </a:cubicBezTo>
                  <a:cubicBezTo>
                    <a:pt x="515" y="1020"/>
                    <a:pt x="515" y="1020"/>
                    <a:pt x="515" y="1020"/>
                  </a:cubicBezTo>
                  <a:cubicBezTo>
                    <a:pt x="512" y="1022"/>
                    <a:pt x="512" y="1022"/>
                    <a:pt x="512" y="1022"/>
                  </a:cubicBezTo>
                  <a:cubicBezTo>
                    <a:pt x="501" y="1039"/>
                    <a:pt x="501" y="1039"/>
                    <a:pt x="501" y="1039"/>
                  </a:cubicBezTo>
                  <a:cubicBezTo>
                    <a:pt x="488" y="1059"/>
                    <a:pt x="488" y="1059"/>
                    <a:pt x="488" y="1059"/>
                  </a:cubicBezTo>
                  <a:cubicBezTo>
                    <a:pt x="466" y="1084"/>
                    <a:pt x="466" y="1084"/>
                    <a:pt x="466" y="1084"/>
                  </a:cubicBezTo>
                  <a:cubicBezTo>
                    <a:pt x="438" y="1116"/>
                    <a:pt x="438" y="1116"/>
                    <a:pt x="438" y="1116"/>
                  </a:cubicBezTo>
                  <a:cubicBezTo>
                    <a:pt x="434" y="1120"/>
                    <a:pt x="434" y="1120"/>
                    <a:pt x="434" y="1120"/>
                  </a:cubicBezTo>
                  <a:cubicBezTo>
                    <a:pt x="432" y="1130"/>
                    <a:pt x="432" y="1130"/>
                    <a:pt x="432" y="1130"/>
                  </a:cubicBezTo>
                  <a:cubicBezTo>
                    <a:pt x="431" y="1137"/>
                    <a:pt x="431" y="1137"/>
                    <a:pt x="431" y="1137"/>
                  </a:cubicBezTo>
                  <a:cubicBezTo>
                    <a:pt x="431" y="1141"/>
                    <a:pt x="431" y="1141"/>
                    <a:pt x="431" y="1141"/>
                  </a:cubicBezTo>
                  <a:cubicBezTo>
                    <a:pt x="431" y="1143"/>
                    <a:pt x="431" y="1143"/>
                    <a:pt x="431" y="1143"/>
                  </a:cubicBezTo>
                  <a:cubicBezTo>
                    <a:pt x="434" y="1146"/>
                    <a:pt x="434" y="1146"/>
                    <a:pt x="434" y="1146"/>
                  </a:cubicBezTo>
                  <a:cubicBezTo>
                    <a:pt x="434" y="1147"/>
                    <a:pt x="434" y="1147"/>
                    <a:pt x="434" y="1147"/>
                  </a:cubicBezTo>
                  <a:cubicBezTo>
                    <a:pt x="434" y="1148"/>
                    <a:pt x="434" y="1148"/>
                    <a:pt x="434" y="1148"/>
                  </a:cubicBezTo>
                  <a:cubicBezTo>
                    <a:pt x="434" y="1151"/>
                    <a:pt x="434" y="1151"/>
                    <a:pt x="434" y="1151"/>
                  </a:cubicBezTo>
                  <a:cubicBezTo>
                    <a:pt x="433" y="1153"/>
                    <a:pt x="433" y="1153"/>
                    <a:pt x="433" y="1153"/>
                  </a:cubicBezTo>
                  <a:cubicBezTo>
                    <a:pt x="432" y="1155"/>
                    <a:pt x="432" y="1155"/>
                    <a:pt x="432" y="1155"/>
                  </a:cubicBezTo>
                  <a:cubicBezTo>
                    <a:pt x="432" y="1155"/>
                    <a:pt x="432" y="1155"/>
                    <a:pt x="432" y="1155"/>
                  </a:cubicBezTo>
                  <a:cubicBezTo>
                    <a:pt x="425" y="1158"/>
                    <a:pt x="425" y="1158"/>
                    <a:pt x="425" y="1158"/>
                  </a:cubicBezTo>
                  <a:cubicBezTo>
                    <a:pt x="423" y="1158"/>
                    <a:pt x="423" y="1158"/>
                    <a:pt x="423" y="1158"/>
                  </a:cubicBezTo>
                  <a:cubicBezTo>
                    <a:pt x="390" y="1165"/>
                    <a:pt x="390" y="1165"/>
                    <a:pt x="390" y="1165"/>
                  </a:cubicBezTo>
                  <a:cubicBezTo>
                    <a:pt x="371" y="1164"/>
                    <a:pt x="371" y="1164"/>
                    <a:pt x="371" y="1164"/>
                  </a:cubicBezTo>
                  <a:cubicBezTo>
                    <a:pt x="370" y="1164"/>
                    <a:pt x="370" y="1164"/>
                    <a:pt x="370" y="1164"/>
                  </a:cubicBezTo>
                  <a:cubicBezTo>
                    <a:pt x="369" y="1164"/>
                    <a:pt x="369" y="1164"/>
                    <a:pt x="369" y="1164"/>
                  </a:cubicBezTo>
                  <a:cubicBezTo>
                    <a:pt x="368" y="1162"/>
                    <a:pt x="368" y="1162"/>
                    <a:pt x="368" y="1162"/>
                  </a:cubicBezTo>
                  <a:cubicBezTo>
                    <a:pt x="364" y="1159"/>
                    <a:pt x="364" y="1159"/>
                    <a:pt x="364" y="1159"/>
                  </a:cubicBezTo>
                  <a:cubicBezTo>
                    <a:pt x="358" y="1155"/>
                    <a:pt x="358" y="1155"/>
                    <a:pt x="358" y="1155"/>
                  </a:cubicBezTo>
                  <a:cubicBezTo>
                    <a:pt x="344" y="1152"/>
                    <a:pt x="344" y="1152"/>
                    <a:pt x="344" y="1152"/>
                  </a:cubicBezTo>
                  <a:cubicBezTo>
                    <a:pt x="310" y="1152"/>
                    <a:pt x="310" y="1152"/>
                    <a:pt x="310" y="1152"/>
                  </a:cubicBezTo>
                  <a:cubicBezTo>
                    <a:pt x="309" y="1152"/>
                    <a:pt x="309" y="1152"/>
                    <a:pt x="309" y="1152"/>
                  </a:cubicBezTo>
                  <a:cubicBezTo>
                    <a:pt x="255" y="1159"/>
                    <a:pt x="255" y="1159"/>
                    <a:pt x="255" y="1159"/>
                  </a:cubicBezTo>
                  <a:cubicBezTo>
                    <a:pt x="245" y="1162"/>
                    <a:pt x="245" y="1162"/>
                    <a:pt x="245" y="1162"/>
                  </a:cubicBezTo>
                  <a:cubicBezTo>
                    <a:pt x="244" y="1162"/>
                    <a:pt x="244" y="1162"/>
                    <a:pt x="244" y="1162"/>
                  </a:cubicBezTo>
                  <a:cubicBezTo>
                    <a:pt x="241" y="1165"/>
                    <a:pt x="241" y="1165"/>
                    <a:pt x="241" y="1165"/>
                  </a:cubicBezTo>
                  <a:cubicBezTo>
                    <a:pt x="241" y="1166"/>
                    <a:pt x="241" y="1166"/>
                    <a:pt x="241" y="1166"/>
                  </a:cubicBezTo>
                  <a:cubicBezTo>
                    <a:pt x="242" y="1174"/>
                    <a:pt x="242" y="1174"/>
                    <a:pt x="242" y="1174"/>
                  </a:cubicBezTo>
                  <a:cubicBezTo>
                    <a:pt x="242" y="1191"/>
                    <a:pt x="242" y="1191"/>
                    <a:pt x="242" y="1191"/>
                  </a:cubicBezTo>
                  <a:cubicBezTo>
                    <a:pt x="242" y="1195"/>
                    <a:pt x="242" y="1195"/>
                    <a:pt x="242" y="1195"/>
                  </a:cubicBezTo>
                  <a:cubicBezTo>
                    <a:pt x="239" y="1201"/>
                    <a:pt x="239" y="1201"/>
                    <a:pt x="239" y="1201"/>
                  </a:cubicBezTo>
                  <a:cubicBezTo>
                    <a:pt x="239" y="1202"/>
                    <a:pt x="239" y="1202"/>
                    <a:pt x="239" y="1202"/>
                  </a:cubicBezTo>
                  <a:cubicBezTo>
                    <a:pt x="227" y="1212"/>
                    <a:pt x="227" y="1212"/>
                    <a:pt x="227" y="1212"/>
                  </a:cubicBezTo>
                  <a:cubicBezTo>
                    <a:pt x="225" y="1214"/>
                    <a:pt x="225" y="1214"/>
                    <a:pt x="225" y="1214"/>
                  </a:cubicBezTo>
                  <a:cubicBezTo>
                    <a:pt x="222" y="1215"/>
                    <a:pt x="222" y="1215"/>
                    <a:pt x="222" y="1215"/>
                  </a:cubicBezTo>
                  <a:cubicBezTo>
                    <a:pt x="219" y="1215"/>
                    <a:pt x="219" y="1215"/>
                    <a:pt x="219" y="1215"/>
                  </a:cubicBezTo>
                  <a:cubicBezTo>
                    <a:pt x="216" y="1214"/>
                    <a:pt x="216" y="1214"/>
                    <a:pt x="216" y="1214"/>
                  </a:cubicBezTo>
                  <a:cubicBezTo>
                    <a:pt x="211" y="1213"/>
                    <a:pt x="211" y="1213"/>
                    <a:pt x="211" y="1213"/>
                  </a:cubicBezTo>
                  <a:cubicBezTo>
                    <a:pt x="209" y="1210"/>
                    <a:pt x="209" y="1210"/>
                    <a:pt x="209" y="1210"/>
                  </a:cubicBezTo>
                  <a:cubicBezTo>
                    <a:pt x="205" y="1209"/>
                    <a:pt x="205" y="1209"/>
                    <a:pt x="205" y="1209"/>
                  </a:cubicBezTo>
                  <a:cubicBezTo>
                    <a:pt x="201" y="1207"/>
                    <a:pt x="201" y="1207"/>
                    <a:pt x="201" y="1207"/>
                  </a:cubicBezTo>
                  <a:cubicBezTo>
                    <a:pt x="193" y="1207"/>
                    <a:pt x="193" y="1207"/>
                    <a:pt x="193" y="1207"/>
                  </a:cubicBezTo>
                  <a:cubicBezTo>
                    <a:pt x="193" y="1207"/>
                    <a:pt x="193" y="1207"/>
                    <a:pt x="193" y="1207"/>
                  </a:cubicBezTo>
                  <a:cubicBezTo>
                    <a:pt x="192" y="1208"/>
                    <a:pt x="192" y="1208"/>
                    <a:pt x="192" y="1208"/>
                  </a:cubicBezTo>
                  <a:cubicBezTo>
                    <a:pt x="192" y="1209"/>
                    <a:pt x="192" y="1209"/>
                    <a:pt x="192" y="1209"/>
                  </a:cubicBezTo>
                  <a:cubicBezTo>
                    <a:pt x="189" y="1229"/>
                    <a:pt x="189" y="1229"/>
                    <a:pt x="189" y="1229"/>
                  </a:cubicBezTo>
                  <a:cubicBezTo>
                    <a:pt x="189" y="1246"/>
                    <a:pt x="189" y="1246"/>
                    <a:pt x="189" y="1246"/>
                  </a:cubicBezTo>
                  <a:cubicBezTo>
                    <a:pt x="183" y="1269"/>
                    <a:pt x="183" y="1269"/>
                    <a:pt x="183" y="1269"/>
                  </a:cubicBezTo>
                  <a:cubicBezTo>
                    <a:pt x="179" y="1272"/>
                    <a:pt x="179" y="1272"/>
                    <a:pt x="179" y="1272"/>
                  </a:cubicBezTo>
                  <a:cubicBezTo>
                    <a:pt x="162" y="1291"/>
                    <a:pt x="162" y="1291"/>
                    <a:pt x="162" y="1291"/>
                  </a:cubicBezTo>
                  <a:cubicBezTo>
                    <a:pt x="156" y="1300"/>
                    <a:pt x="156" y="1300"/>
                    <a:pt x="156" y="1300"/>
                  </a:cubicBezTo>
                  <a:cubicBezTo>
                    <a:pt x="156" y="1303"/>
                    <a:pt x="156" y="1303"/>
                    <a:pt x="156" y="1303"/>
                  </a:cubicBezTo>
                  <a:cubicBezTo>
                    <a:pt x="155" y="1308"/>
                    <a:pt x="155" y="1308"/>
                    <a:pt x="155" y="1308"/>
                  </a:cubicBezTo>
                  <a:cubicBezTo>
                    <a:pt x="153" y="1312"/>
                    <a:pt x="153" y="1312"/>
                    <a:pt x="153" y="1312"/>
                  </a:cubicBezTo>
                  <a:cubicBezTo>
                    <a:pt x="152" y="1314"/>
                    <a:pt x="152" y="1314"/>
                    <a:pt x="152" y="1314"/>
                  </a:cubicBezTo>
                  <a:cubicBezTo>
                    <a:pt x="148" y="1315"/>
                    <a:pt x="148" y="1315"/>
                    <a:pt x="148" y="1315"/>
                  </a:cubicBezTo>
                  <a:cubicBezTo>
                    <a:pt x="136" y="1318"/>
                    <a:pt x="136" y="1318"/>
                    <a:pt x="136" y="1318"/>
                  </a:cubicBezTo>
                  <a:cubicBezTo>
                    <a:pt x="131" y="1319"/>
                    <a:pt x="131" y="1319"/>
                    <a:pt x="131" y="1319"/>
                  </a:cubicBezTo>
                  <a:cubicBezTo>
                    <a:pt x="115" y="1326"/>
                    <a:pt x="115" y="1326"/>
                    <a:pt x="115" y="1326"/>
                  </a:cubicBezTo>
                  <a:cubicBezTo>
                    <a:pt x="114" y="1326"/>
                    <a:pt x="114" y="1326"/>
                    <a:pt x="114" y="1326"/>
                  </a:cubicBezTo>
                  <a:cubicBezTo>
                    <a:pt x="114" y="1326"/>
                    <a:pt x="114" y="1326"/>
                    <a:pt x="114" y="1326"/>
                  </a:cubicBezTo>
                  <a:cubicBezTo>
                    <a:pt x="113" y="1327"/>
                    <a:pt x="113" y="1327"/>
                    <a:pt x="113" y="1327"/>
                  </a:cubicBezTo>
                  <a:cubicBezTo>
                    <a:pt x="111" y="1337"/>
                    <a:pt x="111" y="1337"/>
                    <a:pt x="111" y="1337"/>
                  </a:cubicBezTo>
                  <a:cubicBezTo>
                    <a:pt x="110" y="1339"/>
                    <a:pt x="110" y="1339"/>
                    <a:pt x="110" y="1339"/>
                  </a:cubicBezTo>
                  <a:cubicBezTo>
                    <a:pt x="112" y="1342"/>
                    <a:pt x="112" y="1342"/>
                    <a:pt x="112" y="1342"/>
                  </a:cubicBezTo>
                  <a:cubicBezTo>
                    <a:pt x="113" y="1345"/>
                    <a:pt x="113" y="1345"/>
                    <a:pt x="113" y="1345"/>
                  </a:cubicBezTo>
                  <a:cubicBezTo>
                    <a:pt x="113" y="1346"/>
                    <a:pt x="113" y="1346"/>
                    <a:pt x="113" y="1346"/>
                  </a:cubicBezTo>
                  <a:cubicBezTo>
                    <a:pt x="110" y="1354"/>
                    <a:pt x="110" y="1354"/>
                    <a:pt x="110" y="1354"/>
                  </a:cubicBezTo>
                  <a:cubicBezTo>
                    <a:pt x="109" y="1357"/>
                    <a:pt x="109" y="1357"/>
                    <a:pt x="109" y="1357"/>
                  </a:cubicBezTo>
                  <a:cubicBezTo>
                    <a:pt x="92" y="1376"/>
                    <a:pt x="92" y="1376"/>
                    <a:pt x="92" y="1376"/>
                  </a:cubicBezTo>
                  <a:cubicBezTo>
                    <a:pt x="72" y="1395"/>
                    <a:pt x="72" y="1395"/>
                    <a:pt x="72" y="1395"/>
                  </a:cubicBezTo>
                  <a:cubicBezTo>
                    <a:pt x="51" y="1410"/>
                    <a:pt x="51" y="1410"/>
                    <a:pt x="51" y="1410"/>
                  </a:cubicBezTo>
                  <a:cubicBezTo>
                    <a:pt x="39" y="1409"/>
                    <a:pt x="39" y="1409"/>
                    <a:pt x="39" y="1409"/>
                  </a:cubicBezTo>
                  <a:cubicBezTo>
                    <a:pt x="38" y="1409"/>
                    <a:pt x="38" y="1409"/>
                    <a:pt x="38" y="1409"/>
                  </a:cubicBezTo>
                  <a:cubicBezTo>
                    <a:pt x="35" y="1409"/>
                    <a:pt x="35" y="1409"/>
                    <a:pt x="35" y="1409"/>
                  </a:cubicBezTo>
                  <a:cubicBezTo>
                    <a:pt x="34" y="1409"/>
                    <a:pt x="34" y="1409"/>
                    <a:pt x="34" y="1409"/>
                  </a:cubicBezTo>
                  <a:cubicBezTo>
                    <a:pt x="28" y="1411"/>
                    <a:pt x="28" y="1411"/>
                    <a:pt x="28" y="1411"/>
                  </a:cubicBezTo>
                  <a:cubicBezTo>
                    <a:pt x="5" y="1423"/>
                    <a:pt x="5" y="1423"/>
                    <a:pt x="5" y="1423"/>
                  </a:cubicBezTo>
                  <a:cubicBezTo>
                    <a:pt x="4" y="1424"/>
                    <a:pt x="4" y="1424"/>
                    <a:pt x="4" y="1424"/>
                  </a:cubicBezTo>
                  <a:cubicBezTo>
                    <a:pt x="2" y="1430"/>
                    <a:pt x="2" y="1430"/>
                    <a:pt x="2" y="1430"/>
                  </a:cubicBezTo>
                  <a:cubicBezTo>
                    <a:pt x="0" y="1446"/>
                    <a:pt x="0" y="1446"/>
                    <a:pt x="0" y="1446"/>
                  </a:cubicBezTo>
                  <a:cubicBezTo>
                    <a:pt x="0" y="1447"/>
                    <a:pt x="0" y="1447"/>
                    <a:pt x="0" y="1447"/>
                  </a:cubicBezTo>
                  <a:cubicBezTo>
                    <a:pt x="0" y="1448"/>
                    <a:pt x="0" y="1448"/>
                    <a:pt x="0" y="1448"/>
                  </a:cubicBezTo>
                  <a:cubicBezTo>
                    <a:pt x="1" y="1449"/>
                    <a:pt x="1" y="1449"/>
                    <a:pt x="1" y="1449"/>
                  </a:cubicBezTo>
                  <a:cubicBezTo>
                    <a:pt x="2" y="1450"/>
                    <a:pt x="2" y="1450"/>
                    <a:pt x="2" y="1450"/>
                  </a:cubicBezTo>
                  <a:cubicBezTo>
                    <a:pt x="5" y="1452"/>
                    <a:pt x="5" y="1452"/>
                    <a:pt x="5" y="1452"/>
                  </a:cubicBezTo>
                  <a:cubicBezTo>
                    <a:pt x="7" y="1453"/>
                    <a:pt x="7" y="1453"/>
                    <a:pt x="7" y="1453"/>
                  </a:cubicBezTo>
                  <a:cubicBezTo>
                    <a:pt x="8" y="1454"/>
                    <a:pt x="8" y="1454"/>
                    <a:pt x="8" y="1454"/>
                  </a:cubicBezTo>
                  <a:cubicBezTo>
                    <a:pt x="11" y="1454"/>
                    <a:pt x="11" y="1454"/>
                    <a:pt x="11" y="1454"/>
                  </a:cubicBezTo>
                  <a:cubicBezTo>
                    <a:pt x="22" y="1451"/>
                    <a:pt x="22" y="1451"/>
                    <a:pt x="22" y="1451"/>
                  </a:cubicBezTo>
                  <a:cubicBezTo>
                    <a:pt x="25" y="1450"/>
                    <a:pt x="25" y="1450"/>
                    <a:pt x="25" y="1450"/>
                  </a:cubicBezTo>
                  <a:cubicBezTo>
                    <a:pt x="27" y="1448"/>
                    <a:pt x="27" y="1448"/>
                    <a:pt x="27" y="1448"/>
                  </a:cubicBezTo>
                  <a:cubicBezTo>
                    <a:pt x="28" y="1446"/>
                    <a:pt x="28" y="1446"/>
                    <a:pt x="28" y="1446"/>
                  </a:cubicBezTo>
                  <a:cubicBezTo>
                    <a:pt x="29" y="1445"/>
                    <a:pt x="29" y="1445"/>
                    <a:pt x="29" y="1445"/>
                  </a:cubicBezTo>
                  <a:cubicBezTo>
                    <a:pt x="29" y="1442"/>
                    <a:pt x="29" y="1442"/>
                    <a:pt x="29" y="1442"/>
                  </a:cubicBezTo>
                  <a:cubicBezTo>
                    <a:pt x="29" y="1442"/>
                    <a:pt x="29" y="1442"/>
                    <a:pt x="29" y="1442"/>
                  </a:cubicBezTo>
                  <a:cubicBezTo>
                    <a:pt x="29" y="1439"/>
                    <a:pt x="29" y="1439"/>
                    <a:pt x="29" y="1439"/>
                  </a:cubicBezTo>
                  <a:cubicBezTo>
                    <a:pt x="29" y="1436"/>
                    <a:pt x="29" y="1436"/>
                    <a:pt x="29" y="1436"/>
                  </a:cubicBezTo>
                  <a:cubicBezTo>
                    <a:pt x="30" y="1435"/>
                    <a:pt x="30" y="1435"/>
                    <a:pt x="30" y="1435"/>
                  </a:cubicBezTo>
                  <a:cubicBezTo>
                    <a:pt x="30" y="1434"/>
                    <a:pt x="30" y="1434"/>
                    <a:pt x="30" y="1434"/>
                  </a:cubicBezTo>
                  <a:cubicBezTo>
                    <a:pt x="31" y="1433"/>
                    <a:pt x="31" y="1433"/>
                    <a:pt x="31" y="1433"/>
                  </a:cubicBezTo>
                  <a:cubicBezTo>
                    <a:pt x="35" y="1431"/>
                    <a:pt x="35" y="1431"/>
                    <a:pt x="35" y="1431"/>
                  </a:cubicBezTo>
                  <a:cubicBezTo>
                    <a:pt x="37" y="1431"/>
                    <a:pt x="37" y="1431"/>
                    <a:pt x="37" y="1431"/>
                  </a:cubicBezTo>
                  <a:cubicBezTo>
                    <a:pt x="39" y="1431"/>
                    <a:pt x="39" y="1431"/>
                    <a:pt x="39" y="1431"/>
                  </a:cubicBezTo>
                  <a:cubicBezTo>
                    <a:pt x="55" y="1437"/>
                    <a:pt x="55" y="1437"/>
                    <a:pt x="55" y="1437"/>
                  </a:cubicBezTo>
                  <a:cubicBezTo>
                    <a:pt x="63" y="1440"/>
                    <a:pt x="63" y="1440"/>
                    <a:pt x="63" y="1440"/>
                  </a:cubicBezTo>
                  <a:cubicBezTo>
                    <a:pt x="65" y="1442"/>
                    <a:pt x="65" y="1442"/>
                    <a:pt x="65" y="1442"/>
                  </a:cubicBezTo>
                  <a:cubicBezTo>
                    <a:pt x="70" y="1446"/>
                    <a:pt x="70" y="1446"/>
                    <a:pt x="70" y="1446"/>
                  </a:cubicBezTo>
                  <a:cubicBezTo>
                    <a:pt x="72" y="1448"/>
                    <a:pt x="72" y="1448"/>
                    <a:pt x="72" y="1448"/>
                  </a:cubicBezTo>
                  <a:cubicBezTo>
                    <a:pt x="75" y="1456"/>
                    <a:pt x="75" y="1456"/>
                    <a:pt x="75" y="1456"/>
                  </a:cubicBezTo>
                  <a:cubicBezTo>
                    <a:pt x="76" y="1458"/>
                    <a:pt x="76" y="1458"/>
                    <a:pt x="76" y="1458"/>
                  </a:cubicBezTo>
                  <a:cubicBezTo>
                    <a:pt x="76" y="1459"/>
                    <a:pt x="76" y="1459"/>
                    <a:pt x="76" y="1459"/>
                  </a:cubicBezTo>
                  <a:cubicBezTo>
                    <a:pt x="76" y="1460"/>
                    <a:pt x="76" y="1460"/>
                    <a:pt x="76" y="1460"/>
                  </a:cubicBezTo>
                  <a:cubicBezTo>
                    <a:pt x="75" y="1462"/>
                    <a:pt x="75" y="1462"/>
                    <a:pt x="75" y="1462"/>
                  </a:cubicBezTo>
                  <a:cubicBezTo>
                    <a:pt x="75" y="1462"/>
                    <a:pt x="75" y="1462"/>
                    <a:pt x="75" y="1462"/>
                  </a:cubicBezTo>
                  <a:cubicBezTo>
                    <a:pt x="75" y="1463"/>
                    <a:pt x="75" y="1463"/>
                    <a:pt x="75" y="1463"/>
                  </a:cubicBezTo>
                  <a:cubicBezTo>
                    <a:pt x="78" y="1468"/>
                    <a:pt x="78" y="1468"/>
                    <a:pt x="78" y="1468"/>
                  </a:cubicBezTo>
                  <a:cubicBezTo>
                    <a:pt x="80" y="1471"/>
                    <a:pt x="80" y="1471"/>
                    <a:pt x="80" y="1471"/>
                  </a:cubicBezTo>
                  <a:cubicBezTo>
                    <a:pt x="84" y="1474"/>
                    <a:pt x="84" y="1474"/>
                    <a:pt x="84" y="1474"/>
                  </a:cubicBezTo>
                  <a:cubicBezTo>
                    <a:pt x="84" y="1475"/>
                    <a:pt x="84" y="1475"/>
                    <a:pt x="84" y="1475"/>
                  </a:cubicBezTo>
                  <a:cubicBezTo>
                    <a:pt x="85" y="1475"/>
                    <a:pt x="85" y="1475"/>
                    <a:pt x="85" y="1475"/>
                  </a:cubicBezTo>
                  <a:cubicBezTo>
                    <a:pt x="102" y="1461"/>
                    <a:pt x="102" y="1461"/>
                    <a:pt x="102" y="1461"/>
                  </a:cubicBezTo>
                  <a:cubicBezTo>
                    <a:pt x="102" y="1461"/>
                    <a:pt x="102" y="1461"/>
                    <a:pt x="102" y="1461"/>
                  </a:cubicBezTo>
                  <a:cubicBezTo>
                    <a:pt x="107" y="1453"/>
                    <a:pt x="107" y="1453"/>
                    <a:pt x="107" y="1453"/>
                  </a:cubicBezTo>
                  <a:cubicBezTo>
                    <a:pt x="108" y="1450"/>
                    <a:pt x="108" y="1450"/>
                    <a:pt x="108" y="1450"/>
                  </a:cubicBezTo>
                  <a:cubicBezTo>
                    <a:pt x="108" y="1448"/>
                    <a:pt x="108" y="1448"/>
                    <a:pt x="108" y="1448"/>
                  </a:cubicBezTo>
                  <a:cubicBezTo>
                    <a:pt x="106" y="1443"/>
                    <a:pt x="106" y="1443"/>
                    <a:pt x="106" y="1443"/>
                  </a:cubicBezTo>
                  <a:cubicBezTo>
                    <a:pt x="105" y="1443"/>
                    <a:pt x="105" y="1443"/>
                    <a:pt x="105" y="1443"/>
                  </a:cubicBezTo>
                  <a:cubicBezTo>
                    <a:pt x="104" y="1442"/>
                    <a:pt x="104" y="1442"/>
                    <a:pt x="104" y="1442"/>
                  </a:cubicBezTo>
                  <a:cubicBezTo>
                    <a:pt x="105" y="1429"/>
                    <a:pt x="105" y="1429"/>
                    <a:pt x="105" y="1429"/>
                  </a:cubicBezTo>
                  <a:cubicBezTo>
                    <a:pt x="109" y="1414"/>
                    <a:pt x="109" y="1414"/>
                    <a:pt x="109" y="1414"/>
                  </a:cubicBezTo>
                  <a:cubicBezTo>
                    <a:pt x="112" y="1408"/>
                    <a:pt x="112" y="1408"/>
                    <a:pt x="112" y="1408"/>
                  </a:cubicBezTo>
                  <a:cubicBezTo>
                    <a:pt x="113" y="1408"/>
                    <a:pt x="113" y="1408"/>
                    <a:pt x="113" y="1408"/>
                  </a:cubicBezTo>
                  <a:cubicBezTo>
                    <a:pt x="114" y="1408"/>
                    <a:pt x="114" y="1408"/>
                    <a:pt x="114" y="1408"/>
                  </a:cubicBezTo>
                  <a:cubicBezTo>
                    <a:pt x="114" y="1409"/>
                    <a:pt x="114" y="1409"/>
                    <a:pt x="114" y="1409"/>
                  </a:cubicBezTo>
                  <a:cubicBezTo>
                    <a:pt x="113" y="1414"/>
                    <a:pt x="113" y="1414"/>
                    <a:pt x="113" y="1414"/>
                  </a:cubicBezTo>
                  <a:cubicBezTo>
                    <a:pt x="113" y="1415"/>
                    <a:pt x="113" y="1415"/>
                    <a:pt x="113" y="1415"/>
                  </a:cubicBezTo>
                  <a:cubicBezTo>
                    <a:pt x="115" y="1428"/>
                    <a:pt x="115" y="1428"/>
                    <a:pt x="115" y="1428"/>
                  </a:cubicBezTo>
                  <a:cubicBezTo>
                    <a:pt x="115" y="1428"/>
                    <a:pt x="115" y="1428"/>
                    <a:pt x="115" y="1428"/>
                  </a:cubicBezTo>
                  <a:cubicBezTo>
                    <a:pt x="118" y="1426"/>
                    <a:pt x="118" y="1426"/>
                    <a:pt x="118" y="1426"/>
                  </a:cubicBezTo>
                  <a:cubicBezTo>
                    <a:pt x="120" y="1425"/>
                    <a:pt x="120" y="1425"/>
                    <a:pt x="120" y="1425"/>
                  </a:cubicBezTo>
                  <a:cubicBezTo>
                    <a:pt x="121" y="1424"/>
                    <a:pt x="121" y="1424"/>
                    <a:pt x="121" y="1424"/>
                  </a:cubicBezTo>
                  <a:cubicBezTo>
                    <a:pt x="121" y="1420"/>
                    <a:pt x="121" y="1420"/>
                    <a:pt x="121" y="1420"/>
                  </a:cubicBezTo>
                  <a:cubicBezTo>
                    <a:pt x="121" y="1419"/>
                    <a:pt x="121" y="1419"/>
                    <a:pt x="121" y="1419"/>
                  </a:cubicBezTo>
                  <a:cubicBezTo>
                    <a:pt x="122" y="1416"/>
                    <a:pt x="122" y="1416"/>
                    <a:pt x="122" y="1416"/>
                  </a:cubicBezTo>
                  <a:cubicBezTo>
                    <a:pt x="125" y="1414"/>
                    <a:pt x="125" y="1414"/>
                    <a:pt x="125" y="1414"/>
                  </a:cubicBezTo>
                  <a:cubicBezTo>
                    <a:pt x="141" y="1405"/>
                    <a:pt x="141" y="1405"/>
                    <a:pt x="141" y="1405"/>
                  </a:cubicBezTo>
                  <a:cubicBezTo>
                    <a:pt x="152" y="1396"/>
                    <a:pt x="152" y="1396"/>
                    <a:pt x="152" y="1396"/>
                  </a:cubicBezTo>
                  <a:cubicBezTo>
                    <a:pt x="152" y="1394"/>
                    <a:pt x="152" y="1394"/>
                    <a:pt x="152" y="1394"/>
                  </a:cubicBezTo>
                  <a:cubicBezTo>
                    <a:pt x="155" y="1382"/>
                    <a:pt x="155" y="1382"/>
                    <a:pt x="155" y="1382"/>
                  </a:cubicBezTo>
                  <a:cubicBezTo>
                    <a:pt x="156" y="1381"/>
                    <a:pt x="156" y="1381"/>
                    <a:pt x="156" y="1381"/>
                  </a:cubicBezTo>
                  <a:cubicBezTo>
                    <a:pt x="165" y="1378"/>
                    <a:pt x="165" y="1378"/>
                    <a:pt x="165" y="1378"/>
                  </a:cubicBezTo>
                  <a:cubicBezTo>
                    <a:pt x="168" y="1378"/>
                    <a:pt x="168" y="1378"/>
                    <a:pt x="168" y="1378"/>
                  </a:cubicBezTo>
                  <a:cubicBezTo>
                    <a:pt x="174" y="1381"/>
                    <a:pt x="174" y="1381"/>
                    <a:pt x="174" y="1381"/>
                  </a:cubicBezTo>
                  <a:cubicBezTo>
                    <a:pt x="195" y="1382"/>
                    <a:pt x="195" y="1382"/>
                    <a:pt x="195" y="1382"/>
                  </a:cubicBezTo>
                  <a:cubicBezTo>
                    <a:pt x="200" y="1381"/>
                    <a:pt x="200" y="1381"/>
                    <a:pt x="200" y="1381"/>
                  </a:cubicBezTo>
                  <a:cubicBezTo>
                    <a:pt x="202" y="1381"/>
                    <a:pt x="202" y="1381"/>
                    <a:pt x="202" y="1381"/>
                  </a:cubicBezTo>
                  <a:cubicBezTo>
                    <a:pt x="204" y="1379"/>
                    <a:pt x="204" y="1379"/>
                    <a:pt x="204" y="1379"/>
                  </a:cubicBezTo>
                  <a:cubicBezTo>
                    <a:pt x="206" y="1377"/>
                    <a:pt x="206" y="1377"/>
                    <a:pt x="206" y="1377"/>
                  </a:cubicBezTo>
                  <a:cubicBezTo>
                    <a:pt x="206" y="1377"/>
                    <a:pt x="206" y="1377"/>
                    <a:pt x="206" y="1377"/>
                  </a:cubicBezTo>
                  <a:cubicBezTo>
                    <a:pt x="208" y="1375"/>
                    <a:pt x="208" y="1375"/>
                    <a:pt x="208" y="1375"/>
                  </a:cubicBezTo>
                  <a:cubicBezTo>
                    <a:pt x="210" y="1374"/>
                    <a:pt x="210" y="1374"/>
                    <a:pt x="210" y="1374"/>
                  </a:cubicBezTo>
                  <a:cubicBezTo>
                    <a:pt x="246" y="1371"/>
                    <a:pt x="246" y="1371"/>
                    <a:pt x="246" y="1371"/>
                  </a:cubicBezTo>
                  <a:cubicBezTo>
                    <a:pt x="257" y="1373"/>
                    <a:pt x="257" y="1373"/>
                    <a:pt x="257" y="1373"/>
                  </a:cubicBezTo>
                  <a:cubicBezTo>
                    <a:pt x="296" y="1391"/>
                    <a:pt x="296" y="1391"/>
                    <a:pt x="296" y="1391"/>
                  </a:cubicBezTo>
                  <a:cubicBezTo>
                    <a:pt x="298" y="1392"/>
                    <a:pt x="298" y="1392"/>
                    <a:pt x="298" y="1392"/>
                  </a:cubicBezTo>
                  <a:cubicBezTo>
                    <a:pt x="301" y="1396"/>
                    <a:pt x="301" y="1396"/>
                    <a:pt x="301" y="1396"/>
                  </a:cubicBezTo>
                  <a:cubicBezTo>
                    <a:pt x="302" y="1398"/>
                    <a:pt x="302" y="1398"/>
                    <a:pt x="302" y="1398"/>
                  </a:cubicBezTo>
                  <a:cubicBezTo>
                    <a:pt x="303" y="1402"/>
                    <a:pt x="303" y="1402"/>
                    <a:pt x="303" y="1402"/>
                  </a:cubicBezTo>
                  <a:cubicBezTo>
                    <a:pt x="304" y="1403"/>
                    <a:pt x="304" y="1403"/>
                    <a:pt x="304" y="1403"/>
                  </a:cubicBezTo>
                  <a:cubicBezTo>
                    <a:pt x="305" y="1405"/>
                    <a:pt x="305" y="1405"/>
                    <a:pt x="305" y="1405"/>
                  </a:cubicBezTo>
                  <a:cubicBezTo>
                    <a:pt x="306" y="1406"/>
                    <a:pt x="306" y="1406"/>
                    <a:pt x="306" y="1406"/>
                  </a:cubicBezTo>
                  <a:cubicBezTo>
                    <a:pt x="311" y="1408"/>
                    <a:pt x="311" y="1408"/>
                    <a:pt x="311" y="1408"/>
                  </a:cubicBezTo>
                  <a:cubicBezTo>
                    <a:pt x="313" y="1408"/>
                    <a:pt x="313" y="1408"/>
                    <a:pt x="313" y="1408"/>
                  </a:cubicBezTo>
                  <a:cubicBezTo>
                    <a:pt x="323" y="1409"/>
                    <a:pt x="323" y="1409"/>
                    <a:pt x="323" y="1409"/>
                  </a:cubicBezTo>
                  <a:cubicBezTo>
                    <a:pt x="325" y="1409"/>
                    <a:pt x="325" y="1409"/>
                    <a:pt x="325" y="1409"/>
                  </a:cubicBezTo>
                  <a:cubicBezTo>
                    <a:pt x="331" y="1406"/>
                    <a:pt x="331" y="1406"/>
                    <a:pt x="331" y="1406"/>
                  </a:cubicBezTo>
                  <a:cubicBezTo>
                    <a:pt x="335" y="1403"/>
                    <a:pt x="335" y="1403"/>
                    <a:pt x="335" y="1403"/>
                  </a:cubicBezTo>
                  <a:cubicBezTo>
                    <a:pt x="334" y="1402"/>
                    <a:pt x="334" y="1402"/>
                    <a:pt x="334" y="1402"/>
                  </a:cubicBezTo>
                  <a:cubicBezTo>
                    <a:pt x="334" y="1400"/>
                    <a:pt x="334" y="1400"/>
                    <a:pt x="334" y="1400"/>
                  </a:cubicBezTo>
                  <a:cubicBezTo>
                    <a:pt x="335" y="1396"/>
                    <a:pt x="335" y="1396"/>
                    <a:pt x="335" y="1396"/>
                  </a:cubicBezTo>
                  <a:cubicBezTo>
                    <a:pt x="336" y="1391"/>
                    <a:pt x="336" y="1391"/>
                    <a:pt x="336" y="1391"/>
                  </a:cubicBezTo>
                  <a:cubicBezTo>
                    <a:pt x="337" y="1388"/>
                    <a:pt x="337" y="1388"/>
                    <a:pt x="337" y="1388"/>
                  </a:cubicBezTo>
                  <a:cubicBezTo>
                    <a:pt x="339" y="1386"/>
                    <a:pt x="339" y="1386"/>
                    <a:pt x="339" y="1386"/>
                  </a:cubicBezTo>
                  <a:cubicBezTo>
                    <a:pt x="340" y="1384"/>
                    <a:pt x="340" y="1384"/>
                    <a:pt x="340" y="1384"/>
                  </a:cubicBezTo>
                  <a:cubicBezTo>
                    <a:pt x="341" y="1383"/>
                    <a:pt x="341" y="1383"/>
                    <a:pt x="341" y="1383"/>
                  </a:cubicBezTo>
                  <a:cubicBezTo>
                    <a:pt x="345" y="1381"/>
                    <a:pt x="345" y="1381"/>
                    <a:pt x="345" y="1381"/>
                  </a:cubicBezTo>
                  <a:cubicBezTo>
                    <a:pt x="349" y="1380"/>
                    <a:pt x="349" y="1380"/>
                    <a:pt x="349" y="1380"/>
                  </a:cubicBezTo>
                  <a:cubicBezTo>
                    <a:pt x="357" y="1375"/>
                    <a:pt x="357" y="1375"/>
                    <a:pt x="357" y="1375"/>
                  </a:cubicBezTo>
                  <a:cubicBezTo>
                    <a:pt x="358" y="1365"/>
                    <a:pt x="358" y="1365"/>
                    <a:pt x="358" y="1365"/>
                  </a:cubicBezTo>
                  <a:cubicBezTo>
                    <a:pt x="358" y="1362"/>
                    <a:pt x="358" y="1362"/>
                    <a:pt x="358" y="1362"/>
                  </a:cubicBezTo>
                  <a:cubicBezTo>
                    <a:pt x="357" y="1361"/>
                    <a:pt x="357" y="1361"/>
                    <a:pt x="357" y="1361"/>
                  </a:cubicBezTo>
                  <a:cubicBezTo>
                    <a:pt x="352" y="1359"/>
                    <a:pt x="352" y="1359"/>
                    <a:pt x="352" y="1359"/>
                  </a:cubicBezTo>
                  <a:cubicBezTo>
                    <a:pt x="351" y="1358"/>
                    <a:pt x="351" y="1358"/>
                    <a:pt x="351" y="1358"/>
                  </a:cubicBezTo>
                  <a:cubicBezTo>
                    <a:pt x="351" y="1357"/>
                    <a:pt x="351" y="1357"/>
                    <a:pt x="351" y="1357"/>
                  </a:cubicBezTo>
                  <a:cubicBezTo>
                    <a:pt x="350" y="1350"/>
                    <a:pt x="350" y="1350"/>
                    <a:pt x="350" y="1350"/>
                  </a:cubicBezTo>
                  <a:cubicBezTo>
                    <a:pt x="351" y="1349"/>
                    <a:pt x="351" y="1349"/>
                    <a:pt x="351" y="1349"/>
                  </a:cubicBezTo>
                  <a:cubicBezTo>
                    <a:pt x="358" y="1328"/>
                    <a:pt x="358" y="1328"/>
                    <a:pt x="358" y="1328"/>
                  </a:cubicBezTo>
                  <a:cubicBezTo>
                    <a:pt x="359" y="1326"/>
                    <a:pt x="359" y="1326"/>
                    <a:pt x="359" y="1326"/>
                  </a:cubicBezTo>
                  <a:cubicBezTo>
                    <a:pt x="368" y="1311"/>
                    <a:pt x="368" y="1311"/>
                    <a:pt x="368" y="1311"/>
                  </a:cubicBezTo>
                  <a:cubicBezTo>
                    <a:pt x="371" y="1306"/>
                    <a:pt x="371" y="1306"/>
                    <a:pt x="371" y="1306"/>
                  </a:cubicBezTo>
                  <a:cubicBezTo>
                    <a:pt x="398" y="1290"/>
                    <a:pt x="398" y="1290"/>
                    <a:pt x="398" y="1290"/>
                  </a:cubicBezTo>
                  <a:cubicBezTo>
                    <a:pt x="402" y="1289"/>
                    <a:pt x="402" y="1289"/>
                    <a:pt x="402" y="1289"/>
                  </a:cubicBezTo>
                  <a:cubicBezTo>
                    <a:pt x="404" y="1288"/>
                    <a:pt x="404" y="1288"/>
                    <a:pt x="404" y="1288"/>
                  </a:cubicBezTo>
                  <a:cubicBezTo>
                    <a:pt x="409" y="1288"/>
                    <a:pt x="409" y="1288"/>
                    <a:pt x="409" y="1288"/>
                  </a:cubicBezTo>
                  <a:cubicBezTo>
                    <a:pt x="411" y="1287"/>
                    <a:pt x="411" y="1287"/>
                    <a:pt x="411" y="1287"/>
                  </a:cubicBezTo>
                  <a:cubicBezTo>
                    <a:pt x="418" y="1288"/>
                    <a:pt x="418" y="1288"/>
                    <a:pt x="418" y="1288"/>
                  </a:cubicBezTo>
                  <a:cubicBezTo>
                    <a:pt x="436" y="1285"/>
                    <a:pt x="436" y="1285"/>
                    <a:pt x="436" y="1285"/>
                  </a:cubicBezTo>
                  <a:cubicBezTo>
                    <a:pt x="441" y="1281"/>
                    <a:pt x="441" y="1281"/>
                    <a:pt x="441" y="1281"/>
                  </a:cubicBezTo>
                  <a:cubicBezTo>
                    <a:pt x="447" y="1278"/>
                    <a:pt x="447" y="1278"/>
                    <a:pt x="447" y="1278"/>
                  </a:cubicBezTo>
                  <a:cubicBezTo>
                    <a:pt x="449" y="1277"/>
                    <a:pt x="449" y="1277"/>
                    <a:pt x="449" y="1277"/>
                  </a:cubicBezTo>
                  <a:cubicBezTo>
                    <a:pt x="451" y="1276"/>
                    <a:pt x="451" y="1276"/>
                    <a:pt x="451" y="1276"/>
                  </a:cubicBezTo>
                  <a:cubicBezTo>
                    <a:pt x="454" y="1276"/>
                    <a:pt x="454" y="1276"/>
                    <a:pt x="454" y="1276"/>
                  </a:cubicBezTo>
                  <a:cubicBezTo>
                    <a:pt x="457" y="1276"/>
                    <a:pt x="457" y="1276"/>
                    <a:pt x="457" y="1276"/>
                  </a:cubicBezTo>
                  <a:cubicBezTo>
                    <a:pt x="472" y="1279"/>
                    <a:pt x="472" y="1279"/>
                    <a:pt x="472" y="1279"/>
                  </a:cubicBezTo>
                  <a:cubicBezTo>
                    <a:pt x="474" y="1280"/>
                    <a:pt x="474" y="1280"/>
                    <a:pt x="474" y="1280"/>
                  </a:cubicBezTo>
                  <a:cubicBezTo>
                    <a:pt x="475" y="1281"/>
                    <a:pt x="475" y="1281"/>
                    <a:pt x="475" y="1281"/>
                  </a:cubicBezTo>
                  <a:cubicBezTo>
                    <a:pt x="505" y="1299"/>
                    <a:pt x="505" y="1299"/>
                    <a:pt x="505" y="1299"/>
                  </a:cubicBezTo>
                  <a:cubicBezTo>
                    <a:pt x="525" y="1310"/>
                    <a:pt x="525" y="1310"/>
                    <a:pt x="525" y="1310"/>
                  </a:cubicBezTo>
                  <a:cubicBezTo>
                    <a:pt x="525" y="1309"/>
                    <a:pt x="525" y="1309"/>
                    <a:pt x="525" y="1309"/>
                  </a:cubicBezTo>
                  <a:cubicBezTo>
                    <a:pt x="527" y="1301"/>
                    <a:pt x="527" y="1301"/>
                    <a:pt x="527" y="1301"/>
                  </a:cubicBezTo>
                  <a:cubicBezTo>
                    <a:pt x="528" y="1300"/>
                    <a:pt x="528" y="1300"/>
                    <a:pt x="528" y="1300"/>
                  </a:cubicBezTo>
                  <a:cubicBezTo>
                    <a:pt x="529" y="1299"/>
                    <a:pt x="529" y="1299"/>
                    <a:pt x="529" y="1299"/>
                  </a:cubicBezTo>
                  <a:cubicBezTo>
                    <a:pt x="535" y="1297"/>
                    <a:pt x="535" y="1297"/>
                    <a:pt x="535" y="1297"/>
                  </a:cubicBezTo>
                  <a:cubicBezTo>
                    <a:pt x="562" y="1300"/>
                    <a:pt x="562" y="1300"/>
                    <a:pt x="562" y="1300"/>
                  </a:cubicBezTo>
                  <a:cubicBezTo>
                    <a:pt x="587" y="1305"/>
                    <a:pt x="587" y="1305"/>
                    <a:pt x="587" y="1305"/>
                  </a:cubicBezTo>
                  <a:cubicBezTo>
                    <a:pt x="605" y="1306"/>
                    <a:pt x="605" y="1306"/>
                    <a:pt x="605" y="1306"/>
                  </a:cubicBezTo>
                  <a:cubicBezTo>
                    <a:pt x="605" y="1306"/>
                    <a:pt x="605" y="1306"/>
                    <a:pt x="605" y="1306"/>
                  </a:cubicBezTo>
                  <a:cubicBezTo>
                    <a:pt x="606" y="1305"/>
                    <a:pt x="606" y="1305"/>
                    <a:pt x="606" y="1305"/>
                  </a:cubicBezTo>
                  <a:cubicBezTo>
                    <a:pt x="607" y="1304"/>
                    <a:pt x="607" y="1304"/>
                    <a:pt x="607" y="1304"/>
                  </a:cubicBezTo>
                  <a:cubicBezTo>
                    <a:pt x="612" y="1294"/>
                    <a:pt x="612" y="1294"/>
                    <a:pt x="612" y="1294"/>
                  </a:cubicBezTo>
                  <a:cubicBezTo>
                    <a:pt x="612" y="1292"/>
                    <a:pt x="612" y="1292"/>
                    <a:pt x="612" y="1292"/>
                  </a:cubicBezTo>
                  <a:cubicBezTo>
                    <a:pt x="612" y="1292"/>
                    <a:pt x="612" y="1292"/>
                    <a:pt x="612" y="1292"/>
                  </a:cubicBezTo>
                  <a:cubicBezTo>
                    <a:pt x="609" y="1285"/>
                    <a:pt x="609" y="1285"/>
                    <a:pt x="609" y="1285"/>
                  </a:cubicBezTo>
                  <a:cubicBezTo>
                    <a:pt x="609" y="1285"/>
                    <a:pt x="609" y="1285"/>
                    <a:pt x="609" y="1285"/>
                  </a:cubicBezTo>
                  <a:cubicBezTo>
                    <a:pt x="607" y="1284"/>
                    <a:pt x="607" y="1284"/>
                    <a:pt x="607" y="1284"/>
                  </a:cubicBezTo>
                  <a:cubicBezTo>
                    <a:pt x="598" y="1281"/>
                    <a:pt x="598" y="1281"/>
                    <a:pt x="598" y="1281"/>
                  </a:cubicBezTo>
                  <a:cubicBezTo>
                    <a:pt x="593" y="1281"/>
                    <a:pt x="593" y="1281"/>
                    <a:pt x="593" y="1281"/>
                  </a:cubicBezTo>
                  <a:cubicBezTo>
                    <a:pt x="599" y="1275"/>
                    <a:pt x="599" y="1275"/>
                    <a:pt x="599" y="1275"/>
                  </a:cubicBezTo>
                  <a:cubicBezTo>
                    <a:pt x="623" y="1272"/>
                    <a:pt x="623" y="1272"/>
                    <a:pt x="623" y="1272"/>
                  </a:cubicBezTo>
                  <a:cubicBezTo>
                    <a:pt x="645" y="1265"/>
                    <a:pt x="645" y="1265"/>
                    <a:pt x="645" y="1265"/>
                  </a:cubicBezTo>
                  <a:cubicBezTo>
                    <a:pt x="646" y="1265"/>
                    <a:pt x="646" y="1265"/>
                    <a:pt x="646" y="1265"/>
                  </a:cubicBezTo>
                  <a:cubicBezTo>
                    <a:pt x="650" y="1265"/>
                    <a:pt x="650" y="1265"/>
                    <a:pt x="650" y="1265"/>
                  </a:cubicBezTo>
                  <a:cubicBezTo>
                    <a:pt x="655" y="1266"/>
                    <a:pt x="655" y="1266"/>
                    <a:pt x="655" y="1266"/>
                  </a:cubicBezTo>
                  <a:cubicBezTo>
                    <a:pt x="660" y="1268"/>
                    <a:pt x="660" y="1268"/>
                    <a:pt x="660" y="1268"/>
                  </a:cubicBezTo>
                  <a:cubicBezTo>
                    <a:pt x="661" y="1268"/>
                    <a:pt x="661" y="1268"/>
                    <a:pt x="661" y="1268"/>
                  </a:cubicBezTo>
                  <a:cubicBezTo>
                    <a:pt x="670" y="1268"/>
                    <a:pt x="670" y="1268"/>
                    <a:pt x="670" y="1268"/>
                  </a:cubicBezTo>
                  <a:cubicBezTo>
                    <a:pt x="700" y="1252"/>
                    <a:pt x="700" y="1252"/>
                    <a:pt x="700" y="1252"/>
                  </a:cubicBezTo>
                  <a:cubicBezTo>
                    <a:pt x="702" y="1250"/>
                    <a:pt x="702" y="1250"/>
                    <a:pt x="702" y="1250"/>
                  </a:cubicBezTo>
                  <a:cubicBezTo>
                    <a:pt x="706" y="1245"/>
                    <a:pt x="706" y="1245"/>
                    <a:pt x="706" y="1245"/>
                  </a:cubicBezTo>
                  <a:cubicBezTo>
                    <a:pt x="707" y="1243"/>
                    <a:pt x="707" y="1243"/>
                    <a:pt x="707" y="1243"/>
                  </a:cubicBezTo>
                  <a:cubicBezTo>
                    <a:pt x="706" y="1242"/>
                    <a:pt x="706" y="1242"/>
                    <a:pt x="706" y="1242"/>
                  </a:cubicBezTo>
                  <a:cubicBezTo>
                    <a:pt x="706" y="1242"/>
                    <a:pt x="706" y="1242"/>
                    <a:pt x="706" y="1242"/>
                  </a:cubicBezTo>
                  <a:cubicBezTo>
                    <a:pt x="700" y="1235"/>
                    <a:pt x="700" y="1235"/>
                    <a:pt x="700" y="1235"/>
                  </a:cubicBezTo>
                  <a:cubicBezTo>
                    <a:pt x="690" y="1225"/>
                    <a:pt x="690" y="1225"/>
                    <a:pt x="690" y="1225"/>
                  </a:cubicBezTo>
                  <a:cubicBezTo>
                    <a:pt x="688" y="1225"/>
                    <a:pt x="688" y="1225"/>
                    <a:pt x="688" y="1225"/>
                  </a:cubicBezTo>
                  <a:cubicBezTo>
                    <a:pt x="680" y="1222"/>
                    <a:pt x="680" y="1222"/>
                    <a:pt x="680" y="1222"/>
                  </a:cubicBezTo>
                  <a:cubicBezTo>
                    <a:pt x="679" y="1221"/>
                    <a:pt x="679" y="1221"/>
                    <a:pt x="679" y="1221"/>
                  </a:cubicBezTo>
                  <a:cubicBezTo>
                    <a:pt x="679" y="1220"/>
                    <a:pt x="679" y="1220"/>
                    <a:pt x="679" y="1220"/>
                  </a:cubicBezTo>
                  <a:cubicBezTo>
                    <a:pt x="679" y="1219"/>
                    <a:pt x="679" y="1219"/>
                    <a:pt x="679" y="1219"/>
                  </a:cubicBezTo>
                  <a:cubicBezTo>
                    <a:pt x="682" y="1219"/>
                    <a:pt x="682" y="1219"/>
                    <a:pt x="682" y="1219"/>
                  </a:cubicBezTo>
                  <a:cubicBezTo>
                    <a:pt x="687" y="1221"/>
                    <a:pt x="687" y="1221"/>
                    <a:pt x="687" y="1221"/>
                  </a:cubicBezTo>
                  <a:cubicBezTo>
                    <a:pt x="695" y="1226"/>
                    <a:pt x="695" y="1226"/>
                    <a:pt x="695" y="1226"/>
                  </a:cubicBezTo>
                  <a:cubicBezTo>
                    <a:pt x="698" y="1228"/>
                    <a:pt x="698" y="1228"/>
                    <a:pt x="698" y="1228"/>
                  </a:cubicBezTo>
                  <a:cubicBezTo>
                    <a:pt x="702" y="1232"/>
                    <a:pt x="702" y="1232"/>
                    <a:pt x="702" y="1232"/>
                  </a:cubicBezTo>
                  <a:cubicBezTo>
                    <a:pt x="713" y="1239"/>
                    <a:pt x="713" y="1239"/>
                    <a:pt x="713" y="1239"/>
                  </a:cubicBezTo>
                  <a:cubicBezTo>
                    <a:pt x="727" y="1249"/>
                    <a:pt x="727" y="1249"/>
                    <a:pt x="727" y="1249"/>
                  </a:cubicBezTo>
                  <a:cubicBezTo>
                    <a:pt x="730" y="1251"/>
                    <a:pt x="730" y="1251"/>
                    <a:pt x="730" y="1251"/>
                  </a:cubicBezTo>
                  <a:cubicBezTo>
                    <a:pt x="731" y="1251"/>
                    <a:pt x="731" y="1251"/>
                    <a:pt x="731" y="1251"/>
                  </a:cubicBezTo>
                  <a:cubicBezTo>
                    <a:pt x="733" y="1251"/>
                    <a:pt x="733" y="1251"/>
                    <a:pt x="733" y="1251"/>
                  </a:cubicBezTo>
                  <a:cubicBezTo>
                    <a:pt x="734" y="1251"/>
                    <a:pt x="734" y="1251"/>
                    <a:pt x="734" y="1251"/>
                  </a:cubicBezTo>
                  <a:cubicBezTo>
                    <a:pt x="735" y="1250"/>
                    <a:pt x="735" y="1250"/>
                    <a:pt x="735" y="1250"/>
                  </a:cubicBezTo>
                  <a:cubicBezTo>
                    <a:pt x="736" y="1250"/>
                    <a:pt x="736" y="1250"/>
                    <a:pt x="736" y="1250"/>
                  </a:cubicBezTo>
                  <a:cubicBezTo>
                    <a:pt x="737" y="1245"/>
                    <a:pt x="737" y="1245"/>
                    <a:pt x="737" y="1245"/>
                  </a:cubicBezTo>
                  <a:cubicBezTo>
                    <a:pt x="737" y="1242"/>
                    <a:pt x="737" y="1242"/>
                    <a:pt x="737" y="1242"/>
                  </a:cubicBezTo>
                  <a:cubicBezTo>
                    <a:pt x="736" y="1242"/>
                    <a:pt x="736" y="1242"/>
                    <a:pt x="736" y="1242"/>
                  </a:cubicBezTo>
                  <a:cubicBezTo>
                    <a:pt x="733" y="1239"/>
                    <a:pt x="733" y="1239"/>
                    <a:pt x="733" y="1239"/>
                  </a:cubicBezTo>
                  <a:cubicBezTo>
                    <a:pt x="729" y="1237"/>
                    <a:pt x="729" y="1237"/>
                    <a:pt x="729" y="1237"/>
                  </a:cubicBezTo>
                  <a:cubicBezTo>
                    <a:pt x="729" y="1236"/>
                    <a:pt x="729" y="1236"/>
                    <a:pt x="729" y="1236"/>
                  </a:cubicBezTo>
                  <a:cubicBezTo>
                    <a:pt x="729" y="1235"/>
                    <a:pt x="729" y="1235"/>
                    <a:pt x="729" y="1235"/>
                  </a:cubicBezTo>
                  <a:cubicBezTo>
                    <a:pt x="730" y="1235"/>
                    <a:pt x="730" y="1235"/>
                    <a:pt x="730" y="1235"/>
                  </a:cubicBezTo>
                  <a:cubicBezTo>
                    <a:pt x="731" y="1234"/>
                    <a:pt x="731" y="1234"/>
                    <a:pt x="731" y="1234"/>
                  </a:cubicBezTo>
                  <a:cubicBezTo>
                    <a:pt x="741" y="1233"/>
                    <a:pt x="741" y="1233"/>
                    <a:pt x="741" y="1233"/>
                  </a:cubicBezTo>
                  <a:cubicBezTo>
                    <a:pt x="742" y="1234"/>
                    <a:pt x="742" y="1234"/>
                    <a:pt x="742" y="1234"/>
                  </a:cubicBezTo>
                  <a:cubicBezTo>
                    <a:pt x="744" y="1235"/>
                    <a:pt x="744" y="1235"/>
                    <a:pt x="744" y="1235"/>
                  </a:cubicBezTo>
                  <a:cubicBezTo>
                    <a:pt x="745" y="1236"/>
                    <a:pt x="745" y="1236"/>
                    <a:pt x="745" y="1236"/>
                  </a:cubicBezTo>
                  <a:cubicBezTo>
                    <a:pt x="744" y="1237"/>
                    <a:pt x="744" y="1237"/>
                    <a:pt x="744" y="1237"/>
                  </a:cubicBezTo>
                  <a:cubicBezTo>
                    <a:pt x="744" y="1238"/>
                    <a:pt x="744" y="1238"/>
                    <a:pt x="744" y="1238"/>
                  </a:cubicBezTo>
                  <a:cubicBezTo>
                    <a:pt x="742" y="1238"/>
                    <a:pt x="742" y="1238"/>
                    <a:pt x="742" y="1238"/>
                  </a:cubicBezTo>
                  <a:cubicBezTo>
                    <a:pt x="739" y="1245"/>
                    <a:pt x="739" y="1245"/>
                    <a:pt x="739" y="1245"/>
                  </a:cubicBezTo>
                  <a:cubicBezTo>
                    <a:pt x="739" y="1246"/>
                    <a:pt x="739" y="1246"/>
                    <a:pt x="739" y="1246"/>
                  </a:cubicBezTo>
                  <a:cubicBezTo>
                    <a:pt x="739" y="1248"/>
                    <a:pt x="739" y="1248"/>
                    <a:pt x="739" y="1248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41" y="1250"/>
                    <a:pt x="741" y="1250"/>
                    <a:pt x="741" y="1250"/>
                  </a:cubicBezTo>
                  <a:cubicBezTo>
                    <a:pt x="743" y="1251"/>
                    <a:pt x="743" y="1251"/>
                    <a:pt x="743" y="1251"/>
                  </a:cubicBezTo>
                  <a:cubicBezTo>
                    <a:pt x="745" y="1250"/>
                    <a:pt x="745" y="1250"/>
                    <a:pt x="745" y="1250"/>
                  </a:cubicBezTo>
                  <a:cubicBezTo>
                    <a:pt x="749" y="1247"/>
                    <a:pt x="749" y="1247"/>
                    <a:pt x="749" y="1247"/>
                  </a:cubicBezTo>
                  <a:cubicBezTo>
                    <a:pt x="750" y="1247"/>
                    <a:pt x="750" y="1247"/>
                    <a:pt x="750" y="1247"/>
                  </a:cubicBezTo>
                  <a:cubicBezTo>
                    <a:pt x="750" y="1246"/>
                    <a:pt x="750" y="1246"/>
                    <a:pt x="750" y="1246"/>
                  </a:cubicBezTo>
                  <a:cubicBezTo>
                    <a:pt x="750" y="1243"/>
                    <a:pt x="750" y="1243"/>
                    <a:pt x="750" y="1243"/>
                  </a:cubicBezTo>
                  <a:cubicBezTo>
                    <a:pt x="750" y="1239"/>
                    <a:pt x="750" y="1239"/>
                    <a:pt x="750" y="1239"/>
                  </a:cubicBezTo>
                  <a:cubicBezTo>
                    <a:pt x="750" y="1237"/>
                    <a:pt x="750" y="1237"/>
                    <a:pt x="750" y="1237"/>
                  </a:cubicBezTo>
                  <a:cubicBezTo>
                    <a:pt x="751" y="1236"/>
                    <a:pt x="751" y="1236"/>
                    <a:pt x="751" y="1236"/>
                  </a:cubicBezTo>
                  <a:cubicBezTo>
                    <a:pt x="751" y="1234"/>
                    <a:pt x="751" y="1234"/>
                    <a:pt x="751" y="1234"/>
                  </a:cubicBezTo>
                  <a:cubicBezTo>
                    <a:pt x="753" y="1234"/>
                    <a:pt x="753" y="1234"/>
                    <a:pt x="753" y="1234"/>
                  </a:cubicBezTo>
                  <a:cubicBezTo>
                    <a:pt x="756" y="1234"/>
                    <a:pt x="756" y="1234"/>
                    <a:pt x="756" y="1234"/>
                  </a:cubicBezTo>
                  <a:cubicBezTo>
                    <a:pt x="758" y="1234"/>
                    <a:pt x="758" y="1234"/>
                    <a:pt x="758" y="1234"/>
                  </a:cubicBezTo>
                  <a:cubicBezTo>
                    <a:pt x="758" y="1235"/>
                    <a:pt x="758" y="1235"/>
                    <a:pt x="758" y="1235"/>
                  </a:cubicBezTo>
                  <a:cubicBezTo>
                    <a:pt x="758" y="1237"/>
                    <a:pt x="758" y="1237"/>
                    <a:pt x="758" y="1237"/>
                  </a:cubicBezTo>
                  <a:cubicBezTo>
                    <a:pt x="758" y="1243"/>
                    <a:pt x="758" y="1243"/>
                    <a:pt x="758" y="1243"/>
                  </a:cubicBezTo>
                  <a:cubicBezTo>
                    <a:pt x="758" y="1244"/>
                    <a:pt x="758" y="1244"/>
                    <a:pt x="758" y="1244"/>
                  </a:cubicBezTo>
                  <a:cubicBezTo>
                    <a:pt x="757" y="1245"/>
                    <a:pt x="757" y="1245"/>
                    <a:pt x="757" y="1245"/>
                  </a:cubicBezTo>
                  <a:cubicBezTo>
                    <a:pt x="756" y="1245"/>
                    <a:pt x="756" y="1245"/>
                    <a:pt x="756" y="1245"/>
                  </a:cubicBezTo>
                  <a:cubicBezTo>
                    <a:pt x="754" y="1247"/>
                    <a:pt x="754" y="1247"/>
                    <a:pt x="754" y="1247"/>
                  </a:cubicBezTo>
                  <a:cubicBezTo>
                    <a:pt x="753" y="1250"/>
                    <a:pt x="753" y="1250"/>
                    <a:pt x="753" y="1250"/>
                  </a:cubicBezTo>
                  <a:cubicBezTo>
                    <a:pt x="753" y="1250"/>
                    <a:pt x="753" y="1250"/>
                    <a:pt x="753" y="1250"/>
                  </a:cubicBezTo>
                  <a:cubicBezTo>
                    <a:pt x="753" y="1251"/>
                    <a:pt x="753" y="1251"/>
                    <a:pt x="753" y="1251"/>
                  </a:cubicBezTo>
                  <a:cubicBezTo>
                    <a:pt x="754" y="1252"/>
                    <a:pt x="754" y="1252"/>
                    <a:pt x="754" y="1252"/>
                  </a:cubicBezTo>
                  <a:cubicBezTo>
                    <a:pt x="764" y="1250"/>
                    <a:pt x="764" y="1250"/>
                    <a:pt x="764" y="1250"/>
                  </a:cubicBezTo>
                  <a:cubicBezTo>
                    <a:pt x="764" y="1250"/>
                    <a:pt x="764" y="1250"/>
                    <a:pt x="764" y="1250"/>
                  </a:cubicBezTo>
                  <a:cubicBezTo>
                    <a:pt x="764" y="1239"/>
                    <a:pt x="764" y="1239"/>
                    <a:pt x="764" y="1239"/>
                  </a:cubicBezTo>
                  <a:cubicBezTo>
                    <a:pt x="764" y="1238"/>
                    <a:pt x="764" y="1238"/>
                    <a:pt x="764" y="1238"/>
                  </a:cubicBezTo>
                  <a:cubicBezTo>
                    <a:pt x="763" y="1237"/>
                    <a:pt x="763" y="1237"/>
                    <a:pt x="763" y="1237"/>
                  </a:cubicBezTo>
                  <a:cubicBezTo>
                    <a:pt x="762" y="1236"/>
                    <a:pt x="762" y="1236"/>
                    <a:pt x="762" y="1236"/>
                  </a:cubicBezTo>
                  <a:cubicBezTo>
                    <a:pt x="761" y="1236"/>
                    <a:pt x="761" y="1236"/>
                    <a:pt x="761" y="1236"/>
                  </a:cubicBezTo>
                  <a:cubicBezTo>
                    <a:pt x="761" y="1235"/>
                    <a:pt x="761" y="1235"/>
                    <a:pt x="761" y="1235"/>
                  </a:cubicBezTo>
                  <a:cubicBezTo>
                    <a:pt x="763" y="1234"/>
                    <a:pt x="763" y="1234"/>
                    <a:pt x="763" y="1234"/>
                  </a:cubicBezTo>
                  <a:cubicBezTo>
                    <a:pt x="763" y="1233"/>
                    <a:pt x="763" y="1233"/>
                    <a:pt x="763" y="1233"/>
                  </a:cubicBezTo>
                  <a:cubicBezTo>
                    <a:pt x="767" y="1233"/>
                    <a:pt x="767" y="1233"/>
                    <a:pt x="767" y="1233"/>
                  </a:cubicBezTo>
                  <a:cubicBezTo>
                    <a:pt x="772" y="1236"/>
                    <a:pt x="772" y="1236"/>
                    <a:pt x="772" y="1236"/>
                  </a:cubicBezTo>
                  <a:cubicBezTo>
                    <a:pt x="773" y="1237"/>
                    <a:pt x="773" y="1237"/>
                    <a:pt x="773" y="1237"/>
                  </a:cubicBezTo>
                  <a:cubicBezTo>
                    <a:pt x="777" y="1241"/>
                    <a:pt x="777" y="1241"/>
                    <a:pt x="777" y="1241"/>
                  </a:cubicBezTo>
                  <a:cubicBezTo>
                    <a:pt x="777" y="1242"/>
                    <a:pt x="777" y="1242"/>
                    <a:pt x="777" y="1242"/>
                  </a:cubicBezTo>
                  <a:cubicBezTo>
                    <a:pt x="777" y="1243"/>
                    <a:pt x="777" y="1243"/>
                    <a:pt x="777" y="1243"/>
                  </a:cubicBezTo>
                  <a:cubicBezTo>
                    <a:pt x="776" y="1243"/>
                    <a:pt x="776" y="1243"/>
                    <a:pt x="776" y="1243"/>
                  </a:cubicBezTo>
                  <a:cubicBezTo>
                    <a:pt x="774" y="1244"/>
                    <a:pt x="774" y="1244"/>
                    <a:pt x="774" y="1244"/>
                  </a:cubicBezTo>
                  <a:cubicBezTo>
                    <a:pt x="773" y="1245"/>
                    <a:pt x="773" y="1245"/>
                    <a:pt x="773" y="1245"/>
                  </a:cubicBezTo>
                  <a:cubicBezTo>
                    <a:pt x="770" y="1248"/>
                    <a:pt x="770" y="1248"/>
                    <a:pt x="770" y="1248"/>
                  </a:cubicBezTo>
                  <a:cubicBezTo>
                    <a:pt x="769" y="1249"/>
                    <a:pt x="769" y="1249"/>
                    <a:pt x="769" y="1249"/>
                  </a:cubicBezTo>
                  <a:cubicBezTo>
                    <a:pt x="769" y="1250"/>
                    <a:pt x="769" y="1250"/>
                    <a:pt x="769" y="1250"/>
                  </a:cubicBezTo>
                  <a:cubicBezTo>
                    <a:pt x="770" y="1250"/>
                    <a:pt x="770" y="1250"/>
                    <a:pt x="770" y="1250"/>
                  </a:cubicBezTo>
                  <a:cubicBezTo>
                    <a:pt x="770" y="1251"/>
                    <a:pt x="770" y="1251"/>
                    <a:pt x="770" y="1251"/>
                  </a:cubicBezTo>
                  <a:cubicBezTo>
                    <a:pt x="772" y="1252"/>
                    <a:pt x="772" y="1252"/>
                    <a:pt x="772" y="1252"/>
                  </a:cubicBezTo>
                  <a:cubicBezTo>
                    <a:pt x="774" y="1252"/>
                    <a:pt x="774" y="1252"/>
                    <a:pt x="774" y="1252"/>
                  </a:cubicBezTo>
                  <a:cubicBezTo>
                    <a:pt x="781" y="1255"/>
                    <a:pt x="781" y="1255"/>
                    <a:pt x="781" y="1255"/>
                  </a:cubicBezTo>
                  <a:cubicBezTo>
                    <a:pt x="785" y="1258"/>
                    <a:pt x="785" y="1258"/>
                    <a:pt x="785" y="1258"/>
                  </a:cubicBezTo>
                  <a:cubicBezTo>
                    <a:pt x="789" y="1261"/>
                    <a:pt x="789" y="1261"/>
                    <a:pt x="789" y="1261"/>
                  </a:cubicBezTo>
                  <a:cubicBezTo>
                    <a:pt x="792" y="1262"/>
                    <a:pt x="792" y="1262"/>
                    <a:pt x="792" y="1262"/>
                  </a:cubicBezTo>
                  <a:cubicBezTo>
                    <a:pt x="794" y="1262"/>
                    <a:pt x="794" y="1262"/>
                    <a:pt x="794" y="1262"/>
                  </a:cubicBezTo>
                  <a:cubicBezTo>
                    <a:pt x="796" y="1260"/>
                    <a:pt x="796" y="1260"/>
                    <a:pt x="796" y="1260"/>
                  </a:cubicBezTo>
                  <a:cubicBezTo>
                    <a:pt x="796" y="1258"/>
                    <a:pt x="796" y="1258"/>
                    <a:pt x="796" y="1258"/>
                  </a:cubicBezTo>
                  <a:cubicBezTo>
                    <a:pt x="797" y="1256"/>
                    <a:pt x="797" y="1256"/>
                    <a:pt x="797" y="1256"/>
                  </a:cubicBezTo>
                  <a:cubicBezTo>
                    <a:pt x="797" y="1255"/>
                    <a:pt x="797" y="1255"/>
                    <a:pt x="797" y="1255"/>
                  </a:cubicBezTo>
                  <a:cubicBezTo>
                    <a:pt x="801" y="1250"/>
                    <a:pt x="801" y="1250"/>
                    <a:pt x="801" y="1250"/>
                  </a:cubicBezTo>
                  <a:cubicBezTo>
                    <a:pt x="803" y="1250"/>
                    <a:pt x="803" y="1250"/>
                    <a:pt x="803" y="1250"/>
                  </a:cubicBezTo>
                  <a:cubicBezTo>
                    <a:pt x="816" y="1246"/>
                    <a:pt x="816" y="1246"/>
                    <a:pt x="816" y="1246"/>
                  </a:cubicBezTo>
                  <a:cubicBezTo>
                    <a:pt x="837" y="1241"/>
                    <a:pt x="837" y="1241"/>
                    <a:pt x="837" y="1241"/>
                  </a:cubicBezTo>
                  <a:cubicBezTo>
                    <a:pt x="842" y="1241"/>
                    <a:pt x="842" y="1241"/>
                    <a:pt x="842" y="1241"/>
                  </a:cubicBezTo>
                  <a:cubicBezTo>
                    <a:pt x="848" y="1240"/>
                    <a:pt x="848" y="1240"/>
                    <a:pt x="848" y="1240"/>
                  </a:cubicBezTo>
                  <a:cubicBezTo>
                    <a:pt x="857" y="1237"/>
                    <a:pt x="857" y="1237"/>
                    <a:pt x="857" y="1237"/>
                  </a:cubicBezTo>
                  <a:cubicBezTo>
                    <a:pt x="864" y="1234"/>
                    <a:pt x="864" y="1234"/>
                    <a:pt x="864" y="1234"/>
                  </a:cubicBezTo>
                  <a:cubicBezTo>
                    <a:pt x="866" y="1233"/>
                    <a:pt x="866" y="1233"/>
                    <a:pt x="866" y="1233"/>
                  </a:cubicBezTo>
                  <a:cubicBezTo>
                    <a:pt x="870" y="1232"/>
                    <a:pt x="870" y="1232"/>
                    <a:pt x="870" y="1232"/>
                  </a:cubicBezTo>
                  <a:cubicBezTo>
                    <a:pt x="874" y="1231"/>
                    <a:pt x="874" y="1231"/>
                    <a:pt x="874" y="1231"/>
                  </a:cubicBezTo>
                  <a:cubicBezTo>
                    <a:pt x="883" y="1230"/>
                    <a:pt x="883" y="1230"/>
                    <a:pt x="883" y="1230"/>
                  </a:cubicBezTo>
                  <a:cubicBezTo>
                    <a:pt x="886" y="1230"/>
                    <a:pt x="886" y="1230"/>
                    <a:pt x="886" y="1230"/>
                  </a:cubicBezTo>
                  <a:cubicBezTo>
                    <a:pt x="890" y="1231"/>
                    <a:pt x="890" y="1231"/>
                    <a:pt x="890" y="1231"/>
                  </a:cubicBezTo>
                  <a:cubicBezTo>
                    <a:pt x="900" y="1233"/>
                    <a:pt x="900" y="1233"/>
                    <a:pt x="900" y="1233"/>
                  </a:cubicBezTo>
                  <a:cubicBezTo>
                    <a:pt x="909" y="1236"/>
                    <a:pt x="909" y="1236"/>
                    <a:pt x="909" y="1236"/>
                  </a:cubicBezTo>
                  <a:cubicBezTo>
                    <a:pt x="920" y="1239"/>
                    <a:pt x="920" y="1239"/>
                    <a:pt x="920" y="1239"/>
                  </a:cubicBezTo>
                  <a:cubicBezTo>
                    <a:pt x="935" y="1243"/>
                    <a:pt x="935" y="1243"/>
                    <a:pt x="935" y="1243"/>
                  </a:cubicBezTo>
                  <a:cubicBezTo>
                    <a:pt x="936" y="1243"/>
                    <a:pt x="936" y="1243"/>
                    <a:pt x="936" y="1243"/>
                  </a:cubicBezTo>
                  <a:cubicBezTo>
                    <a:pt x="951" y="1247"/>
                    <a:pt x="951" y="1247"/>
                    <a:pt x="951" y="1247"/>
                  </a:cubicBezTo>
                  <a:cubicBezTo>
                    <a:pt x="955" y="1247"/>
                    <a:pt x="955" y="1247"/>
                    <a:pt x="955" y="1247"/>
                  </a:cubicBezTo>
                  <a:cubicBezTo>
                    <a:pt x="957" y="1247"/>
                    <a:pt x="957" y="1247"/>
                    <a:pt x="957" y="1247"/>
                  </a:cubicBezTo>
                  <a:cubicBezTo>
                    <a:pt x="959" y="1246"/>
                    <a:pt x="959" y="1246"/>
                    <a:pt x="959" y="1246"/>
                  </a:cubicBezTo>
                  <a:cubicBezTo>
                    <a:pt x="961" y="1244"/>
                    <a:pt x="961" y="1244"/>
                    <a:pt x="961" y="1244"/>
                  </a:cubicBezTo>
                  <a:cubicBezTo>
                    <a:pt x="962" y="1240"/>
                    <a:pt x="962" y="1240"/>
                    <a:pt x="962" y="1240"/>
                  </a:cubicBezTo>
                  <a:cubicBezTo>
                    <a:pt x="963" y="1238"/>
                    <a:pt x="963" y="1238"/>
                    <a:pt x="963" y="1238"/>
                  </a:cubicBezTo>
                  <a:cubicBezTo>
                    <a:pt x="965" y="1236"/>
                    <a:pt x="965" y="1236"/>
                    <a:pt x="965" y="1236"/>
                  </a:cubicBezTo>
                  <a:cubicBezTo>
                    <a:pt x="971" y="1229"/>
                    <a:pt x="971" y="1229"/>
                    <a:pt x="971" y="1229"/>
                  </a:cubicBezTo>
                  <a:cubicBezTo>
                    <a:pt x="973" y="1228"/>
                    <a:pt x="973" y="1228"/>
                    <a:pt x="973" y="1228"/>
                  </a:cubicBezTo>
                  <a:cubicBezTo>
                    <a:pt x="979" y="1224"/>
                    <a:pt x="979" y="1224"/>
                    <a:pt x="979" y="1224"/>
                  </a:cubicBezTo>
                  <a:cubicBezTo>
                    <a:pt x="984" y="1222"/>
                    <a:pt x="984" y="1222"/>
                    <a:pt x="984" y="1222"/>
                  </a:cubicBezTo>
                  <a:cubicBezTo>
                    <a:pt x="987" y="1221"/>
                    <a:pt x="987" y="1221"/>
                    <a:pt x="987" y="1221"/>
                  </a:cubicBezTo>
                  <a:cubicBezTo>
                    <a:pt x="994" y="1219"/>
                    <a:pt x="994" y="1219"/>
                    <a:pt x="994" y="1219"/>
                  </a:cubicBezTo>
                  <a:cubicBezTo>
                    <a:pt x="1002" y="1217"/>
                    <a:pt x="1002" y="1217"/>
                    <a:pt x="1002" y="1217"/>
                  </a:cubicBezTo>
                  <a:cubicBezTo>
                    <a:pt x="1020" y="1209"/>
                    <a:pt x="1020" y="1209"/>
                    <a:pt x="1020" y="1209"/>
                  </a:cubicBezTo>
                  <a:cubicBezTo>
                    <a:pt x="1022" y="1207"/>
                    <a:pt x="1022" y="1207"/>
                    <a:pt x="1022" y="1207"/>
                  </a:cubicBezTo>
                  <a:cubicBezTo>
                    <a:pt x="1025" y="1204"/>
                    <a:pt x="1025" y="1204"/>
                    <a:pt x="1025" y="1204"/>
                  </a:cubicBezTo>
                  <a:cubicBezTo>
                    <a:pt x="1026" y="1202"/>
                    <a:pt x="1026" y="1202"/>
                    <a:pt x="1026" y="1202"/>
                  </a:cubicBezTo>
                  <a:cubicBezTo>
                    <a:pt x="1028" y="1200"/>
                    <a:pt x="1028" y="1200"/>
                    <a:pt x="1028" y="1200"/>
                  </a:cubicBezTo>
                  <a:cubicBezTo>
                    <a:pt x="1037" y="1192"/>
                    <a:pt x="1037" y="1192"/>
                    <a:pt x="1037" y="1192"/>
                  </a:cubicBezTo>
                  <a:cubicBezTo>
                    <a:pt x="1040" y="1191"/>
                    <a:pt x="1040" y="1191"/>
                    <a:pt x="1040" y="1191"/>
                  </a:cubicBezTo>
                  <a:cubicBezTo>
                    <a:pt x="1042" y="1191"/>
                    <a:pt x="1042" y="1191"/>
                    <a:pt x="1042" y="1191"/>
                  </a:cubicBezTo>
                  <a:cubicBezTo>
                    <a:pt x="1050" y="1193"/>
                    <a:pt x="1050" y="1193"/>
                    <a:pt x="1050" y="1193"/>
                  </a:cubicBezTo>
                  <a:cubicBezTo>
                    <a:pt x="1068" y="1190"/>
                    <a:pt x="1068" y="1190"/>
                    <a:pt x="1068" y="1190"/>
                  </a:cubicBezTo>
                  <a:cubicBezTo>
                    <a:pt x="1067" y="1186"/>
                    <a:pt x="1067" y="1186"/>
                    <a:pt x="1067" y="1186"/>
                  </a:cubicBezTo>
                  <a:cubicBezTo>
                    <a:pt x="1066" y="1181"/>
                    <a:pt x="1066" y="1181"/>
                    <a:pt x="1066" y="1181"/>
                  </a:cubicBezTo>
                  <a:cubicBezTo>
                    <a:pt x="1066" y="1178"/>
                    <a:pt x="1066" y="1178"/>
                    <a:pt x="1066" y="1178"/>
                  </a:cubicBezTo>
                  <a:cubicBezTo>
                    <a:pt x="1068" y="1173"/>
                    <a:pt x="1068" y="1173"/>
                    <a:pt x="1068" y="1173"/>
                  </a:cubicBezTo>
                  <a:cubicBezTo>
                    <a:pt x="1069" y="1170"/>
                    <a:pt x="1069" y="1170"/>
                    <a:pt x="1069" y="1170"/>
                  </a:cubicBezTo>
                  <a:cubicBezTo>
                    <a:pt x="1070" y="1167"/>
                    <a:pt x="1070" y="1167"/>
                    <a:pt x="1070" y="1167"/>
                  </a:cubicBezTo>
                  <a:cubicBezTo>
                    <a:pt x="1075" y="1161"/>
                    <a:pt x="1075" y="1161"/>
                    <a:pt x="1075" y="1161"/>
                  </a:cubicBezTo>
                  <a:cubicBezTo>
                    <a:pt x="1080" y="1157"/>
                    <a:pt x="1080" y="1157"/>
                    <a:pt x="1080" y="1157"/>
                  </a:cubicBezTo>
                  <a:cubicBezTo>
                    <a:pt x="1084" y="1153"/>
                    <a:pt x="1084" y="1153"/>
                    <a:pt x="1084" y="1153"/>
                  </a:cubicBezTo>
                  <a:cubicBezTo>
                    <a:pt x="1085" y="1153"/>
                    <a:pt x="1085" y="1153"/>
                    <a:pt x="1085" y="1153"/>
                  </a:cubicBezTo>
                  <a:cubicBezTo>
                    <a:pt x="1088" y="1152"/>
                    <a:pt x="1088" y="1152"/>
                    <a:pt x="1088" y="1152"/>
                  </a:cubicBezTo>
                  <a:cubicBezTo>
                    <a:pt x="1092" y="1152"/>
                    <a:pt x="1092" y="1152"/>
                    <a:pt x="1092" y="1152"/>
                  </a:cubicBezTo>
                  <a:cubicBezTo>
                    <a:pt x="1096" y="1151"/>
                    <a:pt x="1096" y="1151"/>
                    <a:pt x="1096" y="1151"/>
                  </a:cubicBezTo>
                  <a:cubicBezTo>
                    <a:pt x="1098" y="1151"/>
                    <a:pt x="1098" y="1151"/>
                    <a:pt x="1098" y="1151"/>
                  </a:cubicBezTo>
                  <a:cubicBezTo>
                    <a:pt x="1099" y="1150"/>
                    <a:pt x="1099" y="1150"/>
                    <a:pt x="1099" y="1150"/>
                  </a:cubicBezTo>
                  <a:cubicBezTo>
                    <a:pt x="1123" y="1137"/>
                    <a:pt x="1123" y="1137"/>
                    <a:pt x="1123" y="1137"/>
                  </a:cubicBezTo>
                  <a:cubicBezTo>
                    <a:pt x="1124" y="1135"/>
                    <a:pt x="1124" y="1135"/>
                    <a:pt x="1124" y="1135"/>
                  </a:cubicBezTo>
                  <a:cubicBezTo>
                    <a:pt x="1126" y="1133"/>
                    <a:pt x="1126" y="1133"/>
                    <a:pt x="1126" y="1133"/>
                  </a:cubicBezTo>
                  <a:cubicBezTo>
                    <a:pt x="1129" y="1128"/>
                    <a:pt x="1129" y="1128"/>
                    <a:pt x="1129" y="1128"/>
                  </a:cubicBezTo>
                  <a:cubicBezTo>
                    <a:pt x="1131" y="1126"/>
                    <a:pt x="1131" y="1126"/>
                    <a:pt x="1131" y="1126"/>
                  </a:cubicBezTo>
                  <a:cubicBezTo>
                    <a:pt x="1131" y="1122"/>
                    <a:pt x="1131" y="1122"/>
                    <a:pt x="1131" y="1122"/>
                  </a:cubicBezTo>
                  <a:cubicBezTo>
                    <a:pt x="1132" y="1117"/>
                    <a:pt x="1132" y="1117"/>
                    <a:pt x="1132" y="1117"/>
                  </a:cubicBezTo>
                  <a:cubicBezTo>
                    <a:pt x="1131" y="1112"/>
                    <a:pt x="1131" y="1112"/>
                    <a:pt x="1131" y="1112"/>
                  </a:cubicBezTo>
                  <a:cubicBezTo>
                    <a:pt x="1132" y="1083"/>
                    <a:pt x="1132" y="1083"/>
                    <a:pt x="1132" y="1083"/>
                  </a:cubicBezTo>
                  <a:cubicBezTo>
                    <a:pt x="1133" y="1081"/>
                    <a:pt x="1133" y="1081"/>
                    <a:pt x="1133" y="1081"/>
                  </a:cubicBezTo>
                  <a:cubicBezTo>
                    <a:pt x="1133" y="1080"/>
                    <a:pt x="1133" y="1080"/>
                    <a:pt x="1133" y="1080"/>
                  </a:cubicBezTo>
                  <a:cubicBezTo>
                    <a:pt x="1134" y="1074"/>
                    <a:pt x="1134" y="1074"/>
                    <a:pt x="1134" y="1074"/>
                  </a:cubicBezTo>
                  <a:cubicBezTo>
                    <a:pt x="1135" y="1073"/>
                    <a:pt x="1135" y="1073"/>
                    <a:pt x="1135" y="1073"/>
                  </a:cubicBezTo>
                  <a:cubicBezTo>
                    <a:pt x="1135" y="1071"/>
                    <a:pt x="1135" y="1071"/>
                    <a:pt x="1135" y="1071"/>
                  </a:cubicBezTo>
                  <a:cubicBezTo>
                    <a:pt x="1134" y="1069"/>
                    <a:pt x="1134" y="1069"/>
                    <a:pt x="1134" y="1069"/>
                  </a:cubicBezTo>
                  <a:cubicBezTo>
                    <a:pt x="1134" y="1067"/>
                    <a:pt x="1134" y="1067"/>
                    <a:pt x="1134" y="1067"/>
                  </a:cubicBezTo>
                  <a:cubicBezTo>
                    <a:pt x="1133" y="1067"/>
                    <a:pt x="1133" y="1067"/>
                    <a:pt x="1133" y="1067"/>
                  </a:cubicBezTo>
                  <a:cubicBezTo>
                    <a:pt x="1132" y="1067"/>
                    <a:pt x="1132" y="1067"/>
                    <a:pt x="1132" y="1067"/>
                  </a:cubicBezTo>
                  <a:cubicBezTo>
                    <a:pt x="1126" y="1067"/>
                    <a:pt x="1126" y="1067"/>
                    <a:pt x="1126" y="1067"/>
                  </a:cubicBezTo>
                  <a:cubicBezTo>
                    <a:pt x="1118" y="1069"/>
                    <a:pt x="1118" y="1069"/>
                    <a:pt x="1118" y="1069"/>
                  </a:cubicBezTo>
                  <a:cubicBezTo>
                    <a:pt x="1091" y="1075"/>
                    <a:pt x="1091" y="1075"/>
                    <a:pt x="1091" y="1075"/>
                  </a:cubicBezTo>
                  <a:cubicBezTo>
                    <a:pt x="1072" y="1079"/>
                    <a:pt x="1072" y="1079"/>
                    <a:pt x="1072" y="1079"/>
                  </a:cubicBezTo>
                  <a:cubicBezTo>
                    <a:pt x="1070" y="1080"/>
                    <a:pt x="1070" y="1080"/>
                    <a:pt x="1070" y="1080"/>
                  </a:cubicBezTo>
                  <a:cubicBezTo>
                    <a:pt x="1066" y="1083"/>
                    <a:pt x="1066" y="1083"/>
                    <a:pt x="1066" y="1083"/>
                  </a:cubicBezTo>
                  <a:cubicBezTo>
                    <a:pt x="1065" y="1084"/>
                    <a:pt x="1065" y="1084"/>
                    <a:pt x="1065" y="1084"/>
                  </a:cubicBezTo>
                  <a:cubicBezTo>
                    <a:pt x="1063" y="1085"/>
                    <a:pt x="1063" y="1085"/>
                    <a:pt x="1063" y="1085"/>
                  </a:cubicBezTo>
                  <a:cubicBezTo>
                    <a:pt x="1052" y="1087"/>
                    <a:pt x="1052" y="1087"/>
                    <a:pt x="1052" y="1087"/>
                  </a:cubicBezTo>
                  <a:cubicBezTo>
                    <a:pt x="1045" y="1086"/>
                    <a:pt x="1045" y="1086"/>
                    <a:pt x="1045" y="1086"/>
                  </a:cubicBezTo>
                  <a:cubicBezTo>
                    <a:pt x="1034" y="1085"/>
                    <a:pt x="1034" y="1085"/>
                    <a:pt x="1034" y="1085"/>
                  </a:cubicBezTo>
                  <a:cubicBezTo>
                    <a:pt x="1032" y="1084"/>
                    <a:pt x="1032" y="1084"/>
                    <a:pt x="1032" y="1084"/>
                  </a:cubicBezTo>
                  <a:cubicBezTo>
                    <a:pt x="1030" y="1082"/>
                    <a:pt x="1030" y="1082"/>
                    <a:pt x="1030" y="1082"/>
                  </a:cubicBezTo>
                  <a:cubicBezTo>
                    <a:pt x="1031" y="1082"/>
                    <a:pt x="1031" y="1082"/>
                    <a:pt x="1031" y="1082"/>
                  </a:cubicBezTo>
                  <a:cubicBezTo>
                    <a:pt x="1038" y="1082"/>
                    <a:pt x="1038" y="1082"/>
                    <a:pt x="1038" y="1082"/>
                  </a:cubicBezTo>
                  <a:cubicBezTo>
                    <a:pt x="1041" y="1083"/>
                    <a:pt x="1041" y="1083"/>
                    <a:pt x="1041" y="1083"/>
                  </a:cubicBezTo>
                  <a:cubicBezTo>
                    <a:pt x="1045" y="1084"/>
                    <a:pt x="1045" y="1084"/>
                    <a:pt x="1045" y="1084"/>
                  </a:cubicBezTo>
                  <a:cubicBezTo>
                    <a:pt x="1047" y="1084"/>
                    <a:pt x="1047" y="1084"/>
                    <a:pt x="1047" y="1084"/>
                  </a:cubicBezTo>
                  <a:cubicBezTo>
                    <a:pt x="1054" y="1080"/>
                    <a:pt x="1054" y="1080"/>
                    <a:pt x="1054" y="1080"/>
                  </a:cubicBezTo>
                  <a:cubicBezTo>
                    <a:pt x="1055" y="1079"/>
                    <a:pt x="1055" y="1079"/>
                    <a:pt x="1055" y="1079"/>
                  </a:cubicBezTo>
                  <a:cubicBezTo>
                    <a:pt x="1055" y="1079"/>
                    <a:pt x="1055" y="1079"/>
                    <a:pt x="1055" y="1079"/>
                  </a:cubicBezTo>
                  <a:cubicBezTo>
                    <a:pt x="1055" y="1078"/>
                    <a:pt x="1055" y="1078"/>
                    <a:pt x="1055" y="1078"/>
                  </a:cubicBezTo>
                  <a:cubicBezTo>
                    <a:pt x="1054" y="1076"/>
                    <a:pt x="1054" y="1076"/>
                    <a:pt x="1054" y="1076"/>
                  </a:cubicBezTo>
                  <a:cubicBezTo>
                    <a:pt x="1052" y="1073"/>
                    <a:pt x="1052" y="1073"/>
                    <a:pt x="1052" y="1073"/>
                  </a:cubicBezTo>
                  <a:cubicBezTo>
                    <a:pt x="1048" y="1069"/>
                    <a:pt x="1048" y="1069"/>
                    <a:pt x="1048" y="1069"/>
                  </a:cubicBezTo>
                  <a:cubicBezTo>
                    <a:pt x="1046" y="1068"/>
                    <a:pt x="1046" y="1068"/>
                    <a:pt x="1046" y="1068"/>
                  </a:cubicBezTo>
                  <a:cubicBezTo>
                    <a:pt x="1028" y="1064"/>
                    <a:pt x="1028" y="1064"/>
                    <a:pt x="1028" y="1064"/>
                  </a:cubicBezTo>
                  <a:cubicBezTo>
                    <a:pt x="1024" y="1063"/>
                    <a:pt x="1024" y="1063"/>
                    <a:pt x="1024" y="1063"/>
                  </a:cubicBezTo>
                  <a:cubicBezTo>
                    <a:pt x="1022" y="1063"/>
                    <a:pt x="1022" y="1063"/>
                    <a:pt x="1022" y="1063"/>
                  </a:cubicBezTo>
                  <a:cubicBezTo>
                    <a:pt x="1018" y="1069"/>
                    <a:pt x="1018" y="1069"/>
                    <a:pt x="1018" y="1069"/>
                  </a:cubicBezTo>
                  <a:cubicBezTo>
                    <a:pt x="1017" y="1069"/>
                    <a:pt x="1017" y="1069"/>
                    <a:pt x="1017" y="1069"/>
                  </a:cubicBezTo>
                  <a:cubicBezTo>
                    <a:pt x="1016" y="1070"/>
                    <a:pt x="1016" y="1070"/>
                    <a:pt x="1016" y="1070"/>
                  </a:cubicBezTo>
                  <a:cubicBezTo>
                    <a:pt x="1016" y="1073"/>
                    <a:pt x="1016" y="1073"/>
                    <a:pt x="1016" y="1073"/>
                  </a:cubicBezTo>
                  <a:cubicBezTo>
                    <a:pt x="1016" y="1074"/>
                    <a:pt x="1016" y="1074"/>
                    <a:pt x="1016" y="1074"/>
                  </a:cubicBezTo>
                  <a:cubicBezTo>
                    <a:pt x="1017" y="1076"/>
                    <a:pt x="1017" y="1076"/>
                    <a:pt x="1017" y="1076"/>
                  </a:cubicBezTo>
                  <a:cubicBezTo>
                    <a:pt x="1018" y="1077"/>
                    <a:pt x="1018" y="1077"/>
                    <a:pt x="1018" y="1077"/>
                  </a:cubicBezTo>
                  <a:cubicBezTo>
                    <a:pt x="1017" y="1078"/>
                    <a:pt x="1017" y="1078"/>
                    <a:pt x="1017" y="1078"/>
                  </a:cubicBezTo>
                  <a:cubicBezTo>
                    <a:pt x="1016" y="1079"/>
                    <a:pt x="1016" y="1079"/>
                    <a:pt x="1016" y="1079"/>
                  </a:cubicBezTo>
                  <a:cubicBezTo>
                    <a:pt x="1015" y="1079"/>
                    <a:pt x="1015" y="1079"/>
                    <a:pt x="1015" y="1079"/>
                  </a:cubicBezTo>
                  <a:cubicBezTo>
                    <a:pt x="1012" y="1081"/>
                    <a:pt x="1012" y="1081"/>
                    <a:pt x="1012" y="1081"/>
                  </a:cubicBezTo>
                  <a:cubicBezTo>
                    <a:pt x="1003" y="1081"/>
                    <a:pt x="1003" y="1081"/>
                    <a:pt x="1003" y="1081"/>
                  </a:cubicBezTo>
                  <a:cubicBezTo>
                    <a:pt x="1002" y="1081"/>
                    <a:pt x="1002" y="1081"/>
                    <a:pt x="1002" y="1081"/>
                  </a:cubicBezTo>
                  <a:cubicBezTo>
                    <a:pt x="997" y="1080"/>
                    <a:pt x="997" y="1080"/>
                    <a:pt x="997" y="1080"/>
                  </a:cubicBezTo>
                  <a:cubicBezTo>
                    <a:pt x="993" y="1076"/>
                    <a:pt x="993" y="1076"/>
                    <a:pt x="993" y="1076"/>
                  </a:cubicBezTo>
                  <a:cubicBezTo>
                    <a:pt x="993" y="1075"/>
                    <a:pt x="993" y="1075"/>
                    <a:pt x="993" y="1075"/>
                  </a:cubicBezTo>
                  <a:cubicBezTo>
                    <a:pt x="993" y="1074"/>
                    <a:pt x="993" y="1074"/>
                    <a:pt x="993" y="1074"/>
                  </a:cubicBezTo>
                  <a:cubicBezTo>
                    <a:pt x="1003" y="1068"/>
                    <a:pt x="1003" y="1068"/>
                    <a:pt x="1003" y="1068"/>
                  </a:cubicBezTo>
                  <a:cubicBezTo>
                    <a:pt x="1012" y="1067"/>
                    <a:pt x="1012" y="1067"/>
                    <a:pt x="1012" y="1067"/>
                  </a:cubicBezTo>
                  <a:cubicBezTo>
                    <a:pt x="1016" y="1066"/>
                    <a:pt x="1016" y="1066"/>
                    <a:pt x="1016" y="1066"/>
                  </a:cubicBezTo>
                  <a:cubicBezTo>
                    <a:pt x="1018" y="1066"/>
                    <a:pt x="1018" y="1066"/>
                    <a:pt x="1018" y="1066"/>
                  </a:cubicBezTo>
                  <a:cubicBezTo>
                    <a:pt x="1018" y="1065"/>
                    <a:pt x="1018" y="1065"/>
                    <a:pt x="1018" y="1065"/>
                  </a:cubicBezTo>
                  <a:cubicBezTo>
                    <a:pt x="1019" y="1063"/>
                    <a:pt x="1019" y="1063"/>
                    <a:pt x="1019" y="1063"/>
                  </a:cubicBezTo>
                  <a:cubicBezTo>
                    <a:pt x="1019" y="1062"/>
                    <a:pt x="1019" y="1062"/>
                    <a:pt x="1019" y="1062"/>
                  </a:cubicBezTo>
                  <a:cubicBezTo>
                    <a:pt x="1018" y="1060"/>
                    <a:pt x="1018" y="1060"/>
                    <a:pt x="1018" y="1060"/>
                  </a:cubicBezTo>
                  <a:cubicBezTo>
                    <a:pt x="1017" y="1060"/>
                    <a:pt x="1017" y="1060"/>
                    <a:pt x="1017" y="1060"/>
                  </a:cubicBezTo>
                  <a:cubicBezTo>
                    <a:pt x="1015" y="1058"/>
                    <a:pt x="1015" y="1058"/>
                    <a:pt x="1015" y="1058"/>
                  </a:cubicBezTo>
                  <a:cubicBezTo>
                    <a:pt x="1014" y="1057"/>
                    <a:pt x="1014" y="1057"/>
                    <a:pt x="1014" y="1057"/>
                  </a:cubicBezTo>
                  <a:cubicBezTo>
                    <a:pt x="998" y="1054"/>
                    <a:pt x="998" y="1054"/>
                    <a:pt x="998" y="1054"/>
                  </a:cubicBezTo>
                  <a:cubicBezTo>
                    <a:pt x="996" y="1054"/>
                    <a:pt x="996" y="1054"/>
                    <a:pt x="996" y="1054"/>
                  </a:cubicBezTo>
                  <a:cubicBezTo>
                    <a:pt x="990" y="1055"/>
                    <a:pt x="990" y="1055"/>
                    <a:pt x="990" y="1055"/>
                  </a:cubicBezTo>
                  <a:cubicBezTo>
                    <a:pt x="988" y="1055"/>
                    <a:pt x="988" y="1055"/>
                    <a:pt x="988" y="1055"/>
                  </a:cubicBezTo>
                  <a:cubicBezTo>
                    <a:pt x="980" y="1057"/>
                    <a:pt x="980" y="1057"/>
                    <a:pt x="980" y="1057"/>
                  </a:cubicBezTo>
                  <a:cubicBezTo>
                    <a:pt x="979" y="1057"/>
                    <a:pt x="979" y="1057"/>
                    <a:pt x="979" y="1057"/>
                  </a:cubicBezTo>
                  <a:cubicBezTo>
                    <a:pt x="978" y="1058"/>
                    <a:pt x="978" y="1058"/>
                    <a:pt x="978" y="1058"/>
                  </a:cubicBezTo>
                  <a:cubicBezTo>
                    <a:pt x="969" y="1067"/>
                    <a:pt x="969" y="1067"/>
                    <a:pt x="969" y="1067"/>
                  </a:cubicBezTo>
                  <a:cubicBezTo>
                    <a:pt x="966" y="1067"/>
                    <a:pt x="966" y="1067"/>
                    <a:pt x="966" y="1067"/>
                  </a:cubicBezTo>
                  <a:cubicBezTo>
                    <a:pt x="965" y="1067"/>
                    <a:pt x="965" y="1067"/>
                    <a:pt x="965" y="1067"/>
                  </a:cubicBezTo>
                  <a:cubicBezTo>
                    <a:pt x="964" y="1066"/>
                    <a:pt x="964" y="1066"/>
                    <a:pt x="964" y="1066"/>
                  </a:cubicBezTo>
                  <a:cubicBezTo>
                    <a:pt x="965" y="1066"/>
                    <a:pt x="965" y="1066"/>
                    <a:pt x="965" y="1066"/>
                  </a:cubicBezTo>
                  <a:cubicBezTo>
                    <a:pt x="974" y="1053"/>
                    <a:pt x="974" y="1053"/>
                    <a:pt x="974" y="1053"/>
                  </a:cubicBezTo>
                  <a:cubicBezTo>
                    <a:pt x="976" y="1052"/>
                    <a:pt x="976" y="1052"/>
                    <a:pt x="976" y="1052"/>
                  </a:cubicBezTo>
                  <a:cubicBezTo>
                    <a:pt x="1004" y="1045"/>
                    <a:pt x="1004" y="1045"/>
                    <a:pt x="1004" y="1045"/>
                  </a:cubicBezTo>
                  <a:cubicBezTo>
                    <a:pt x="1023" y="1044"/>
                    <a:pt x="1023" y="1044"/>
                    <a:pt x="1023" y="1044"/>
                  </a:cubicBezTo>
                  <a:cubicBezTo>
                    <a:pt x="1025" y="1044"/>
                    <a:pt x="1025" y="1044"/>
                    <a:pt x="1025" y="1044"/>
                  </a:cubicBezTo>
                  <a:cubicBezTo>
                    <a:pt x="1027" y="1043"/>
                    <a:pt x="1027" y="1043"/>
                    <a:pt x="1027" y="1043"/>
                  </a:cubicBezTo>
                  <a:cubicBezTo>
                    <a:pt x="1029" y="1042"/>
                    <a:pt x="1029" y="1042"/>
                    <a:pt x="1029" y="1042"/>
                  </a:cubicBezTo>
                  <a:cubicBezTo>
                    <a:pt x="1038" y="1034"/>
                    <a:pt x="1038" y="1034"/>
                    <a:pt x="1038" y="1034"/>
                  </a:cubicBezTo>
                  <a:cubicBezTo>
                    <a:pt x="1041" y="1031"/>
                    <a:pt x="1041" y="1031"/>
                    <a:pt x="1041" y="1031"/>
                  </a:cubicBezTo>
                  <a:cubicBezTo>
                    <a:pt x="1045" y="1027"/>
                    <a:pt x="1045" y="1027"/>
                    <a:pt x="1045" y="1027"/>
                  </a:cubicBezTo>
                  <a:cubicBezTo>
                    <a:pt x="1050" y="1020"/>
                    <a:pt x="1050" y="1020"/>
                    <a:pt x="1050" y="1020"/>
                  </a:cubicBezTo>
                  <a:cubicBezTo>
                    <a:pt x="1051" y="1018"/>
                    <a:pt x="1051" y="1018"/>
                    <a:pt x="1051" y="1018"/>
                  </a:cubicBezTo>
                  <a:cubicBezTo>
                    <a:pt x="1050" y="998"/>
                    <a:pt x="1050" y="998"/>
                    <a:pt x="1050" y="998"/>
                  </a:cubicBezTo>
                  <a:cubicBezTo>
                    <a:pt x="1050" y="993"/>
                    <a:pt x="1050" y="993"/>
                    <a:pt x="1050" y="993"/>
                  </a:cubicBezTo>
                  <a:cubicBezTo>
                    <a:pt x="1049" y="991"/>
                    <a:pt x="1049" y="991"/>
                    <a:pt x="1049" y="991"/>
                  </a:cubicBezTo>
                  <a:cubicBezTo>
                    <a:pt x="1048" y="989"/>
                    <a:pt x="1048" y="989"/>
                    <a:pt x="1048" y="989"/>
                  </a:cubicBezTo>
                  <a:cubicBezTo>
                    <a:pt x="1047" y="988"/>
                    <a:pt x="1047" y="988"/>
                    <a:pt x="1047" y="988"/>
                  </a:cubicBezTo>
                  <a:cubicBezTo>
                    <a:pt x="1046" y="986"/>
                    <a:pt x="1046" y="986"/>
                    <a:pt x="1046" y="986"/>
                  </a:cubicBezTo>
                  <a:cubicBezTo>
                    <a:pt x="1043" y="986"/>
                    <a:pt x="1043" y="986"/>
                    <a:pt x="1043" y="986"/>
                  </a:cubicBezTo>
                  <a:cubicBezTo>
                    <a:pt x="1042" y="986"/>
                    <a:pt x="1042" y="986"/>
                    <a:pt x="1042" y="986"/>
                  </a:cubicBezTo>
                  <a:cubicBezTo>
                    <a:pt x="1036" y="989"/>
                    <a:pt x="1036" y="989"/>
                    <a:pt x="1036" y="989"/>
                  </a:cubicBezTo>
                  <a:cubicBezTo>
                    <a:pt x="1031" y="993"/>
                    <a:pt x="1031" y="993"/>
                    <a:pt x="1031" y="993"/>
                  </a:cubicBezTo>
                  <a:cubicBezTo>
                    <a:pt x="1030" y="994"/>
                    <a:pt x="1030" y="994"/>
                    <a:pt x="1030" y="994"/>
                  </a:cubicBezTo>
                  <a:cubicBezTo>
                    <a:pt x="1020" y="996"/>
                    <a:pt x="1020" y="996"/>
                    <a:pt x="1020" y="996"/>
                  </a:cubicBezTo>
                  <a:cubicBezTo>
                    <a:pt x="1011" y="993"/>
                    <a:pt x="1011" y="993"/>
                    <a:pt x="1011" y="993"/>
                  </a:cubicBezTo>
                  <a:cubicBezTo>
                    <a:pt x="1011" y="993"/>
                    <a:pt x="1011" y="993"/>
                    <a:pt x="1011" y="993"/>
                  </a:cubicBezTo>
                  <a:cubicBezTo>
                    <a:pt x="1012" y="991"/>
                    <a:pt x="1012" y="991"/>
                    <a:pt x="1012" y="991"/>
                  </a:cubicBezTo>
                  <a:cubicBezTo>
                    <a:pt x="1013" y="991"/>
                    <a:pt x="1013" y="991"/>
                    <a:pt x="1013" y="991"/>
                  </a:cubicBezTo>
                  <a:cubicBezTo>
                    <a:pt x="1017" y="991"/>
                    <a:pt x="1017" y="991"/>
                    <a:pt x="1017" y="991"/>
                  </a:cubicBezTo>
                  <a:cubicBezTo>
                    <a:pt x="1031" y="987"/>
                    <a:pt x="1031" y="987"/>
                    <a:pt x="1031" y="987"/>
                  </a:cubicBezTo>
                  <a:cubicBezTo>
                    <a:pt x="1033" y="985"/>
                    <a:pt x="1033" y="985"/>
                    <a:pt x="1033" y="985"/>
                  </a:cubicBezTo>
                  <a:cubicBezTo>
                    <a:pt x="1036" y="982"/>
                    <a:pt x="1036" y="982"/>
                    <a:pt x="1036" y="982"/>
                  </a:cubicBezTo>
                  <a:cubicBezTo>
                    <a:pt x="1037" y="980"/>
                    <a:pt x="1037" y="980"/>
                    <a:pt x="1037" y="980"/>
                  </a:cubicBezTo>
                  <a:cubicBezTo>
                    <a:pt x="1036" y="979"/>
                    <a:pt x="1036" y="979"/>
                    <a:pt x="1036" y="979"/>
                  </a:cubicBezTo>
                  <a:cubicBezTo>
                    <a:pt x="1036" y="978"/>
                    <a:pt x="1036" y="978"/>
                    <a:pt x="1036" y="978"/>
                  </a:cubicBezTo>
                  <a:cubicBezTo>
                    <a:pt x="1036" y="977"/>
                    <a:pt x="1036" y="977"/>
                    <a:pt x="1036" y="977"/>
                  </a:cubicBezTo>
                  <a:cubicBezTo>
                    <a:pt x="1044" y="971"/>
                    <a:pt x="1044" y="971"/>
                    <a:pt x="1044" y="971"/>
                  </a:cubicBezTo>
                  <a:cubicBezTo>
                    <a:pt x="1046" y="970"/>
                    <a:pt x="1046" y="970"/>
                    <a:pt x="1046" y="970"/>
                  </a:cubicBezTo>
                  <a:cubicBezTo>
                    <a:pt x="1054" y="969"/>
                    <a:pt x="1054" y="969"/>
                    <a:pt x="1054" y="969"/>
                  </a:cubicBezTo>
                  <a:cubicBezTo>
                    <a:pt x="1056" y="970"/>
                    <a:pt x="1056" y="970"/>
                    <a:pt x="1056" y="970"/>
                  </a:cubicBezTo>
                  <a:cubicBezTo>
                    <a:pt x="1057" y="971"/>
                    <a:pt x="1057" y="971"/>
                    <a:pt x="1057" y="971"/>
                  </a:cubicBezTo>
                  <a:cubicBezTo>
                    <a:pt x="1059" y="972"/>
                    <a:pt x="1059" y="972"/>
                    <a:pt x="1059" y="972"/>
                  </a:cubicBezTo>
                  <a:cubicBezTo>
                    <a:pt x="1060" y="977"/>
                    <a:pt x="1060" y="977"/>
                    <a:pt x="1060" y="977"/>
                  </a:cubicBezTo>
                  <a:cubicBezTo>
                    <a:pt x="1061" y="977"/>
                    <a:pt x="1061" y="977"/>
                    <a:pt x="1061" y="977"/>
                  </a:cubicBezTo>
                  <a:cubicBezTo>
                    <a:pt x="1061" y="977"/>
                    <a:pt x="1061" y="977"/>
                    <a:pt x="1061" y="977"/>
                  </a:cubicBezTo>
                  <a:cubicBezTo>
                    <a:pt x="1064" y="978"/>
                    <a:pt x="1064" y="978"/>
                    <a:pt x="1064" y="978"/>
                  </a:cubicBezTo>
                  <a:cubicBezTo>
                    <a:pt x="1071" y="976"/>
                    <a:pt x="1071" y="976"/>
                    <a:pt x="1071" y="976"/>
                  </a:cubicBezTo>
                  <a:cubicBezTo>
                    <a:pt x="1075" y="976"/>
                    <a:pt x="1075" y="976"/>
                    <a:pt x="1075" y="976"/>
                  </a:cubicBezTo>
                  <a:cubicBezTo>
                    <a:pt x="1081" y="972"/>
                    <a:pt x="1081" y="972"/>
                    <a:pt x="1081" y="972"/>
                  </a:cubicBezTo>
                  <a:cubicBezTo>
                    <a:pt x="1084" y="970"/>
                    <a:pt x="1084" y="970"/>
                    <a:pt x="1084" y="970"/>
                  </a:cubicBezTo>
                  <a:cubicBezTo>
                    <a:pt x="1087" y="968"/>
                    <a:pt x="1087" y="968"/>
                    <a:pt x="1087" y="968"/>
                  </a:cubicBezTo>
                  <a:cubicBezTo>
                    <a:pt x="1088" y="966"/>
                    <a:pt x="1088" y="966"/>
                    <a:pt x="1088" y="966"/>
                  </a:cubicBezTo>
                  <a:cubicBezTo>
                    <a:pt x="1091" y="963"/>
                    <a:pt x="1091" y="963"/>
                    <a:pt x="1091" y="963"/>
                  </a:cubicBezTo>
                  <a:cubicBezTo>
                    <a:pt x="1097" y="954"/>
                    <a:pt x="1097" y="954"/>
                    <a:pt x="1097" y="954"/>
                  </a:cubicBezTo>
                  <a:cubicBezTo>
                    <a:pt x="1099" y="951"/>
                    <a:pt x="1099" y="951"/>
                    <a:pt x="1099" y="951"/>
                  </a:cubicBezTo>
                  <a:cubicBezTo>
                    <a:pt x="1099" y="949"/>
                    <a:pt x="1099" y="949"/>
                    <a:pt x="1099" y="949"/>
                  </a:cubicBezTo>
                  <a:cubicBezTo>
                    <a:pt x="1099" y="948"/>
                    <a:pt x="1099" y="948"/>
                    <a:pt x="1099" y="948"/>
                  </a:cubicBezTo>
                  <a:cubicBezTo>
                    <a:pt x="1098" y="947"/>
                    <a:pt x="1098" y="947"/>
                    <a:pt x="1098" y="947"/>
                  </a:cubicBezTo>
                  <a:cubicBezTo>
                    <a:pt x="1097" y="947"/>
                    <a:pt x="1097" y="947"/>
                    <a:pt x="1097" y="947"/>
                  </a:cubicBezTo>
                  <a:cubicBezTo>
                    <a:pt x="1096" y="946"/>
                    <a:pt x="1096" y="946"/>
                    <a:pt x="1096" y="946"/>
                  </a:cubicBezTo>
                  <a:cubicBezTo>
                    <a:pt x="1095" y="946"/>
                    <a:pt x="1095" y="946"/>
                    <a:pt x="1095" y="946"/>
                  </a:cubicBezTo>
                  <a:cubicBezTo>
                    <a:pt x="1095" y="947"/>
                    <a:pt x="1095" y="947"/>
                    <a:pt x="1095" y="947"/>
                  </a:cubicBezTo>
                  <a:cubicBezTo>
                    <a:pt x="1095" y="949"/>
                    <a:pt x="1095" y="949"/>
                    <a:pt x="1095" y="949"/>
                  </a:cubicBezTo>
                  <a:cubicBezTo>
                    <a:pt x="1095" y="950"/>
                    <a:pt x="1095" y="950"/>
                    <a:pt x="1095" y="950"/>
                  </a:cubicBezTo>
                  <a:cubicBezTo>
                    <a:pt x="1094" y="952"/>
                    <a:pt x="1094" y="952"/>
                    <a:pt x="1094" y="952"/>
                  </a:cubicBezTo>
                  <a:cubicBezTo>
                    <a:pt x="1093" y="952"/>
                    <a:pt x="1093" y="952"/>
                    <a:pt x="1093" y="952"/>
                  </a:cubicBezTo>
                  <a:cubicBezTo>
                    <a:pt x="1091" y="953"/>
                    <a:pt x="1091" y="953"/>
                    <a:pt x="1091" y="953"/>
                  </a:cubicBezTo>
                  <a:cubicBezTo>
                    <a:pt x="1085" y="950"/>
                    <a:pt x="1085" y="950"/>
                    <a:pt x="1085" y="950"/>
                  </a:cubicBezTo>
                  <a:cubicBezTo>
                    <a:pt x="1084" y="950"/>
                    <a:pt x="1084" y="950"/>
                    <a:pt x="1084" y="950"/>
                  </a:cubicBezTo>
                  <a:cubicBezTo>
                    <a:pt x="1084" y="949"/>
                    <a:pt x="1084" y="949"/>
                    <a:pt x="1084" y="949"/>
                  </a:cubicBezTo>
                  <a:cubicBezTo>
                    <a:pt x="1093" y="924"/>
                    <a:pt x="1093" y="924"/>
                    <a:pt x="1093" y="924"/>
                  </a:cubicBezTo>
                  <a:cubicBezTo>
                    <a:pt x="1097" y="926"/>
                    <a:pt x="1097" y="926"/>
                    <a:pt x="1097" y="926"/>
                  </a:cubicBezTo>
                  <a:cubicBezTo>
                    <a:pt x="1103" y="934"/>
                    <a:pt x="1103" y="934"/>
                    <a:pt x="1103" y="934"/>
                  </a:cubicBezTo>
                  <a:cubicBezTo>
                    <a:pt x="1104" y="934"/>
                    <a:pt x="1104" y="934"/>
                    <a:pt x="1104" y="934"/>
                  </a:cubicBezTo>
                  <a:cubicBezTo>
                    <a:pt x="1109" y="926"/>
                    <a:pt x="1109" y="926"/>
                    <a:pt x="1109" y="926"/>
                  </a:cubicBezTo>
                  <a:cubicBezTo>
                    <a:pt x="1113" y="921"/>
                    <a:pt x="1113" y="921"/>
                    <a:pt x="1113" y="921"/>
                  </a:cubicBezTo>
                  <a:cubicBezTo>
                    <a:pt x="1115" y="916"/>
                    <a:pt x="1115" y="916"/>
                    <a:pt x="1115" y="916"/>
                  </a:cubicBezTo>
                  <a:cubicBezTo>
                    <a:pt x="1116" y="914"/>
                    <a:pt x="1116" y="914"/>
                    <a:pt x="1116" y="914"/>
                  </a:cubicBezTo>
                  <a:cubicBezTo>
                    <a:pt x="1121" y="906"/>
                    <a:pt x="1121" y="906"/>
                    <a:pt x="1121" y="906"/>
                  </a:cubicBezTo>
                  <a:cubicBezTo>
                    <a:pt x="1125" y="901"/>
                    <a:pt x="1125" y="901"/>
                    <a:pt x="1125" y="901"/>
                  </a:cubicBezTo>
                  <a:cubicBezTo>
                    <a:pt x="1131" y="896"/>
                    <a:pt x="1131" y="896"/>
                    <a:pt x="1131" y="896"/>
                  </a:cubicBezTo>
                  <a:cubicBezTo>
                    <a:pt x="1136" y="895"/>
                    <a:pt x="1136" y="895"/>
                    <a:pt x="1136" y="895"/>
                  </a:cubicBezTo>
                  <a:cubicBezTo>
                    <a:pt x="1137" y="894"/>
                    <a:pt x="1137" y="894"/>
                    <a:pt x="1137" y="894"/>
                  </a:cubicBezTo>
                  <a:cubicBezTo>
                    <a:pt x="1138" y="894"/>
                    <a:pt x="1138" y="894"/>
                    <a:pt x="1138" y="894"/>
                  </a:cubicBezTo>
                  <a:cubicBezTo>
                    <a:pt x="1139" y="892"/>
                    <a:pt x="1139" y="892"/>
                    <a:pt x="1139" y="892"/>
                  </a:cubicBezTo>
                  <a:cubicBezTo>
                    <a:pt x="1139" y="891"/>
                    <a:pt x="1139" y="891"/>
                    <a:pt x="1139" y="891"/>
                  </a:cubicBezTo>
                  <a:cubicBezTo>
                    <a:pt x="1140" y="885"/>
                    <a:pt x="1140" y="885"/>
                    <a:pt x="1140" y="885"/>
                  </a:cubicBezTo>
                  <a:cubicBezTo>
                    <a:pt x="1142" y="872"/>
                    <a:pt x="1142" y="872"/>
                    <a:pt x="1142" y="872"/>
                  </a:cubicBezTo>
                  <a:cubicBezTo>
                    <a:pt x="1142" y="856"/>
                    <a:pt x="1142" y="856"/>
                    <a:pt x="1142" y="856"/>
                  </a:cubicBezTo>
                  <a:cubicBezTo>
                    <a:pt x="1142" y="854"/>
                    <a:pt x="1142" y="854"/>
                    <a:pt x="1142" y="854"/>
                  </a:cubicBezTo>
                  <a:cubicBezTo>
                    <a:pt x="1142" y="849"/>
                    <a:pt x="1142" y="849"/>
                    <a:pt x="1142" y="849"/>
                  </a:cubicBezTo>
                  <a:cubicBezTo>
                    <a:pt x="1142" y="844"/>
                    <a:pt x="1142" y="844"/>
                    <a:pt x="1142" y="844"/>
                  </a:cubicBezTo>
                  <a:cubicBezTo>
                    <a:pt x="1143" y="840"/>
                    <a:pt x="1143" y="840"/>
                    <a:pt x="1143" y="840"/>
                  </a:cubicBezTo>
                  <a:cubicBezTo>
                    <a:pt x="1145" y="837"/>
                    <a:pt x="1145" y="837"/>
                    <a:pt x="1145" y="837"/>
                  </a:cubicBezTo>
                  <a:cubicBezTo>
                    <a:pt x="1150" y="827"/>
                    <a:pt x="1150" y="827"/>
                    <a:pt x="1150" y="827"/>
                  </a:cubicBezTo>
                  <a:cubicBezTo>
                    <a:pt x="1154" y="814"/>
                    <a:pt x="1154" y="814"/>
                    <a:pt x="1154" y="814"/>
                  </a:cubicBezTo>
                  <a:cubicBezTo>
                    <a:pt x="1155" y="811"/>
                    <a:pt x="1155" y="811"/>
                    <a:pt x="1155" y="811"/>
                  </a:cubicBezTo>
                  <a:cubicBezTo>
                    <a:pt x="1159" y="789"/>
                    <a:pt x="1159" y="789"/>
                    <a:pt x="1159" y="789"/>
                  </a:cubicBezTo>
                  <a:lnTo>
                    <a:pt x="1151" y="7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0" name="Freeform 16"/>
            <p:cNvSpPr>
              <a:spLocks noEditPoints="1"/>
            </p:cNvSpPr>
            <p:nvPr/>
          </p:nvSpPr>
          <p:spPr bwMode="auto">
            <a:xfrm>
              <a:off x="1652463" y="1882454"/>
              <a:ext cx="1765300" cy="2973387"/>
            </a:xfrm>
            <a:custGeom>
              <a:avLst/>
              <a:gdLst>
                <a:gd name="T0" fmla="*/ 267 w 798"/>
                <a:gd name="T1" fmla="*/ 785 h 1345"/>
                <a:gd name="T2" fmla="*/ 203 w 798"/>
                <a:gd name="T3" fmla="*/ 631 h 1345"/>
                <a:gd name="T4" fmla="*/ 190 w 798"/>
                <a:gd name="T5" fmla="*/ 774 h 1345"/>
                <a:gd name="T6" fmla="*/ 75 w 798"/>
                <a:gd name="T7" fmla="*/ 447 h 1345"/>
                <a:gd name="T8" fmla="*/ 142 w 798"/>
                <a:gd name="T9" fmla="*/ 521 h 1345"/>
                <a:gd name="T10" fmla="*/ 252 w 798"/>
                <a:gd name="T11" fmla="*/ 569 h 1345"/>
                <a:gd name="T12" fmla="*/ 161 w 798"/>
                <a:gd name="T13" fmla="*/ 490 h 1345"/>
                <a:gd name="T14" fmla="*/ 62 w 798"/>
                <a:gd name="T15" fmla="*/ 470 h 1345"/>
                <a:gd name="T16" fmla="*/ 113 w 798"/>
                <a:gd name="T17" fmla="*/ 725 h 1345"/>
                <a:gd name="T18" fmla="*/ 53 w 798"/>
                <a:gd name="T19" fmla="*/ 496 h 1345"/>
                <a:gd name="T20" fmla="*/ 332 w 798"/>
                <a:gd name="T21" fmla="*/ 1008 h 1345"/>
                <a:gd name="T22" fmla="*/ 774 w 798"/>
                <a:gd name="T23" fmla="*/ 434 h 1345"/>
                <a:gd name="T24" fmla="*/ 546 w 798"/>
                <a:gd name="T25" fmla="*/ 443 h 1345"/>
                <a:gd name="T26" fmla="*/ 461 w 798"/>
                <a:gd name="T27" fmla="*/ 443 h 1345"/>
                <a:gd name="T28" fmla="*/ 514 w 798"/>
                <a:gd name="T29" fmla="*/ 402 h 1345"/>
                <a:gd name="T30" fmla="*/ 616 w 798"/>
                <a:gd name="T31" fmla="*/ 235 h 1345"/>
                <a:gd name="T32" fmla="*/ 409 w 798"/>
                <a:gd name="T33" fmla="*/ 213 h 1345"/>
                <a:gd name="T34" fmla="*/ 304 w 798"/>
                <a:gd name="T35" fmla="*/ 301 h 1345"/>
                <a:gd name="T36" fmla="*/ 320 w 798"/>
                <a:gd name="T37" fmla="*/ 397 h 1345"/>
                <a:gd name="T38" fmla="*/ 273 w 798"/>
                <a:gd name="T39" fmla="*/ 418 h 1345"/>
                <a:gd name="T40" fmla="*/ 262 w 798"/>
                <a:gd name="T41" fmla="*/ 478 h 1345"/>
                <a:gd name="T42" fmla="*/ 257 w 798"/>
                <a:gd name="T43" fmla="*/ 537 h 1345"/>
                <a:gd name="T44" fmla="*/ 280 w 798"/>
                <a:gd name="T45" fmla="*/ 580 h 1345"/>
                <a:gd name="T46" fmla="*/ 228 w 798"/>
                <a:gd name="T47" fmla="*/ 641 h 1345"/>
                <a:gd name="T48" fmla="*/ 185 w 798"/>
                <a:gd name="T49" fmla="*/ 681 h 1345"/>
                <a:gd name="T50" fmla="*/ 224 w 798"/>
                <a:gd name="T51" fmla="*/ 699 h 1345"/>
                <a:gd name="T52" fmla="*/ 278 w 798"/>
                <a:gd name="T53" fmla="*/ 807 h 1345"/>
                <a:gd name="T54" fmla="*/ 254 w 798"/>
                <a:gd name="T55" fmla="*/ 1001 h 1345"/>
                <a:gd name="T56" fmla="*/ 294 w 798"/>
                <a:gd name="T57" fmla="*/ 858 h 1345"/>
                <a:gd name="T58" fmla="*/ 323 w 798"/>
                <a:gd name="T59" fmla="*/ 892 h 1345"/>
                <a:gd name="T60" fmla="*/ 373 w 798"/>
                <a:gd name="T61" fmla="*/ 880 h 1345"/>
                <a:gd name="T62" fmla="*/ 379 w 798"/>
                <a:gd name="T63" fmla="*/ 1047 h 1345"/>
                <a:gd name="T64" fmla="*/ 330 w 798"/>
                <a:gd name="T65" fmla="*/ 1130 h 1345"/>
                <a:gd name="T66" fmla="*/ 425 w 798"/>
                <a:gd name="T67" fmla="*/ 1187 h 1345"/>
                <a:gd name="T68" fmla="*/ 627 w 798"/>
                <a:gd name="T69" fmla="*/ 1123 h 1345"/>
                <a:gd name="T70" fmla="*/ 703 w 798"/>
                <a:gd name="T71" fmla="*/ 1068 h 1345"/>
                <a:gd name="T72" fmla="*/ 768 w 798"/>
                <a:gd name="T73" fmla="*/ 1007 h 1345"/>
                <a:gd name="T74" fmla="*/ 773 w 798"/>
                <a:gd name="T75" fmla="*/ 932 h 1345"/>
                <a:gd name="T76" fmla="*/ 631 w 798"/>
                <a:gd name="T77" fmla="*/ 874 h 1345"/>
                <a:gd name="T78" fmla="*/ 642 w 798"/>
                <a:gd name="T79" fmla="*/ 811 h 1345"/>
                <a:gd name="T80" fmla="*/ 595 w 798"/>
                <a:gd name="T81" fmla="*/ 773 h 1345"/>
                <a:gd name="T82" fmla="*/ 754 w 798"/>
                <a:gd name="T83" fmla="*/ 595 h 1345"/>
                <a:gd name="T84" fmla="*/ 194 w 798"/>
                <a:gd name="T85" fmla="*/ 748 h 1345"/>
                <a:gd name="T86" fmla="*/ 155 w 798"/>
                <a:gd name="T87" fmla="*/ 787 h 1345"/>
                <a:gd name="T88" fmla="*/ 135 w 798"/>
                <a:gd name="T89" fmla="*/ 596 h 1345"/>
                <a:gd name="T90" fmla="*/ 153 w 798"/>
                <a:gd name="T91" fmla="*/ 939 h 1345"/>
                <a:gd name="T92" fmla="*/ 120 w 798"/>
                <a:gd name="T93" fmla="*/ 720 h 1345"/>
                <a:gd name="T94" fmla="*/ 627 w 798"/>
                <a:gd name="T95" fmla="*/ 170 h 1345"/>
                <a:gd name="T96" fmla="*/ 688 w 798"/>
                <a:gd name="T97" fmla="*/ 4 h 1345"/>
                <a:gd name="T98" fmla="*/ 593 w 798"/>
                <a:gd name="T99" fmla="*/ 142 h 1345"/>
                <a:gd name="T100" fmla="*/ 694 w 798"/>
                <a:gd name="T101" fmla="*/ 29 h 1345"/>
                <a:gd name="T102" fmla="*/ 651 w 798"/>
                <a:gd name="T103" fmla="*/ 45 h 1345"/>
                <a:gd name="T104" fmla="*/ 626 w 798"/>
                <a:gd name="T105" fmla="*/ 71 h 1345"/>
                <a:gd name="T106" fmla="*/ 606 w 798"/>
                <a:gd name="T107" fmla="*/ 72 h 1345"/>
                <a:gd name="T108" fmla="*/ 608 w 798"/>
                <a:gd name="T109" fmla="*/ 52 h 1345"/>
                <a:gd name="T110" fmla="*/ 69 w 798"/>
                <a:gd name="T111" fmla="*/ 354 h 1345"/>
                <a:gd name="T112" fmla="*/ 222 w 798"/>
                <a:gd name="T113" fmla="*/ 468 h 1345"/>
                <a:gd name="T114" fmla="*/ 49 w 798"/>
                <a:gd name="T115" fmla="*/ 582 h 1345"/>
                <a:gd name="T116" fmla="*/ 621 w 798"/>
                <a:gd name="T117" fmla="*/ 15 h 1345"/>
                <a:gd name="T118" fmla="*/ 80 w 798"/>
                <a:gd name="T119" fmla="*/ 345 h 1345"/>
                <a:gd name="T120" fmla="*/ 125 w 798"/>
                <a:gd name="T121" fmla="*/ 371 h 1345"/>
                <a:gd name="T122" fmla="*/ 206 w 798"/>
                <a:gd name="T123" fmla="*/ 304 h 1345"/>
                <a:gd name="T124" fmla="*/ 117 w 798"/>
                <a:gd name="T125" fmla="*/ 295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98" h="1345">
                  <a:moveTo>
                    <a:pt x="169" y="1345"/>
                  </a:moveTo>
                  <a:cubicBezTo>
                    <a:pt x="169" y="1344"/>
                    <a:pt x="169" y="1344"/>
                    <a:pt x="169" y="1344"/>
                  </a:cubicBezTo>
                  <a:cubicBezTo>
                    <a:pt x="169" y="1344"/>
                    <a:pt x="169" y="1344"/>
                    <a:pt x="169" y="1345"/>
                  </a:cubicBezTo>
                  <a:close/>
                  <a:moveTo>
                    <a:pt x="276" y="763"/>
                  </a:moveTo>
                  <a:cubicBezTo>
                    <a:pt x="273" y="766"/>
                    <a:pt x="273" y="766"/>
                    <a:pt x="273" y="766"/>
                  </a:cubicBezTo>
                  <a:cubicBezTo>
                    <a:pt x="273" y="767"/>
                    <a:pt x="273" y="767"/>
                    <a:pt x="273" y="767"/>
                  </a:cubicBezTo>
                  <a:cubicBezTo>
                    <a:pt x="274" y="769"/>
                    <a:pt x="274" y="769"/>
                    <a:pt x="274" y="769"/>
                  </a:cubicBezTo>
                  <a:cubicBezTo>
                    <a:pt x="277" y="771"/>
                    <a:pt x="277" y="771"/>
                    <a:pt x="277" y="771"/>
                  </a:cubicBezTo>
                  <a:cubicBezTo>
                    <a:pt x="278" y="771"/>
                    <a:pt x="278" y="771"/>
                    <a:pt x="278" y="771"/>
                  </a:cubicBezTo>
                  <a:cubicBezTo>
                    <a:pt x="278" y="771"/>
                    <a:pt x="278" y="771"/>
                    <a:pt x="278" y="771"/>
                  </a:cubicBezTo>
                  <a:cubicBezTo>
                    <a:pt x="284" y="763"/>
                    <a:pt x="284" y="763"/>
                    <a:pt x="284" y="763"/>
                  </a:cubicBezTo>
                  <a:cubicBezTo>
                    <a:pt x="285" y="761"/>
                    <a:pt x="285" y="761"/>
                    <a:pt x="285" y="761"/>
                  </a:cubicBezTo>
                  <a:cubicBezTo>
                    <a:pt x="284" y="761"/>
                    <a:pt x="284" y="761"/>
                    <a:pt x="284" y="761"/>
                  </a:cubicBezTo>
                  <a:cubicBezTo>
                    <a:pt x="284" y="761"/>
                    <a:pt x="284" y="761"/>
                    <a:pt x="284" y="761"/>
                  </a:cubicBezTo>
                  <a:lnTo>
                    <a:pt x="276" y="763"/>
                  </a:lnTo>
                  <a:close/>
                  <a:moveTo>
                    <a:pt x="295" y="727"/>
                  </a:moveTo>
                  <a:cubicBezTo>
                    <a:pt x="295" y="726"/>
                    <a:pt x="295" y="726"/>
                    <a:pt x="295" y="726"/>
                  </a:cubicBezTo>
                  <a:cubicBezTo>
                    <a:pt x="296" y="726"/>
                    <a:pt x="296" y="726"/>
                    <a:pt x="296" y="726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295" y="724"/>
                    <a:pt x="295" y="724"/>
                    <a:pt x="295" y="724"/>
                  </a:cubicBezTo>
                  <a:cubicBezTo>
                    <a:pt x="290" y="727"/>
                    <a:pt x="290" y="727"/>
                    <a:pt x="290" y="727"/>
                  </a:cubicBezTo>
                  <a:cubicBezTo>
                    <a:pt x="275" y="741"/>
                    <a:pt x="275" y="741"/>
                    <a:pt x="275" y="741"/>
                  </a:cubicBezTo>
                  <a:cubicBezTo>
                    <a:pt x="269" y="749"/>
                    <a:pt x="269" y="749"/>
                    <a:pt x="269" y="749"/>
                  </a:cubicBezTo>
                  <a:cubicBezTo>
                    <a:pt x="270" y="749"/>
                    <a:pt x="270" y="749"/>
                    <a:pt x="270" y="749"/>
                  </a:cubicBezTo>
                  <a:cubicBezTo>
                    <a:pt x="272" y="749"/>
                    <a:pt x="272" y="749"/>
                    <a:pt x="272" y="749"/>
                  </a:cubicBezTo>
                  <a:cubicBezTo>
                    <a:pt x="278" y="746"/>
                    <a:pt x="278" y="746"/>
                    <a:pt x="278" y="746"/>
                  </a:cubicBezTo>
                  <a:cubicBezTo>
                    <a:pt x="279" y="745"/>
                    <a:pt x="279" y="745"/>
                    <a:pt x="279" y="745"/>
                  </a:cubicBezTo>
                  <a:cubicBezTo>
                    <a:pt x="280" y="745"/>
                    <a:pt x="280" y="745"/>
                    <a:pt x="280" y="745"/>
                  </a:cubicBezTo>
                  <a:cubicBezTo>
                    <a:pt x="288" y="735"/>
                    <a:pt x="288" y="735"/>
                    <a:pt x="288" y="735"/>
                  </a:cubicBezTo>
                  <a:lnTo>
                    <a:pt x="295" y="727"/>
                  </a:lnTo>
                  <a:close/>
                  <a:moveTo>
                    <a:pt x="263" y="789"/>
                  </a:moveTo>
                  <a:cubicBezTo>
                    <a:pt x="262" y="791"/>
                    <a:pt x="262" y="791"/>
                    <a:pt x="262" y="791"/>
                  </a:cubicBezTo>
                  <a:cubicBezTo>
                    <a:pt x="267" y="796"/>
                    <a:pt x="267" y="796"/>
                    <a:pt x="267" y="796"/>
                  </a:cubicBezTo>
                  <a:cubicBezTo>
                    <a:pt x="270" y="796"/>
                    <a:pt x="270" y="796"/>
                    <a:pt x="270" y="796"/>
                  </a:cubicBezTo>
                  <a:cubicBezTo>
                    <a:pt x="271" y="795"/>
                    <a:pt x="271" y="795"/>
                    <a:pt x="271" y="795"/>
                  </a:cubicBezTo>
                  <a:cubicBezTo>
                    <a:pt x="272" y="793"/>
                    <a:pt x="272" y="793"/>
                    <a:pt x="272" y="793"/>
                  </a:cubicBezTo>
                  <a:cubicBezTo>
                    <a:pt x="273" y="785"/>
                    <a:pt x="273" y="785"/>
                    <a:pt x="273" y="785"/>
                  </a:cubicBezTo>
                  <a:cubicBezTo>
                    <a:pt x="272" y="785"/>
                    <a:pt x="272" y="785"/>
                    <a:pt x="272" y="785"/>
                  </a:cubicBezTo>
                  <a:cubicBezTo>
                    <a:pt x="272" y="784"/>
                    <a:pt x="272" y="784"/>
                    <a:pt x="272" y="784"/>
                  </a:cubicBezTo>
                  <a:cubicBezTo>
                    <a:pt x="272" y="784"/>
                    <a:pt x="272" y="784"/>
                    <a:pt x="272" y="784"/>
                  </a:cubicBezTo>
                  <a:cubicBezTo>
                    <a:pt x="267" y="785"/>
                    <a:pt x="267" y="785"/>
                    <a:pt x="267" y="785"/>
                  </a:cubicBezTo>
                  <a:lnTo>
                    <a:pt x="263" y="789"/>
                  </a:lnTo>
                  <a:close/>
                  <a:moveTo>
                    <a:pt x="265" y="797"/>
                  </a:moveTo>
                  <a:cubicBezTo>
                    <a:pt x="264" y="797"/>
                    <a:pt x="264" y="797"/>
                    <a:pt x="264" y="797"/>
                  </a:cubicBezTo>
                  <a:cubicBezTo>
                    <a:pt x="263" y="798"/>
                    <a:pt x="263" y="798"/>
                    <a:pt x="263" y="798"/>
                  </a:cubicBezTo>
                  <a:cubicBezTo>
                    <a:pt x="262" y="809"/>
                    <a:pt x="262" y="809"/>
                    <a:pt x="262" y="809"/>
                  </a:cubicBezTo>
                  <a:cubicBezTo>
                    <a:pt x="262" y="810"/>
                    <a:pt x="262" y="810"/>
                    <a:pt x="262" y="810"/>
                  </a:cubicBezTo>
                  <a:cubicBezTo>
                    <a:pt x="263" y="816"/>
                    <a:pt x="263" y="816"/>
                    <a:pt x="263" y="816"/>
                  </a:cubicBezTo>
                  <a:cubicBezTo>
                    <a:pt x="265" y="817"/>
                    <a:pt x="265" y="817"/>
                    <a:pt x="265" y="817"/>
                  </a:cubicBezTo>
                  <a:cubicBezTo>
                    <a:pt x="266" y="817"/>
                    <a:pt x="266" y="817"/>
                    <a:pt x="266" y="817"/>
                  </a:cubicBezTo>
                  <a:cubicBezTo>
                    <a:pt x="267" y="801"/>
                    <a:pt x="267" y="801"/>
                    <a:pt x="267" y="801"/>
                  </a:cubicBezTo>
                  <a:cubicBezTo>
                    <a:pt x="266" y="799"/>
                    <a:pt x="266" y="799"/>
                    <a:pt x="266" y="799"/>
                  </a:cubicBezTo>
                  <a:cubicBezTo>
                    <a:pt x="266" y="798"/>
                    <a:pt x="266" y="798"/>
                    <a:pt x="266" y="798"/>
                  </a:cubicBezTo>
                  <a:lnTo>
                    <a:pt x="265" y="797"/>
                  </a:lnTo>
                  <a:close/>
                  <a:moveTo>
                    <a:pt x="258" y="816"/>
                  </a:moveTo>
                  <a:cubicBezTo>
                    <a:pt x="253" y="817"/>
                    <a:pt x="253" y="817"/>
                    <a:pt x="253" y="817"/>
                  </a:cubicBezTo>
                  <a:cubicBezTo>
                    <a:pt x="253" y="818"/>
                    <a:pt x="253" y="818"/>
                    <a:pt x="253" y="818"/>
                  </a:cubicBezTo>
                  <a:cubicBezTo>
                    <a:pt x="250" y="823"/>
                    <a:pt x="250" y="823"/>
                    <a:pt x="250" y="823"/>
                  </a:cubicBezTo>
                  <a:cubicBezTo>
                    <a:pt x="250" y="824"/>
                    <a:pt x="250" y="824"/>
                    <a:pt x="250" y="824"/>
                  </a:cubicBezTo>
                  <a:cubicBezTo>
                    <a:pt x="251" y="825"/>
                    <a:pt x="251" y="825"/>
                    <a:pt x="251" y="825"/>
                  </a:cubicBezTo>
                  <a:cubicBezTo>
                    <a:pt x="255" y="825"/>
                    <a:pt x="255" y="825"/>
                    <a:pt x="255" y="825"/>
                  </a:cubicBezTo>
                  <a:cubicBezTo>
                    <a:pt x="257" y="825"/>
                    <a:pt x="257" y="825"/>
                    <a:pt x="257" y="825"/>
                  </a:cubicBezTo>
                  <a:cubicBezTo>
                    <a:pt x="259" y="823"/>
                    <a:pt x="259" y="823"/>
                    <a:pt x="259" y="823"/>
                  </a:cubicBezTo>
                  <a:cubicBezTo>
                    <a:pt x="260" y="822"/>
                    <a:pt x="260" y="822"/>
                    <a:pt x="260" y="822"/>
                  </a:cubicBezTo>
                  <a:cubicBezTo>
                    <a:pt x="260" y="821"/>
                    <a:pt x="260" y="821"/>
                    <a:pt x="260" y="821"/>
                  </a:cubicBezTo>
                  <a:cubicBezTo>
                    <a:pt x="259" y="816"/>
                    <a:pt x="259" y="816"/>
                    <a:pt x="259" y="816"/>
                  </a:cubicBezTo>
                  <a:cubicBezTo>
                    <a:pt x="258" y="816"/>
                    <a:pt x="258" y="816"/>
                    <a:pt x="258" y="816"/>
                  </a:cubicBezTo>
                  <a:close/>
                  <a:moveTo>
                    <a:pt x="198" y="624"/>
                  </a:moveTo>
                  <a:cubicBezTo>
                    <a:pt x="197" y="625"/>
                    <a:pt x="197" y="625"/>
                    <a:pt x="197" y="625"/>
                  </a:cubicBezTo>
                  <a:cubicBezTo>
                    <a:pt x="190" y="632"/>
                    <a:pt x="190" y="632"/>
                    <a:pt x="190" y="632"/>
                  </a:cubicBezTo>
                  <a:cubicBezTo>
                    <a:pt x="189" y="634"/>
                    <a:pt x="189" y="634"/>
                    <a:pt x="189" y="634"/>
                  </a:cubicBezTo>
                  <a:cubicBezTo>
                    <a:pt x="189" y="635"/>
                    <a:pt x="189" y="635"/>
                    <a:pt x="189" y="635"/>
                  </a:cubicBezTo>
                  <a:cubicBezTo>
                    <a:pt x="189" y="638"/>
                    <a:pt x="189" y="638"/>
                    <a:pt x="189" y="638"/>
                  </a:cubicBezTo>
                  <a:cubicBezTo>
                    <a:pt x="189" y="639"/>
                    <a:pt x="189" y="639"/>
                    <a:pt x="189" y="639"/>
                  </a:cubicBezTo>
                  <a:cubicBezTo>
                    <a:pt x="194" y="642"/>
                    <a:pt x="194" y="642"/>
                    <a:pt x="194" y="642"/>
                  </a:cubicBezTo>
                  <a:cubicBezTo>
                    <a:pt x="196" y="643"/>
                    <a:pt x="196" y="643"/>
                    <a:pt x="196" y="643"/>
                  </a:cubicBezTo>
                  <a:cubicBezTo>
                    <a:pt x="198" y="643"/>
                    <a:pt x="198" y="643"/>
                    <a:pt x="198" y="643"/>
                  </a:cubicBezTo>
                  <a:cubicBezTo>
                    <a:pt x="199" y="643"/>
                    <a:pt x="199" y="643"/>
                    <a:pt x="199" y="643"/>
                  </a:cubicBezTo>
                  <a:cubicBezTo>
                    <a:pt x="202" y="641"/>
                    <a:pt x="202" y="641"/>
                    <a:pt x="202" y="641"/>
                  </a:cubicBezTo>
                  <a:cubicBezTo>
                    <a:pt x="202" y="640"/>
                    <a:pt x="202" y="640"/>
                    <a:pt x="202" y="640"/>
                  </a:cubicBezTo>
                  <a:cubicBezTo>
                    <a:pt x="203" y="637"/>
                    <a:pt x="203" y="637"/>
                    <a:pt x="203" y="637"/>
                  </a:cubicBezTo>
                  <a:cubicBezTo>
                    <a:pt x="203" y="631"/>
                    <a:pt x="203" y="631"/>
                    <a:pt x="203" y="631"/>
                  </a:cubicBezTo>
                  <a:cubicBezTo>
                    <a:pt x="204" y="629"/>
                    <a:pt x="204" y="629"/>
                    <a:pt x="204" y="629"/>
                  </a:cubicBezTo>
                  <a:cubicBezTo>
                    <a:pt x="203" y="627"/>
                    <a:pt x="203" y="627"/>
                    <a:pt x="203" y="627"/>
                  </a:cubicBezTo>
                  <a:cubicBezTo>
                    <a:pt x="200" y="625"/>
                    <a:pt x="200" y="625"/>
                    <a:pt x="200" y="625"/>
                  </a:cubicBezTo>
                  <a:lnTo>
                    <a:pt x="198" y="624"/>
                  </a:lnTo>
                  <a:close/>
                  <a:moveTo>
                    <a:pt x="255" y="744"/>
                  </a:moveTo>
                  <a:cubicBezTo>
                    <a:pt x="245" y="736"/>
                    <a:pt x="245" y="736"/>
                    <a:pt x="245" y="736"/>
                  </a:cubicBezTo>
                  <a:cubicBezTo>
                    <a:pt x="243" y="735"/>
                    <a:pt x="243" y="735"/>
                    <a:pt x="243" y="735"/>
                  </a:cubicBezTo>
                  <a:cubicBezTo>
                    <a:pt x="237" y="734"/>
                    <a:pt x="237" y="734"/>
                    <a:pt x="237" y="734"/>
                  </a:cubicBezTo>
                  <a:cubicBezTo>
                    <a:pt x="231" y="733"/>
                    <a:pt x="231" y="733"/>
                    <a:pt x="231" y="733"/>
                  </a:cubicBezTo>
                  <a:cubicBezTo>
                    <a:pt x="230" y="733"/>
                    <a:pt x="230" y="733"/>
                    <a:pt x="230" y="733"/>
                  </a:cubicBezTo>
                  <a:cubicBezTo>
                    <a:pt x="217" y="720"/>
                    <a:pt x="217" y="720"/>
                    <a:pt x="217" y="720"/>
                  </a:cubicBezTo>
                  <a:cubicBezTo>
                    <a:pt x="212" y="711"/>
                    <a:pt x="212" y="711"/>
                    <a:pt x="212" y="711"/>
                  </a:cubicBezTo>
                  <a:cubicBezTo>
                    <a:pt x="206" y="703"/>
                    <a:pt x="206" y="703"/>
                    <a:pt x="206" y="70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194" y="700"/>
                    <a:pt x="194" y="700"/>
                    <a:pt x="194" y="700"/>
                  </a:cubicBezTo>
                  <a:cubicBezTo>
                    <a:pt x="189" y="703"/>
                    <a:pt x="189" y="703"/>
                    <a:pt x="189" y="703"/>
                  </a:cubicBezTo>
                  <a:cubicBezTo>
                    <a:pt x="173" y="712"/>
                    <a:pt x="173" y="712"/>
                    <a:pt x="173" y="712"/>
                  </a:cubicBezTo>
                  <a:cubicBezTo>
                    <a:pt x="169" y="725"/>
                    <a:pt x="169" y="725"/>
                    <a:pt x="169" y="725"/>
                  </a:cubicBezTo>
                  <a:cubicBezTo>
                    <a:pt x="168" y="727"/>
                    <a:pt x="168" y="727"/>
                    <a:pt x="168" y="727"/>
                  </a:cubicBezTo>
                  <a:cubicBezTo>
                    <a:pt x="168" y="728"/>
                    <a:pt x="168" y="728"/>
                    <a:pt x="168" y="728"/>
                  </a:cubicBezTo>
                  <a:cubicBezTo>
                    <a:pt x="169" y="730"/>
                    <a:pt x="169" y="730"/>
                    <a:pt x="169" y="730"/>
                  </a:cubicBezTo>
                  <a:cubicBezTo>
                    <a:pt x="195" y="741"/>
                    <a:pt x="195" y="741"/>
                    <a:pt x="195" y="741"/>
                  </a:cubicBezTo>
                  <a:cubicBezTo>
                    <a:pt x="215" y="739"/>
                    <a:pt x="215" y="739"/>
                    <a:pt x="215" y="739"/>
                  </a:cubicBezTo>
                  <a:cubicBezTo>
                    <a:pt x="216" y="740"/>
                    <a:pt x="216" y="740"/>
                    <a:pt x="216" y="740"/>
                  </a:cubicBezTo>
                  <a:cubicBezTo>
                    <a:pt x="216" y="741"/>
                    <a:pt x="216" y="741"/>
                    <a:pt x="216" y="741"/>
                  </a:cubicBezTo>
                  <a:cubicBezTo>
                    <a:pt x="216" y="743"/>
                    <a:pt x="216" y="743"/>
                    <a:pt x="216" y="743"/>
                  </a:cubicBezTo>
                  <a:cubicBezTo>
                    <a:pt x="216" y="744"/>
                    <a:pt x="216" y="744"/>
                    <a:pt x="216" y="744"/>
                  </a:cubicBezTo>
                  <a:cubicBezTo>
                    <a:pt x="215" y="745"/>
                    <a:pt x="215" y="745"/>
                    <a:pt x="215" y="745"/>
                  </a:cubicBezTo>
                  <a:cubicBezTo>
                    <a:pt x="213" y="746"/>
                    <a:pt x="213" y="746"/>
                    <a:pt x="213" y="746"/>
                  </a:cubicBezTo>
                  <a:cubicBezTo>
                    <a:pt x="203" y="753"/>
                    <a:pt x="203" y="753"/>
                    <a:pt x="203" y="753"/>
                  </a:cubicBezTo>
                  <a:cubicBezTo>
                    <a:pt x="201" y="752"/>
                    <a:pt x="201" y="752"/>
                    <a:pt x="201" y="752"/>
                  </a:cubicBezTo>
                  <a:cubicBezTo>
                    <a:pt x="200" y="752"/>
                    <a:pt x="200" y="752"/>
                    <a:pt x="200" y="752"/>
                  </a:cubicBezTo>
                  <a:cubicBezTo>
                    <a:pt x="198" y="752"/>
                    <a:pt x="198" y="752"/>
                    <a:pt x="198" y="752"/>
                  </a:cubicBezTo>
                  <a:cubicBezTo>
                    <a:pt x="186" y="767"/>
                    <a:pt x="186" y="767"/>
                    <a:pt x="186" y="767"/>
                  </a:cubicBezTo>
                  <a:cubicBezTo>
                    <a:pt x="186" y="768"/>
                    <a:pt x="186" y="768"/>
                    <a:pt x="186" y="768"/>
                  </a:cubicBezTo>
                  <a:cubicBezTo>
                    <a:pt x="185" y="770"/>
                    <a:pt x="185" y="770"/>
                    <a:pt x="185" y="770"/>
                  </a:cubicBezTo>
                  <a:cubicBezTo>
                    <a:pt x="186" y="771"/>
                    <a:pt x="186" y="771"/>
                    <a:pt x="186" y="771"/>
                  </a:cubicBezTo>
                  <a:cubicBezTo>
                    <a:pt x="188" y="774"/>
                    <a:pt x="188" y="774"/>
                    <a:pt x="188" y="774"/>
                  </a:cubicBezTo>
                  <a:cubicBezTo>
                    <a:pt x="188" y="774"/>
                    <a:pt x="188" y="774"/>
                    <a:pt x="188" y="774"/>
                  </a:cubicBezTo>
                  <a:cubicBezTo>
                    <a:pt x="190" y="774"/>
                    <a:pt x="190" y="774"/>
                    <a:pt x="190" y="774"/>
                  </a:cubicBezTo>
                  <a:cubicBezTo>
                    <a:pt x="192" y="774"/>
                    <a:pt x="192" y="774"/>
                    <a:pt x="192" y="774"/>
                  </a:cubicBezTo>
                  <a:cubicBezTo>
                    <a:pt x="201" y="772"/>
                    <a:pt x="201" y="772"/>
                    <a:pt x="201" y="772"/>
                  </a:cubicBezTo>
                  <a:cubicBezTo>
                    <a:pt x="207" y="769"/>
                    <a:pt x="207" y="769"/>
                    <a:pt x="207" y="769"/>
                  </a:cubicBezTo>
                  <a:cubicBezTo>
                    <a:pt x="208" y="769"/>
                    <a:pt x="208" y="769"/>
                    <a:pt x="208" y="769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3" y="766"/>
                    <a:pt x="213" y="766"/>
                    <a:pt x="213" y="766"/>
                  </a:cubicBezTo>
                  <a:cubicBezTo>
                    <a:pt x="215" y="770"/>
                    <a:pt x="215" y="770"/>
                    <a:pt x="215" y="770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04" y="775"/>
                    <a:pt x="204" y="775"/>
                    <a:pt x="204" y="775"/>
                  </a:cubicBezTo>
                  <a:cubicBezTo>
                    <a:pt x="200" y="777"/>
                    <a:pt x="200" y="777"/>
                    <a:pt x="200" y="777"/>
                  </a:cubicBezTo>
                  <a:cubicBezTo>
                    <a:pt x="182" y="783"/>
                    <a:pt x="182" y="783"/>
                    <a:pt x="182" y="783"/>
                  </a:cubicBezTo>
                  <a:cubicBezTo>
                    <a:pt x="176" y="780"/>
                    <a:pt x="176" y="780"/>
                    <a:pt x="176" y="780"/>
                  </a:cubicBezTo>
                  <a:cubicBezTo>
                    <a:pt x="176" y="779"/>
                    <a:pt x="176" y="779"/>
                    <a:pt x="176" y="779"/>
                  </a:cubicBezTo>
                  <a:cubicBezTo>
                    <a:pt x="172" y="777"/>
                    <a:pt x="172" y="777"/>
                    <a:pt x="172" y="777"/>
                  </a:cubicBezTo>
                  <a:cubicBezTo>
                    <a:pt x="171" y="777"/>
                    <a:pt x="171" y="777"/>
                    <a:pt x="171" y="777"/>
                  </a:cubicBezTo>
                  <a:cubicBezTo>
                    <a:pt x="168" y="777"/>
                    <a:pt x="168" y="777"/>
                    <a:pt x="168" y="777"/>
                  </a:cubicBezTo>
                  <a:cubicBezTo>
                    <a:pt x="167" y="777"/>
                    <a:pt x="167" y="777"/>
                    <a:pt x="167" y="777"/>
                  </a:cubicBezTo>
                  <a:cubicBezTo>
                    <a:pt x="166" y="778"/>
                    <a:pt x="166" y="778"/>
                    <a:pt x="166" y="778"/>
                  </a:cubicBezTo>
                  <a:cubicBezTo>
                    <a:pt x="163" y="783"/>
                    <a:pt x="163" y="783"/>
                    <a:pt x="163" y="783"/>
                  </a:cubicBezTo>
                  <a:cubicBezTo>
                    <a:pt x="163" y="785"/>
                    <a:pt x="163" y="785"/>
                    <a:pt x="163" y="785"/>
                  </a:cubicBezTo>
                  <a:cubicBezTo>
                    <a:pt x="163" y="786"/>
                    <a:pt x="163" y="786"/>
                    <a:pt x="163" y="786"/>
                  </a:cubicBezTo>
                  <a:cubicBezTo>
                    <a:pt x="169" y="796"/>
                    <a:pt x="169" y="796"/>
                    <a:pt x="169" y="796"/>
                  </a:cubicBezTo>
                  <a:cubicBezTo>
                    <a:pt x="170" y="796"/>
                    <a:pt x="170" y="796"/>
                    <a:pt x="170" y="796"/>
                  </a:cubicBezTo>
                  <a:cubicBezTo>
                    <a:pt x="176" y="795"/>
                    <a:pt x="176" y="795"/>
                    <a:pt x="176" y="795"/>
                  </a:cubicBezTo>
                  <a:cubicBezTo>
                    <a:pt x="195" y="793"/>
                    <a:pt x="195" y="793"/>
                    <a:pt x="195" y="793"/>
                  </a:cubicBezTo>
                  <a:cubicBezTo>
                    <a:pt x="209" y="790"/>
                    <a:pt x="209" y="790"/>
                    <a:pt x="209" y="790"/>
                  </a:cubicBezTo>
                  <a:cubicBezTo>
                    <a:pt x="233" y="786"/>
                    <a:pt x="233" y="786"/>
                    <a:pt x="233" y="786"/>
                  </a:cubicBezTo>
                  <a:cubicBezTo>
                    <a:pt x="238" y="786"/>
                    <a:pt x="238" y="786"/>
                    <a:pt x="238" y="786"/>
                  </a:cubicBezTo>
                  <a:cubicBezTo>
                    <a:pt x="238" y="786"/>
                    <a:pt x="238" y="786"/>
                    <a:pt x="238" y="786"/>
                  </a:cubicBezTo>
                  <a:cubicBezTo>
                    <a:pt x="244" y="784"/>
                    <a:pt x="244" y="784"/>
                    <a:pt x="244" y="784"/>
                  </a:cubicBezTo>
                  <a:cubicBezTo>
                    <a:pt x="251" y="779"/>
                    <a:pt x="251" y="779"/>
                    <a:pt x="251" y="779"/>
                  </a:cubicBezTo>
                  <a:cubicBezTo>
                    <a:pt x="256" y="775"/>
                    <a:pt x="256" y="775"/>
                    <a:pt x="256" y="775"/>
                  </a:cubicBezTo>
                  <a:cubicBezTo>
                    <a:pt x="258" y="773"/>
                    <a:pt x="258" y="773"/>
                    <a:pt x="258" y="773"/>
                  </a:cubicBezTo>
                  <a:cubicBezTo>
                    <a:pt x="262" y="766"/>
                    <a:pt x="262" y="766"/>
                    <a:pt x="262" y="766"/>
                  </a:cubicBezTo>
                  <a:cubicBezTo>
                    <a:pt x="263" y="762"/>
                    <a:pt x="263" y="762"/>
                    <a:pt x="263" y="762"/>
                  </a:cubicBezTo>
                  <a:cubicBezTo>
                    <a:pt x="264" y="758"/>
                    <a:pt x="264" y="758"/>
                    <a:pt x="264" y="758"/>
                  </a:cubicBezTo>
                  <a:cubicBezTo>
                    <a:pt x="264" y="754"/>
                    <a:pt x="264" y="754"/>
                    <a:pt x="264" y="754"/>
                  </a:cubicBezTo>
                  <a:cubicBezTo>
                    <a:pt x="264" y="752"/>
                    <a:pt x="264" y="752"/>
                    <a:pt x="264" y="752"/>
                  </a:cubicBezTo>
                  <a:cubicBezTo>
                    <a:pt x="263" y="750"/>
                    <a:pt x="263" y="750"/>
                    <a:pt x="263" y="750"/>
                  </a:cubicBezTo>
                  <a:lnTo>
                    <a:pt x="255" y="744"/>
                  </a:lnTo>
                  <a:close/>
                  <a:moveTo>
                    <a:pt x="75" y="447"/>
                  </a:moveTo>
                  <a:cubicBezTo>
                    <a:pt x="58" y="434"/>
                    <a:pt x="58" y="434"/>
                    <a:pt x="58" y="434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6" y="434"/>
                    <a:pt x="56" y="434"/>
                    <a:pt x="56" y="434"/>
                  </a:cubicBezTo>
                  <a:cubicBezTo>
                    <a:pt x="39" y="434"/>
                    <a:pt x="39" y="434"/>
                    <a:pt x="39" y="434"/>
                  </a:cubicBezTo>
                  <a:cubicBezTo>
                    <a:pt x="18" y="440"/>
                    <a:pt x="18" y="440"/>
                    <a:pt x="18" y="440"/>
                  </a:cubicBezTo>
                  <a:cubicBezTo>
                    <a:pt x="17" y="441"/>
                    <a:pt x="17" y="441"/>
                    <a:pt x="17" y="441"/>
                  </a:cubicBezTo>
                  <a:cubicBezTo>
                    <a:pt x="10" y="455"/>
                    <a:pt x="10" y="455"/>
                    <a:pt x="10" y="455"/>
                  </a:cubicBezTo>
                  <a:cubicBezTo>
                    <a:pt x="10" y="457"/>
                    <a:pt x="10" y="457"/>
                    <a:pt x="10" y="457"/>
                  </a:cubicBezTo>
                  <a:cubicBezTo>
                    <a:pt x="11" y="458"/>
                    <a:pt x="11" y="458"/>
                    <a:pt x="11" y="458"/>
                  </a:cubicBezTo>
                  <a:cubicBezTo>
                    <a:pt x="19" y="464"/>
                    <a:pt x="19" y="464"/>
                    <a:pt x="19" y="464"/>
                  </a:cubicBezTo>
                  <a:cubicBezTo>
                    <a:pt x="20" y="464"/>
                    <a:pt x="20" y="464"/>
                    <a:pt x="20" y="464"/>
                  </a:cubicBezTo>
                  <a:cubicBezTo>
                    <a:pt x="33" y="466"/>
                    <a:pt x="33" y="466"/>
                    <a:pt x="33" y="466"/>
                  </a:cubicBezTo>
                  <a:cubicBezTo>
                    <a:pt x="43" y="467"/>
                    <a:pt x="43" y="467"/>
                    <a:pt x="43" y="467"/>
                  </a:cubicBezTo>
                  <a:cubicBezTo>
                    <a:pt x="59" y="468"/>
                    <a:pt x="59" y="468"/>
                    <a:pt x="59" y="468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75" y="449"/>
                    <a:pt x="75" y="449"/>
                    <a:pt x="75" y="449"/>
                  </a:cubicBezTo>
                  <a:cubicBezTo>
                    <a:pt x="76" y="449"/>
                    <a:pt x="76" y="449"/>
                    <a:pt x="76" y="449"/>
                  </a:cubicBezTo>
                  <a:cubicBezTo>
                    <a:pt x="76" y="448"/>
                    <a:pt x="76" y="448"/>
                    <a:pt x="76" y="448"/>
                  </a:cubicBezTo>
                  <a:cubicBezTo>
                    <a:pt x="76" y="447"/>
                    <a:pt x="76" y="447"/>
                    <a:pt x="76" y="447"/>
                  </a:cubicBezTo>
                  <a:lnTo>
                    <a:pt x="75" y="447"/>
                  </a:lnTo>
                  <a:close/>
                  <a:moveTo>
                    <a:pt x="55" y="470"/>
                  </a:moveTo>
                  <a:cubicBezTo>
                    <a:pt x="54" y="469"/>
                    <a:pt x="54" y="469"/>
                    <a:pt x="54" y="469"/>
                  </a:cubicBezTo>
                  <a:cubicBezTo>
                    <a:pt x="52" y="469"/>
                    <a:pt x="52" y="469"/>
                    <a:pt x="52" y="469"/>
                  </a:cubicBezTo>
                  <a:cubicBezTo>
                    <a:pt x="51" y="470"/>
                    <a:pt x="51" y="470"/>
                    <a:pt x="51" y="470"/>
                  </a:cubicBezTo>
                  <a:cubicBezTo>
                    <a:pt x="50" y="471"/>
                    <a:pt x="50" y="471"/>
                    <a:pt x="50" y="471"/>
                  </a:cubicBezTo>
                  <a:cubicBezTo>
                    <a:pt x="47" y="475"/>
                    <a:pt x="47" y="475"/>
                    <a:pt x="47" y="475"/>
                  </a:cubicBezTo>
                  <a:cubicBezTo>
                    <a:pt x="47" y="476"/>
                    <a:pt x="47" y="476"/>
                    <a:pt x="47" y="476"/>
                  </a:cubicBezTo>
                  <a:cubicBezTo>
                    <a:pt x="47" y="477"/>
                    <a:pt x="47" y="477"/>
                    <a:pt x="47" y="477"/>
                  </a:cubicBezTo>
                  <a:cubicBezTo>
                    <a:pt x="47" y="478"/>
                    <a:pt x="47" y="478"/>
                    <a:pt x="47" y="478"/>
                  </a:cubicBezTo>
                  <a:cubicBezTo>
                    <a:pt x="48" y="479"/>
                    <a:pt x="48" y="479"/>
                    <a:pt x="48" y="479"/>
                  </a:cubicBezTo>
                  <a:cubicBezTo>
                    <a:pt x="49" y="479"/>
                    <a:pt x="49" y="479"/>
                    <a:pt x="49" y="479"/>
                  </a:cubicBezTo>
                  <a:cubicBezTo>
                    <a:pt x="51" y="479"/>
                    <a:pt x="51" y="479"/>
                    <a:pt x="51" y="479"/>
                  </a:cubicBezTo>
                  <a:cubicBezTo>
                    <a:pt x="54" y="477"/>
                    <a:pt x="54" y="477"/>
                    <a:pt x="54" y="477"/>
                  </a:cubicBezTo>
                  <a:cubicBezTo>
                    <a:pt x="55" y="471"/>
                    <a:pt x="55" y="471"/>
                    <a:pt x="55" y="471"/>
                  </a:cubicBezTo>
                  <a:lnTo>
                    <a:pt x="55" y="470"/>
                  </a:lnTo>
                  <a:close/>
                  <a:moveTo>
                    <a:pt x="122" y="517"/>
                  </a:moveTo>
                  <a:cubicBezTo>
                    <a:pt x="127" y="520"/>
                    <a:pt x="127" y="520"/>
                    <a:pt x="127" y="520"/>
                  </a:cubicBezTo>
                  <a:cubicBezTo>
                    <a:pt x="128" y="520"/>
                    <a:pt x="128" y="520"/>
                    <a:pt x="128" y="520"/>
                  </a:cubicBezTo>
                  <a:cubicBezTo>
                    <a:pt x="138" y="524"/>
                    <a:pt x="138" y="524"/>
                    <a:pt x="138" y="524"/>
                  </a:cubicBezTo>
                  <a:cubicBezTo>
                    <a:pt x="142" y="521"/>
                    <a:pt x="142" y="521"/>
                    <a:pt x="142" y="521"/>
                  </a:cubicBezTo>
                  <a:cubicBezTo>
                    <a:pt x="142" y="520"/>
                    <a:pt x="142" y="520"/>
                    <a:pt x="142" y="520"/>
                  </a:cubicBezTo>
                  <a:cubicBezTo>
                    <a:pt x="141" y="515"/>
                    <a:pt x="141" y="515"/>
                    <a:pt x="141" y="515"/>
                  </a:cubicBezTo>
                  <a:cubicBezTo>
                    <a:pt x="141" y="514"/>
                    <a:pt x="141" y="514"/>
                    <a:pt x="141" y="514"/>
                  </a:cubicBezTo>
                  <a:cubicBezTo>
                    <a:pt x="142" y="512"/>
                    <a:pt x="142" y="512"/>
                    <a:pt x="142" y="512"/>
                  </a:cubicBezTo>
                  <a:cubicBezTo>
                    <a:pt x="146" y="511"/>
                    <a:pt x="146" y="511"/>
                    <a:pt x="146" y="511"/>
                  </a:cubicBezTo>
                  <a:cubicBezTo>
                    <a:pt x="152" y="510"/>
                    <a:pt x="152" y="510"/>
                    <a:pt x="152" y="510"/>
                  </a:cubicBezTo>
                  <a:cubicBezTo>
                    <a:pt x="153" y="510"/>
                    <a:pt x="153" y="510"/>
                    <a:pt x="153" y="510"/>
                  </a:cubicBezTo>
                  <a:cubicBezTo>
                    <a:pt x="164" y="523"/>
                    <a:pt x="164" y="523"/>
                    <a:pt x="164" y="523"/>
                  </a:cubicBezTo>
                  <a:cubicBezTo>
                    <a:pt x="173" y="534"/>
                    <a:pt x="173" y="534"/>
                    <a:pt x="173" y="534"/>
                  </a:cubicBezTo>
                  <a:cubicBezTo>
                    <a:pt x="167" y="529"/>
                    <a:pt x="167" y="529"/>
                    <a:pt x="167" y="529"/>
                  </a:cubicBezTo>
                  <a:cubicBezTo>
                    <a:pt x="166" y="528"/>
                    <a:pt x="166" y="528"/>
                    <a:pt x="166" y="528"/>
                  </a:cubicBezTo>
                  <a:cubicBezTo>
                    <a:pt x="162" y="526"/>
                    <a:pt x="162" y="526"/>
                    <a:pt x="162" y="526"/>
                  </a:cubicBezTo>
                  <a:cubicBezTo>
                    <a:pt x="161" y="526"/>
                    <a:pt x="161" y="526"/>
                    <a:pt x="161" y="526"/>
                  </a:cubicBezTo>
                  <a:cubicBezTo>
                    <a:pt x="160" y="526"/>
                    <a:pt x="160" y="526"/>
                    <a:pt x="160" y="526"/>
                  </a:cubicBezTo>
                  <a:cubicBezTo>
                    <a:pt x="156" y="530"/>
                    <a:pt x="156" y="530"/>
                    <a:pt x="156" y="53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3" y="534"/>
                    <a:pt x="153" y="534"/>
                    <a:pt x="153" y="534"/>
                  </a:cubicBezTo>
                  <a:cubicBezTo>
                    <a:pt x="153" y="536"/>
                    <a:pt x="153" y="536"/>
                    <a:pt x="153" y="536"/>
                  </a:cubicBezTo>
                  <a:cubicBezTo>
                    <a:pt x="153" y="537"/>
                    <a:pt x="153" y="537"/>
                    <a:pt x="153" y="537"/>
                  </a:cubicBezTo>
                  <a:cubicBezTo>
                    <a:pt x="175" y="570"/>
                    <a:pt x="175" y="570"/>
                    <a:pt x="175" y="570"/>
                  </a:cubicBezTo>
                  <a:cubicBezTo>
                    <a:pt x="176" y="570"/>
                    <a:pt x="176" y="570"/>
                    <a:pt x="176" y="570"/>
                  </a:cubicBezTo>
                  <a:cubicBezTo>
                    <a:pt x="195" y="567"/>
                    <a:pt x="195" y="567"/>
                    <a:pt x="195" y="567"/>
                  </a:cubicBezTo>
                  <a:cubicBezTo>
                    <a:pt x="216" y="565"/>
                    <a:pt x="216" y="565"/>
                    <a:pt x="216" y="565"/>
                  </a:cubicBezTo>
                  <a:cubicBezTo>
                    <a:pt x="223" y="568"/>
                    <a:pt x="223" y="568"/>
                    <a:pt x="223" y="568"/>
                  </a:cubicBezTo>
                  <a:cubicBezTo>
                    <a:pt x="228" y="572"/>
                    <a:pt x="228" y="572"/>
                    <a:pt x="228" y="572"/>
                  </a:cubicBezTo>
                  <a:cubicBezTo>
                    <a:pt x="219" y="580"/>
                    <a:pt x="219" y="580"/>
                    <a:pt x="219" y="580"/>
                  </a:cubicBezTo>
                  <a:cubicBezTo>
                    <a:pt x="218" y="582"/>
                    <a:pt x="218" y="582"/>
                    <a:pt x="218" y="582"/>
                  </a:cubicBezTo>
                  <a:cubicBezTo>
                    <a:pt x="217" y="582"/>
                    <a:pt x="217" y="582"/>
                    <a:pt x="217" y="582"/>
                  </a:cubicBezTo>
                  <a:cubicBezTo>
                    <a:pt x="213" y="598"/>
                    <a:pt x="213" y="598"/>
                    <a:pt x="213" y="598"/>
                  </a:cubicBezTo>
                  <a:cubicBezTo>
                    <a:pt x="213" y="600"/>
                    <a:pt x="213" y="600"/>
                    <a:pt x="213" y="600"/>
                  </a:cubicBezTo>
                  <a:cubicBezTo>
                    <a:pt x="215" y="607"/>
                    <a:pt x="215" y="607"/>
                    <a:pt x="215" y="607"/>
                  </a:cubicBezTo>
                  <a:cubicBezTo>
                    <a:pt x="216" y="607"/>
                    <a:pt x="216" y="607"/>
                    <a:pt x="216" y="607"/>
                  </a:cubicBezTo>
                  <a:cubicBezTo>
                    <a:pt x="217" y="607"/>
                    <a:pt x="217" y="607"/>
                    <a:pt x="217" y="607"/>
                  </a:cubicBezTo>
                  <a:cubicBezTo>
                    <a:pt x="218" y="607"/>
                    <a:pt x="218" y="607"/>
                    <a:pt x="218" y="607"/>
                  </a:cubicBezTo>
                  <a:cubicBezTo>
                    <a:pt x="230" y="601"/>
                    <a:pt x="230" y="601"/>
                    <a:pt x="230" y="601"/>
                  </a:cubicBezTo>
                  <a:cubicBezTo>
                    <a:pt x="247" y="581"/>
                    <a:pt x="247" y="581"/>
                    <a:pt x="247" y="581"/>
                  </a:cubicBezTo>
                  <a:cubicBezTo>
                    <a:pt x="248" y="577"/>
                    <a:pt x="248" y="577"/>
                    <a:pt x="248" y="577"/>
                  </a:cubicBezTo>
                  <a:cubicBezTo>
                    <a:pt x="248" y="576"/>
                    <a:pt x="248" y="576"/>
                    <a:pt x="248" y="576"/>
                  </a:cubicBezTo>
                  <a:cubicBezTo>
                    <a:pt x="248" y="570"/>
                    <a:pt x="248" y="570"/>
                    <a:pt x="248" y="570"/>
                  </a:cubicBezTo>
                  <a:cubicBezTo>
                    <a:pt x="248" y="568"/>
                    <a:pt x="248" y="568"/>
                    <a:pt x="248" y="568"/>
                  </a:cubicBezTo>
                  <a:cubicBezTo>
                    <a:pt x="252" y="569"/>
                    <a:pt x="252" y="569"/>
                    <a:pt x="252" y="569"/>
                  </a:cubicBezTo>
                  <a:cubicBezTo>
                    <a:pt x="254" y="569"/>
                    <a:pt x="254" y="569"/>
                    <a:pt x="254" y="569"/>
                  </a:cubicBezTo>
                  <a:cubicBezTo>
                    <a:pt x="258" y="566"/>
                    <a:pt x="258" y="566"/>
                    <a:pt x="258" y="566"/>
                  </a:cubicBezTo>
                  <a:cubicBezTo>
                    <a:pt x="265" y="561"/>
                    <a:pt x="265" y="561"/>
                    <a:pt x="265" y="561"/>
                  </a:cubicBezTo>
                  <a:cubicBezTo>
                    <a:pt x="266" y="559"/>
                    <a:pt x="266" y="559"/>
                    <a:pt x="266" y="559"/>
                  </a:cubicBezTo>
                  <a:cubicBezTo>
                    <a:pt x="266" y="558"/>
                    <a:pt x="266" y="558"/>
                    <a:pt x="266" y="558"/>
                  </a:cubicBezTo>
                  <a:cubicBezTo>
                    <a:pt x="268" y="548"/>
                    <a:pt x="268" y="548"/>
                    <a:pt x="268" y="548"/>
                  </a:cubicBezTo>
                  <a:cubicBezTo>
                    <a:pt x="268" y="547"/>
                    <a:pt x="268" y="547"/>
                    <a:pt x="268" y="547"/>
                  </a:cubicBezTo>
                  <a:cubicBezTo>
                    <a:pt x="267" y="545"/>
                    <a:pt x="267" y="545"/>
                    <a:pt x="267" y="545"/>
                  </a:cubicBezTo>
                  <a:cubicBezTo>
                    <a:pt x="257" y="542"/>
                    <a:pt x="257" y="542"/>
                    <a:pt x="257" y="542"/>
                  </a:cubicBezTo>
                  <a:cubicBezTo>
                    <a:pt x="256" y="542"/>
                    <a:pt x="256" y="542"/>
                    <a:pt x="256" y="542"/>
                  </a:cubicBezTo>
                  <a:cubicBezTo>
                    <a:pt x="252" y="543"/>
                    <a:pt x="252" y="543"/>
                    <a:pt x="252" y="543"/>
                  </a:cubicBezTo>
                  <a:cubicBezTo>
                    <a:pt x="251" y="543"/>
                    <a:pt x="251" y="543"/>
                    <a:pt x="251" y="543"/>
                  </a:cubicBezTo>
                  <a:cubicBezTo>
                    <a:pt x="244" y="548"/>
                    <a:pt x="244" y="548"/>
                    <a:pt x="244" y="548"/>
                  </a:cubicBezTo>
                  <a:cubicBezTo>
                    <a:pt x="237" y="551"/>
                    <a:pt x="237" y="551"/>
                    <a:pt x="237" y="551"/>
                  </a:cubicBezTo>
                  <a:cubicBezTo>
                    <a:pt x="235" y="551"/>
                    <a:pt x="235" y="551"/>
                    <a:pt x="235" y="551"/>
                  </a:cubicBezTo>
                  <a:cubicBezTo>
                    <a:pt x="233" y="550"/>
                    <a:pt x="233" y="550"/>
                    <a:pt x="233" y="550"/>
                  </a:cubicBezTo>
                  <a:cubicBezTo>
                    <a:pt x="220" y="542"/>
                    <a:pt x="220" y="542"/>
                    <a:pt x="220" y="542"/>
                  </a:cubicBezTo>
                  <a:cubicBezTo>
                    <a:pt x="215" y="540"/>
                    <a:pt x="215" y="540"/>
                    <a:pt x="215" y="540"/>
                  </a:cubicBezTo>
                  <a:cubicBezTo>
                    <a:pt x="207" y="531"/>
                    <a:pt x="207" y="531"/>
                    <a:pt x="207" y="531"/>
                  </a:cubicBezTo>
                  <a:cubicBezTo>
                    <a:pt x="200" y="519"/>
                    <a:pt x="200" y="519"/>
                    <a:pt x="200" y="519"/>
                  </a:cubicBezTo>
                  <a:cubicBezTo>
                    <a:pt x="200" y="518"/>
                    <a:pt x="200" y="518"/>
                    <a:pt x="200" y="518"/>
                  </a:cubicBezTo>
                  <a:cubicBezTo>
                    <a:pt x="199" y="510"/>
                    <a:pt x="199" y="510"/>
                    <a:pt x="199" y="510"/>
                  </a:cubicBezTo>
                  <a:cubicBezTo>
                    <a:pt x="200" y="504"/>
                    <a:pt x="200" y="504"/>
                    <a:pt x="200" y="504"/>
                  </a:cubicBezTo>
                  <a:cubicBezTo>
                    <a:pt x="201" y="478"/>
                    <a:pt x="201" y="478"/>
                    <a:pt x="201" y="478"/>
                  </a:cubicBezTo>
                  <a:cubicBezTo>
                    <a:pt x="201" y="466"/>
                    <a:pt x="201" y="466"/>
                    <a:pt x="201" y="466"/>
                  </a:cubicBezTo>
                  <a:cubicBezTo>
                    <a:pt x="202" y="465"/>
                    <a:pt x="202" y="465"/>
                    <a:pt x="202" y="465"/>
                  </a:cubicBezTo>
                  <a:cubicBezTo>
                    <a:pt x="201" y="464"/>
                    <a:pt x="201" y="464"/>
                    <a:pt x="201" y="464"/>
                  </a:cubicBezTo>
                  <a:cubicBezTo>
                    <a:pt x="198" y="457"/>
                    <a:pt x="198" y="457"/>
                    <a:pt x="198" y="457"/>
                  </a:cubicBezTo>
                  <a:cubicBezTo>
                    <a:pt x="189" y="444"/>
                    <a:pt x="189" y="444"/>
                    <a:pt x="189" y="444"/>
                  </a:cubicBezTo>
                  <a:cubicBezTo>
                    <a:pt x="188" y="443"/>
                    <a:pt x="188" y="443"/>
                    <a:pt x="188" y="443"/>
                  </a:cubicBezTo>
                  <a:cubicBezTo>
                    <a:pt x="180" y="435"/>
                    <a:pt x="180" y="435"/>
                    <a:pt x="180" y="435"/>
                  </a:cubicBezTo>
                  <a:cubicBezTo>
                    <a:pt x="179" y="434"/>
                    <a:pt x="179" y="434"/>
                    <a:pt x="179" y="434"/>
                  </a:cubicBezTo>
                  <a:cubicBezTo>
                    <a:pt x="173" y="433"/>
                    <a:pt x="173" y="433"/>
                    <a:pt x="173" y="433"/>
                  </a:cubicBezTo>
                  <a:cubicBezTo>
                    <a:pt x="171" y="434"/>
                    <a:pt x="171" y="434"/>
                    <a:pt x="171" y="434"/>
                  </a:cubicBezTo>
                  <a:cubicBezTo>
                    <a:pt x="163" y="449"/>
                    <a:pt x="163" y="449"/>
                    <a:pt x="163" y="449"/>
                  </a:cubicBezTo>
                  <a:cubicBezTo>
                    <a:pt x="163" y="449"/>
                    <a:pt x="163" y="449"/>
                    <a:pt x="163" y="449"/>
                  </a:cubicBezTo>
                  <a:cubicBezTo>
                    <a:pt x="166" y="469"/>
                    <a:pt x="166" y="469"/>
                    <a:pt x="166" y="469"/>
                  </a:cubicBezTo>
                  <a:cubicBezTo>
                    <a:pt x="166" y="471"/>
                    <a:pt x="166" y="471"/>
                    <a:pt x="166" y="471"/>
                  </a:cubicBezTo>
                  <a:cubicBezTo>
                    <a:pt x="168" y="477"/>
                    <a:pt x="168" y="477"/>
                    <a:pt x="168" y="477"/>
                  </a:cubicBezTo>
                  <a:cubicBezTo>
                    <a:pt x="162" y="488"/>
                    <a:pt x="162" y="488"/>
                    <a:pt x="162" y="488"/>
                  </a:cubicBezTo>
                  <a:cubicBezTo>
                    <a:pt x="161" y="490"/>
                    <a:pt x="161" y="490"/>
                    <a:pt x="161" y="490"/>
                  </a:cubicBezTo>
                  <a:cubicBezTo>
                    <a:pt x="160" y="489"/>
                    <a:pt x="160" y="489"/>
                    <a:pt x="160" y="489"/>
                  </a:cubicBezTo>
                  <a:cubicBezTo>
                    <a:pt x="145" y="472"/>
                    <a:pt x="145" y="472"/>
                    <a:pt x="145" y="472"/>
                  </a:cubicBezTo>
                  <a:cubicBezTo>
                    <a:pt x="142" y="466"/>
                    <a:pt x="142" y="466"/>
                    <a:pt x="142" y="466"/>
                  </a:cubicBezTo>
                  <a:cubicBezTo>
                    <a:pt x="141" y="463"/>
                    <a:pt x="141" y="463"/>
                    <a:pt x="141" y="463"/>
                  </a:cubicBezTo>
                  <a:cubicBezTo>
                    <a:pt x="140" y="461"/>
                    <a:pt x="140" y="461"/>
                    <a:pt x="140" y="461"/>
                  </a:cubicBezTo>
                  <a:cubicBezTo>
                    <a:pt x="140" y="461"/>
                    <a:pt x="140" y="461"/>
                    <a:pt x="140" y="461"/>
                  </a:cubicBezTo>
                  <a:cubicBezTo>
                    <a:pt x="136" y="457"/>
                    <a:pt x="136" y="457"/>
                    <a:pt x="136" y="457"/>
                  </a:cubicBezTo>
                  <a:cubicBezTo>
                    <a:pt x="135" y="457"/>
                    <a:pt x="135" y="457"/>
                    <a:pt x="135" y="457"/>
                  </a:cubicBezTo>
                  <a:cubicBezTo>
                    <a:pt x="135" y="457"/>
                    <a:pt x="135" y="457"/>
                    <a:pt x="135" y="457"/>
                  </a:cubicBezTo>
                  <a:cubicBezTo>
                    <a:pt x="134" y="457"/>
                    <a:pt x="134" y="457"/>
                    <a:pt x="134" y="457"/>
                  </a:cubicBezTo>
                  <a:cubicBezTo>
                    <a:pt x="134" y="458"/>
                    <a:pt x="134" y="458"/>
                    <a:pt x="134" y="458"/>
                  </a:cubicBezTo>
                  <a:cubicBezTo>
                    <a:pt x="134" y="459"/>
                    <a:pt x="134" y="459"/>
                    <a:pt x="134" y="459"/>
                  </a:cubicBezTo>
                  <a:cubicBezTo>
                    <a:pt x="135" y="485"/>
                    <a:pt x="135" y="485"/>
                    <a:pt x="135" y="485"/>
                  </a:cubicBezTo>
                  <a:cubicBezTo>
                    <a:pt x="123" y="482"/>
                    <a:pt x="123" y="482"/>
                    <a:pt x="123" y="482"/>
                  </a:cubicBezTo>
                  <a:cubicBezTo>
                    <a:pt x="122" y="482"/>
                    <a:pt x="122" y="482"/>
                    <a:pt x="122" y="482"/>
                  </a:cubicBezTo>
                  <a:cubicBezTo>
                    <a:pt x="120" y="483"/>
                    <a:pt x="120" y="483"/>
                    <a:pt x="120" y="483"/>
                  </a:cubicBezTo>
                  <a:cubicBezTo>
                    <a:pt x="118" y="484"/>
                    <a:pt x="118" y="484"/>
                    <a:pt x="118" y="484"/>
                  </a:cubicBezTo>
                  <a:cubicBezTo>
                    <a:pt x="118" y="485"/>
                    <a:pt x="118" y="485"/>
                    <a:pt x="118" y="485"/>
                  </a:cubicBezTo>
                  <a:cubicBezTo>
                    <a:pt x="117" y="486"/>
                    <a:pt x="117" y="486"/>
                    <a:pt x="117" y="486"/>
                  </a:cubicBezTo>
                  <a:cubicBezTo>
                    <a:pt x="112" y="495"/>
                    <a:pt x="112" y="495"/>
                    <a:pt x="112" y="495"/>
                  </a:cubicBezTo>
                  <a:cubicBezTo>
                    <a:pt x="112" y="499"/>
                    <a:pt x="112" y="499"/>
                    <a:pt x="112" y="499"/>
                  </a:cubicBezTo>
                  <a:cubicBezTo>
                    <a:pt x="112" y="501"/>
                    <a:pt x="112" y="501"/>
                    <a:pt x="112" y="501"/>
                  </a:cubicBezTo>
                  <a:cubicBezTo>
                    <a:pt x="112" y="502"/>
                    <a:pt x="112" y="502"/>
                    <a:pt x="112" y="502"/>
                  </a:cubicBezTo>
                  <a:cubicBezTo>
                    <a:pt x="119" y="513"/>
                    <a:pt x="119" y="513"/>
                    <a:pt x="119" y="513"/>
                  </a:cubicBezTo>
                  <a:cubicBezTo>
                    <a:pt x="121" y="516"/>
                    <a:pt x="121" y="516"/>
                    <a:pt x="121" y="516"/>
                  </a:cubicBezTo>
                  <a:lnTo>
                    <a:pt x="122" y="517"/>
                  </a:lnTo>
                  <a:close/>
                  <a:moveTo>
                    <a:pt x="44" y="512"/>
                  </a:moveTo>
                  <a:cubicBezTo>
                    <a:pt x="35" y="507"/>
                    <a:pt x="35" y="507"/>
                    <a:pt x="35" y="507"/>
                  </a:cubicBezTo>
                  <a:cubicBezTo>
                    <a:pt x="29" y="510"/>
                    <a:pt x="29" y="510"/>
                    <a:pt x="29" y="510"/>
                  </a:cubicBezTo>
                  <a:cubicBezTo>
                    <a:pt x="36" y="516"/>
                    <a:pt x="36" y="516"/>
                    <a:pt x="36" y="516"/>
                  </a:cubicBezTo>
                  <a:cubicBezTo>
                    <a:pt x="43" y="523"/>
                    <a:pt x="43" y="523"/>
                    <a:pt x="43" y="523"/>
                  </a:cubicBezTo>
                  <a:cubicBezTo>
                    <a:pt x="45" y="523"/>
                    <a:pt x="45" y="523"/>
                    <a:pt x="45" y="523"/>
                  </a:cubicBezTo>
                  <a:cubicBezTo>
                    <a:pt x="48" y="522"/>
                    <a:pt x="48" y="522"/>
                    <a:pt x="48" y="522"/>
                  </a:cubicBezTo>
                  <a:cubicBezTo>
                    <a:pt x="48" y="521"/>
                    <a:pt x="48" y="521"/>
                    <a:pt x="48" y="521"/>
                  </a:cubicBezTo>
                  <a:cubicBezTo>
                    <a:pt x="48" y="521"/>
                    <a:pt x="48" y="521"/>
                    <a:pt x="48" y="521"/>
                  </a:cubicBezTo>
                  <a:cubicBezTo>
                    <a:pt x="45" y="513"/>
                    <a:pt x="45" y="513"/>
                    <a:pt x="45" y="513"/>
                  </a:cubicBezTo>
                  <a:lnTo>
                    <a:pt x="44" y="512"/>
                  </a:lnTo>
                  <a:close/>
                  <a:moveTo>
                    <a:pt x="64" y="470"/>
                  </a:moveTo>
                  <a:cubicBezTo>
                    <a:pt x="64" y="469"/>
                    <a:pt x="64" y="469"/>
                    <a:pt x="64" y="469"/>
                  </a:cubicBezTo>
                  <a:cubicBezTo>
                    <a:pt x="63" y="469"/>
                    <a:pt x="63" y="469"/>
                    <a:pt x="63" y="469"/>
                  </a:cubicBezTo>
                  <a:cubicBezTo>
                    <a:pt x="62" y="470"/>
                    <a:pt x="62" y="470"/>
                    <a:pt x="62" y="470"/>
                  </a:cubicBezTo>
                  <a:cubicBezTo>
                    <a:pt x="56" y="474"/>
                    <a:pt x="56" y="474"/>
                    <a:pt x="56" y="474"/>
                  </a:cubicBezTo>
                  <a:cubicBezTo>
                    <a:pt x="55" y="474"/>
                    <a:pt x="55" y="474"/>
                    <a:pt x="55" y="474"/>
                  </a:cubicBezTo>
                  <a:cubicBezTo>
                    <a:pt x="55" y="475"/>
                    <a:pt x="55" y="475"/>
                    <a:pt x="55" y="475"/>
                  </a:cubicBezTo>
                  <a:cubicBezTo>
                    <a:pt x="55" y="476"/>
                    <a:pt x="55" y="476"/>
                    <a:pt x="55" y="476"/>
                  </a:cubicBezTo>
                  <a:cubicBezTo>
                    <a:pt x="57" y="478"/>
                    <a:pt x="57" y="478"/>
                    <a:pt x="57" y="478"/>
                  </a:cubicBezTo>
                  <a:cubicBezTo>
                    <a:pt x="60" y="480"/>
                    <a:pt x="60" y="480"/>
                    <a:pt x="60" y="480"/>
                  </a:cubicBezTo>
                  <a:cubicBezTo>
                    <a:pt x="60" y="480"/>
                    <a:pt x="60" y="480"/>
                    <a:pt x="60" y="480"/>
                  </a:cubicBezTo>
                  <a:cubicBezTo>
                    <a:pt x="62" y="478"/>
                    <a:pt x="62" y="478"/>
                    <a:pt x="62" y="478"/>
                  </a:cubicBezTo>
                  <a:cubicBezTo>
                    <a:pt x="65" y="474"/>
                    <a:pt x="65" y="474"/>
                    <a:pt x="65" y="474"/>
                  </a:cubicBezTo>
                  <a:cubicBezTo>
                    <a:pt x="65" y="471"/>
                    <a:pt x="65" y="471"/>
                    <a:pt x="65" y="471"/>
                  </a:cubicBezTo>
                  <a:lnTo>
                    <a:pt x="64" y="470"/>
                  </a:lnTo>
                  <a:close/>
                  <a:moveTo>
                    <a:pt x="193" y="831"/>
                  </a:moveTo>
                  <a:cubicBezTo>
                    <a:pt x="181" y="841"/>
                    <a:pt x="181" y="841"/>
                    <a:pt x="181" y="841"/>
                  </a:cubicBezTo>
                  <a:cubicBezTo>
                    <a:pt x="179" y="843"/>
                    <a:pt x="179" y="843"/>
                    <a:pt x="179" y="843"/>
                  </a:cubicBezTo>
                  <a:cubicBezTo>
                    <a:pt x="176" y="852"/>
                    <a:pt x="176" y="852"/>
                    <a:pt x="176" y="852"/>
                  </a:cubicBezTo>
                  <a:cubicBezTo>
                    <a:pt x="179" y="854"/>
                    <a:pt x="179" y="854"/>
                    <a:pt x="179" y="854"/>
                  </a:cubicBezTo>
                  <a:cubicBezTo>
                    <a:pt x="180" y="855"/>
                    <a:pt x="180" y="855"/>
                    <a:pt x="180" y="855"/>
                  </a:cubicBezTo>
                  <a:cubicBezTo>
                    <a:pt x="185" y="856"/>
                    <a:pt x="185" y="856"/>
                    <a:pt x="185" y="856"/>
                  </a:cubicBezTo>
                  <a:cubicBezTo>
                    <a:pt x="186" y="856"/>
                    <a:pt x="186" y="856"/>
                    <a:pt x="186" y="856"/>
                  </a:cubicBezTo>
                  <a:cubicBezTo>
                    <a:pt x="186" y="855"/>
                    <a:pt x="186" y="855"/>
                    <a:pt x="186" y="855"/>
                  </a:cubicBezTo>
                  <a:cubicBezTo>
                    <a:pt x="187" y="854"/>
                    <a:pt x="187" y="854"/>
                    <a:pt x="187" y="854"/>
                  </a:cubicBezTo>
                  <a:cubicBezTo>
                    <a:pt x="188" y="853"/>
                    <a:pt x="188" y="853"/>
                    <a:pt x="188" y="853"/>
                  </a:cubicBezTo>
                  <a:cubicBezTo>
                    <a:pt x="195" y="834"/>
                    <a:pt x="195" y="834"/>
                    <a:pt x="195" y="834"/>
                  </a:cubicBezTo>
                  <a:cubicBezTo>
                    <a:pt x="195" y="833"/>
                    <a:pt x="195" y="833"/>
                    <a:pt x="195" y="833"/>
                  </a:cubicBezTo>
                  <a:cubicBezTo>
                    <a:pt x="195" y="833"/>
                    <a:pt x="195" y="833"/>
                    <a:pt x="195" y="833"/>
                  </a:cubicBezTo>
                  <a:cubicBezTo>
                    <a:pt x="194" y="831"/>
                    <a:pt x="194" y="831"/>
                    <a:pt x="194" y="831"/>
                  </a:cubicBezTo>
                  <a:lnTo>
                    <a:pt x="193" y="831"/>
                  </a:lnTo>
                  <a:close/>
                  <a:moveTo>
                    <a:pt x="110" y="723"/>
                  </a:moveTo>
                  <a:cubicBezTo>
                    <a:pt x="84" y="729"/>
                    <a:pt x="84" y="729"/>
                    <a:pt x="84" y="729"/>
                  </a:cubicBezTo>
                  <a:cubicBezTo>
                    <a:pt x="79" y="733"/>
                    <a:pt x="79" y="733"/>
                    <a:pt x="79" y="733"/>
                  </a:cubicBezTo>
                  <a:cubicBezTo>
                    <a:pt x="78" y="734"/>
                    <a:pt x="78" y="734"/>
                    <a:pt x="78" y="734"/>
                  </a:cubicBezTo>
                  <a:cubicBezTo>
                    <a:pt x="78" y="736"/>
                    <a:pt x="78" y="736"/>
                    <a:pt x="78" y="736"/>
                  </a:cubicBezTo>
                  <a:cubicBezTo>
                    <a:pt x="79" y="744"/>
                    <a:pt x="79" y="744"/>
                    <a:pt x="79" y="744"/>
                  </a:cubicBezTo>
                  <a:cubicBezTo>
                    <a:pt x="81" y="746"/>
                    <a:pt x="81" y="746"/>
                    <a:pt x="81" y="746"/>
                  </a:cubicBezTo>
                  <a:cubicBezTo>
                    <a:pt x="86" y="749"/>
                    <a:pt x="86" y="749"/>
                    <a:pt x="86" y="749"/>
                  </a:cubicBezTo>
                  <a:cubicBezTo>
                    <a:pt x="86" y="749"/>
                    <a:pt x="86" y="749"/>
                    <a:pt x="86" y="749"/>
                  </a:cubicBezTo>
                  <a:cubicBezTo>
                    <a:pt x="89" y="749"/>
                    <a:pt x="89" y="749"/>
                    <a:pt x="89" y="749"/>
                  </a:cubicBezTo>
                  <a:cubicBezTo>
                    <a:pt x="89" y="749"/>
                    <a:pt x="89" y="749"/>
                    <a:pt x="89" y="749"/>
                  </a:cubicBezTo>
                  <a:cubicBezTo>
                    <a:pt x="114" y="731"/>
                    <a:pt x="114" y="731"/>
                    <a:pt x="114" y="731"/>
                  </a:cubicBezTo>
                  <a:cubicBezTo>
                    <a:pt x="116" y="727"/>
                    <a:pt x="116" y="727"/>
                    <a:pt x="116" y="727"/>
                  </a:cubicBezTo>
                  <a:cubicBezTo>
                    <a:pt x="113" y="725"/>
                    <a:pt x="113" y="725"/>
                    <a:pt x="113" y="725"/>
                  </a:cubicBezTo>
                  <a:lnTo>
                    <a:pt x="110" y="723"/>
                  </a:lnTo>
                  <a:close/>
                  <a:moveTo>
                    <a:pt x="340" y="921"/>
                  </a:moveTo>
                  <a:cubicBezTo>
                    <a:pt x="351" y="933"/>
                    <a:pt x="351" y="933"/>
                    <a:pt x="351" y="933"/>
                  </a:cubicBezTo>
                  <a:cubicBezTo>
                    <a:pt x="352" y="934"/>
                    <a:pt x="352" y="934"/>
                    <a:pt x="352" y="934"/>
                  </a:cubicBezTo>
                  <a:cubicBezTo>
                    <a:pt x="352" y="934"/>
                    <a:pt x="352" y="934"/>
                    <a:pt x="352" y="934"/>
                  </a:cubicBezTo>
                  <a:cubicBezTo>
                    <a:pt x="353" y="935"/>
                    <a:pt x="353" y="935"/>
                    <a:pt x="353" y="935"/>
                  </a:cubicBezTo>
                  <a:cubicBezTo>
                    <a:pt x="355" y="935"/>
                    <a:pt x="355" y="935"/>
                    <a:pt x="355" y="935"/>
                  </a:cubicBezTo>
                  <a:cubicBezTo>
                    <a:pt x="356" y="932"/>
                    <a:pt x="356" y="932"/>
                    <a:pt x="356" y="932"/>
                  </a:cubicBezTo>
                  <a:cubicBezTo>
                    <a:pt x="356" y="921"/>
                    <a:pt x="356" y="921"/>
                    <a:pt x="356" y="921"/>
                  </a:cubicBezTo>
                  <a:cubicBezTo>
                    <a:pt x="354" y="913"/>
                    <a:pt x="354" y="913"/>
                    <a:pt x="354" y="913"/>
                  </a:cubicBezTo>
                  <a:cubicBezTo>
                    <a:pt x="353" y="911"/>
                    <a:pt x="353" y="911"/>
                    <a:pt x="353" y="911"/>
                  </a:cubicBezTo>
                  <a:cubicBezTo>
                    <a:pt x="351" y="905"/>
                    <a:pt x="351" y="905"/>
                    <a:pt x="351" y="905"/>
                  </a:cubicBezTo>
                  <a:cubicBezTo>
                    <a:pt x="346" y="896"/>
                    <a:pt x="346" y="896"/>
                    <a:pt x="346" y="896"/>
                  </a:cubicBezTo>
                  <a:cubicBezTo>
                    <a:pt x="343" y="894"/>
                    <a:pt x="343" y="894"/>
                    <a:pt x="343" y="894"/>
                  </a:cubicBezTo>
                  <a:cubicBezTo>
                    <a:pt x="333" y="885"/>
                    <a:pt x="333" y="885"/>
                    <a:pt x="333" y="885"/>
                  </a:cubicBezTo>
                  <a:cubicBezTo>
                    <a:pt x="332" y="885"/>
                    <a:pt x="332" y="885"/>
                    <a:pt x="332" y="885"/>
                  </a:cubicBezTo>
                  <a:cubicBezTo>
                    <a:pt x="331" y="885"/>
                    <a:pt x="331" y="885"/>
                    <a:pt x="331" y="885"/>
                  </a:cubicBezTo>
                  <a:cubicBezTo>
                    <a:pt x="328" y="890"/>
                    <a:pt x="328" y="890"/>
                    <a:pt x="328" y="890"/>
                  </a:cubicBezTo>
                  <a:cubicBezTo>
                    <a:pt x="328" y="892"/>
                    <a:pt x="328" y="892"/>
                    <a:pt x="328" y="892"/>
                  </a:cubicBezTo>
                  <a:cubicBezTo>
                    <a:pt x="329" y="896"/>
                    <a:pt x="329" y="896"/>
                    <a:pt x="329" y="896"/>
                  </a:cubicBezTo>
                  <a:cubicBezTo>
                    <a:pt x="339" y="920"/>
                    <a:pt x="339" y="920"/>
                    <a:pt x="339" y="920"/>
                  </a:cubicBezTo>
                  <a:lnTo>
                    <a:pt x="340" y="921"/>
                  </a:lnTo>
                  <a:close/>
                  <a:moveTo>
                    <a:pt x="27" y="489"/>
                  </a:moveTo>
                  <a:cubicBezTo>
                    <a:pt x="26" y="489"/>
                    <a:pt x="26" y="489"/>
                    <a:pt x="26" y="489"/>
                  </a:cubicBezTo>
                  <a:cubicBezTo>
                    <a:pt x="26" y="490"/>
                    <a:pt x="26" y="490"/>
                    <a:pt x="26" y="490"/>
                  </a:cubicBezTo>
                  <a:cubicBezTo>
                    <a:pt x="27" y="494"/>
                    <a:pt x="27" y="494"/>
                    <a:pt x="27" y="494"/>
                  </a:cubicBezTo>
                  <a:cubicBezTo>
                    <a:pt x="29" y="499"/>
                    <a:pt x="29" y="499"/>
                    <a:pt x="29" y="499"/>
                  </a:cubicBezTo>
                  <a:cubicBezTo>
                    <a:pt x="30" y="500"/>
                    <a:pt x="30" y="500"/>
                    <a:pt x="30" y="500"/>
                  </a:cubicBezTo>
                  <a:cubicBezTo>
                    <a:pt x="37" y="505"/>
                    <a:pt x="37" y="505"/>
                    <a:pt x="37" y="505"/>
                  </a:cubicBezTo>
                  <a:cubicBezTo>
                    <a:pt x="38" y="505"/>
                    <a:pt x="38" y="505"/>
                    <a:pt x="38" y="505"/>
                  </a:cubicBezTo>
                  <a:cubicBezTo>
                    <a:pt x="39" y="506"/>
                    <a:pt x="39" y="506"/>
                    <a:pt x="39" y="506"/>
                  </a:cubicBezTo>
                  <a:cubicBezTo>
                    <a:pt x="40" y="506"/>
                    <a:pt x="40" y="506"/>
                    <a:pt x="40" y="506"/>
                  </a:cubicBezTo>
                  <a:cubicBezTo>
                    <a:pt x="45" y="506"/>
                    <a:pt x="45" y="506"/>
                    <a:pt x="45" y="506"/>
                  </a:cubicBezTo>
                  <a:cubicBezTo>
                    <a:pt x="47" y="505"/>
                    <a:pt x="47" y="505"/>
                    <a:pt x="47" y="505"/>
                  </a:cubicBezTo>
                  <a:cubicBezTo>
                    <a:pt x="52" y="503"/>
                    <a:pt x="52" y="503"/>
                    <a:pt x="52" y="503"/>
                  </a:cubicBezTo>
                  <a:cubicBezTo>
                    <a:pt x="53" y="502"/>
                    <a:pt x="53" y="502"/>
                    <a:pt x="53" y="502"/>
                  </a:cubicBezTo>
                  <a:cubicBezTo>
                    <a:pt x="53" y="502"/>
                    <a:pt x="53" y="502"/>
                    <a:pt x="53" y="502"/>
                  </a:cubicBezTo>
                  <a:cubicBezTo>
                    <a:pt x="53" y="499"/>
                    <a:pt x="53" y="499"/>
                    <a:pt x="53" y="499"/>
                  </a:cubicBezTo>
                  <a:cubicBezTo>
                    <a:pt x="53" y="497"/>
                    <a:pt x="53" y="497"/>
                    <a:pt x="53" y="497"/>
                  </a:cubicBezTo>
                  <a:cubicBezTo>
                    <a:pt x="53" y="497"/>
                    <a:pt x="53" y="497"/>
                    <a:pt x="53" y="497"/>
                  </a:cubicBezTo>
                  <a:cubicBezTo>
                    <a:pt x="53" y="496"/>
                    <a:pt x="53" y="496"/>
                    <a:pt x="53" y="496"/>
                  </a:cubicBezTo>
                  <a:cubicBezTo>
                    <a:pt x="50" y="492"/>
                    <a:pt x="50" y="492"/>
                    <a:pt x="50" y="492"/>
                  </a:cubicBezTo>
                  <a:cubicBezTo>
                    <a:pt x="50" y="491"/>
                    <a:pt x="50" y="491"/>
                    <a:pt x="50" y="491"/>
                  </a:cubicBezTo>
                  <a:cubicBezTo>
                    <a:pt x="37" y="484"/>
                    <a:pt x="37" y="484"/>
                    <a:pt x="37" y="484"/>
                  </a:cubicBezTo>
                  <a:cubicBezTo>
                    <a:pt x="36" y="483"/>
                    <a:pt x="36" y="483"/>
                    <a:pt x="36" y="483"/>
                  </a:cubicBezTo>
                  <a:cubicBezTo>
                    <a:pt x="33" y="483"/>
                    <a:pt x="33" y="483"/>
                    <a:pt x="33" y="483"/>
                  </a:cubicBezTo>
                  <a:cubicBezTo>
                    <a:pt x="32" y="484"/>
                    <a:pt x="32" y="484"/>
                    <a:pt x="32" y="484"/>
                  </a:cubicBezTo>
                  <a:cubicBezTo>
                    <a:pt x="31" y="484"/>
                    <a:pt x="31" y="484"/>
                    <a:pt x="31" y="484"/>
                  </a:cubicBezTo>
                  <a:cubicBezTo>
                    <a:pt x="27" y="488"/>
                    <a:pt x="27" y="488"/>
                    <a:pt x="27" y="488"/>
                  </a:cubicBezTo>
                  <a:lnTo>
                    <a:pt x="27" y="489"/>
                  </a:lnTo>
                  <a:close/>
                  <a:moveTo>
                    <a:pt x="342" y="1006"/>
                  </a:moveTo>
                  <a:cubicBezTo>
                    <a:pt x="343" y="1005"/>
                    <a:pt x="343" y="1005"/>
                    <a:pt x="343" y="1005"/>
                  </a:cubicBezTo>
                  <a:cubicBezTo>
                    <a:pt x="346" y="1002"/>
                    <a:pt x="346" y="1002"/>
                    <a:pt x="346" y="1002"/>
                  </a:cubicBezTo>
                  <a:cubicBezTo>
                    <a:pt x="346" y="1001"/>
                    <a:pt x="346" y="1001"/>
                    <a:pt x="346" y="1001"/>
                  </a:cubicBezTo>
                  <a:cubicBezTo>
                    <a:pt x="346" y="1000"/>
                    <a:pt x="346" y="1000"/>
                    <a:pt x="346" y="1000"/>
                  </a:cubicBezTo>
                  <a:cubicBezTo>
                    <a:pt x="344" y="977"/>
                    <a:pt x="344" y="977"/>
                    <a:pt x="344" y="977"/>
                  </a:cubicBezTo>
                  <a:cubicBezTo>
                    <a:pt x="344" y="977"/>
                    <a:pt x="344" y="977"/>
                    <a:pt x="344" y="977"/>
                  </a:cubicBezTo>
                  <a:cubicBezTo>
                    <a:pt x="335" y="948"/>
                    <a:pt x="335" y="948"/>
                    <a:pt x="335" y="948"/>
                  </a:cubicBezTo>
                  <a:cubicBezTo>
                    <a:pt x="334" y="947"/>
                    <a:pt x="334" y="947"/>
                    <a:pt x="334" y="947"/>
                  </a:cubicBezTo>
                  <a:cubicBezTo>
                    <a:pt x="334" y="945"/>
                    <a:pt x="334" y="945"/>
                    <a:pt x="334" y="945"/>
                  </a:cubicBezTo>
                  <a:cubicBezTo>
                    <a:pt x="333" y="944"/>
                    <a:pt x="333" y="944"/>
                    <a:pt x="333" y="944"/>
                  </a:cubicBezTo>
                  <a:cubicBezTo>
                    <a:pt x="328" y="940"/>
                    <a:pt x="328" y="940"/>
                    <a:pt x="328" y="940"/>
                  </a:cubicBezTo>
                  <a:cubicBezTo>
                    <a:pt x="324" y="937"/>
                    <a:pt x="324" y="937"/>
                    <a:pt x="324" y="937"/>
                  </a:cubicBezTo>
                  <a:cubicBezTo>
                    <a:pt x="323" y="937"/>
                    <a:pt x="323" y="937"/>
                    <a:pt x="323" y="937"/>
                  </a:cubicBezTo>
                  <a:cubicBezTo>
                    <a:pt x="321" y="936"/>
                    <a:pt x="321" y="936"/>
                    <a:pt x="321" y="936"/>
                  </a:cubicBezTo>
                  <a:cubicBezTo>
                    <a:pt x="319" y="936"/>
                    <a:pt x="319" y="936"/>
                    <a:pt x="319" y="936"/>
                  </a:cubicBezTo>
                  <a:cubicBezTo>
                    <a:pt x="315" y="936"/>
                    <a:pt x="315" y="936"/>
                    <a:pt x="315" y="936"/>
                  </a:cubicBezTo>
                  <a:cubicBezTo>
                    <a:pt x="311" y="939"/>
                    <a:pt x="311" y="939"/>
                    <a:pt x="311" y="939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03" y="946"/>
                    <a:pt x="303" y="946"/>
                    <a:pt x="303" y="946"/>
                  </a:cubicBezTo>
                  <a:cubicBezTo>
                    <a:pt x="302" y="948"/>
                    <a:pt x="302" y="948"/>
                    <a:pt x="302" y="948"/>
                  </a:cubicBezTo>
                  <a:cubicBezTo>
                    <a:pt x="300" y="958"/>
                    <a:pt x="300" y="958"/>
                    <a:pt x="300" y="958"/>
                  </a:cubicBezTo>
                  <a:cubicBezTo>
                    <a:pt x="299" y="961"/>
                    <a:pt x="299" y="961"/>
                    <a:pt x="299" y="961"/>
                  </a:cubicBezTo>
                  <a:cubicBezTo>
                    <a:pt x="299" y="965"/>
                    <a:pt x="299" y="965"/>
                    <a:pt x="299" y="965"/>
                  </a:cubicBezTo>
                  <a:cubicBezTo>
                    <a:pt x="305" y="989"/>
                    <a:pt x="305" y="989"/>
                    <a:pt x="305" y="989"/>
                  </a:cubicBezTo>
                  <a:cubicBezTo>
                    <a:pt x="306" y="989"/>
                    <a:pt x="306" y="989"/>
                    <a:pt x="306" y="989"/>
                  </a:cubicBezTo>
                  <a:cubicBezTo>
                    <a:pt x="307" y="996"/>
                    <a:pt x="307" y="996"/>
                    <a:pt x="307" y="996"/>
                  </a:cubicBezTo>
                  <a:cubicBezTo>
                    <a:pt x="308" y="997"/>
                    <a:pt x="308" y="997"/>
                    <a:pt x="308" y="997"/>
                  </a:cubicBezTo>
                  <a:cubicBezTo>
                    <a:pt x="316" y="1004"/>
                    <a:pt x="316" y="1004"/>
                    <a:pt x="316" y="1004"/>
                  </a:cubicBezTo>
                  <a:cubicBezTo>
                    <a:pt x="323" y="1008"/>
                    <a:pt x="323" y="1008"/>
                    <a:pt x="323" y="1008"/>
                  </a:cubicBezTo>
                  <a:cubicBezTo>
                    <a:pt x="325" y="1008"/>
                    <a:pt x="325" y="1008"/>
                    <a:pt x="325" y="1008"/>
                  </a:cubicBezTo>
                  <a:cubicBezTo>
                    <a:pt x="332" y="1008"/>
                    <a:pt x="332" y="1008"/>
                    <a:pt x="332" y="1008"/>
                  </a:cubicBezTo>
                  <a:lnTo>
                    <a:pt x="342" y="1006"/>
                  </a:lnTo>
                  <a:close/>
                  <a:moveTo>
                    <a:pt x="247" y="860"/>
                  </a:moveTo>
                  <a:cubicBezTo>
                    <a:pt x="248" y="857"/>
                    <a:pt x="248" y="857"/>
                    <a:pt x="248" y="857"/>
                  </a:cubicBezTo>
                  <a:cubicBezTo>
                    <a:pt x="258" y="837"/>
                    <a:pt x="258" y="837"/>
                    <a:pt x="258" y="837"/>
                  </a:cubicBezTo>
                  <a:cubicBezTo>
                    <a:pt x="259" y="836"/>
                    <a:pt x="259" y="836"/>
                    <a:pt x="259" y="836"/>
                  </a:cubicBezTo>
                  <a:cubicBezTo>
                    <a:pt x="257" y="830"/>
                    <a:pt x="257" y="830"/>
                    <a:pt x="257" y="830"/>
                  </a:cubicBezTo>
                  <a:cubicBezTo>
                    <a:pt x="257" y="829"/>
                    <a:pt x="257" y="829"/>
                    <a:pt x="257" y="829"/>
                  </a:cubicBezTo>
                  <a:cubicBezTo>
                    <a:pt x="256" y="828"/>
                    <a:pt x="256" y="828"/>
                    <a:pt x="256" y="828"/>
                  </a:cubicBezTo>
                  <a:cubicBezTo>
                    <a:pt x="256" y="827"/>
                    <a:pt x="256" y="827"/>
                    <a:pt x="256" y="827"/>
                  </a:cubicBezTo>
                  <a:cubicBezTo>
                    <a:pt x="255" y="827"/>
                    <a:pt x="255" y="827"/>
                    <a:pt x="255" y="827"/>
                  </a:cubicBezTo>
                  <a:cubicBezTo>
                    <a:pt x="250" y="830"/>
                    <a:pt x="250" y="830"/>
                    <a:pt x="250" y="830"/>
                  </a:cubicBezTo>
                  <a:cubicBezTo>
                    <a:pt x="229" y="848"/>
                    <a:pt x="229" y="848"/>
                    <a:pt x="229" y="848"/>
                  </a:cubicBezTo>
                  <a:cubicBezTo>
                    <a:pt x="220" y="857"/>
                    <a:pt x="220" y="857"/>
                    <a:pt x="220" y="857"/>
                  </a:cubicBezTo>
                  <a:cubicBezTo>
                    <a:pt x="214" y="869"/>
                    <a:pt x="214" y="869"/>
                    <a:pt x="214" y="869"/>
                  </a:cubicBezTo>
                  <a:cubicBezTo>
                    <a:pt x="214" y="870"/>
                    <a:pt x="214" y="870"/>
                    <a:pt x="214" y="870"/>
                  </a:cubicBezTo>
                  <a:cubicBezTo>
                    <a:pt x="215" y="872"/>
                    <a:pt x="215" y="872"/>
                    <a:pt x="215" y="872"/>
                  </a:cubicBezTo>
                  <a:cubicBezTo>
                    <a:pt x="221" y="875"/>
                    <a:pt x="221" y="875"/>
                    <a:pt x="221" y="875"/>
                  </a:cubicBezTo>
                  <a:cubicBezTo>
                    <a:pt x="222" y="875"/>
                    <a:pt x="222" y="875"/>
                    <a:pt x="222" y="875"/>
                  </a:cubicBezTo>
                  <a:cubicBezTo>
                    <a:pt x="228" y="872"/>
                    <a:pt x="228" y="872"/>
                    <a:pt x="228" y="872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6" y="870"/>
                    <a:pt x="236" y="870"/>
                    <a:pt x="236" y="870"/>
                  </a:cubicBezTo>
                  <a:cubicBezTo>
                    <a:pt x="237" y="871"/>
                    <a:pt x="237" y="871"/>
                    <a:pt x="237" y="871"/>
                  </a:cubicBezTo>
                  <a:cubicBezTo>
                    <a:pt x="237" y="871"/>
                    <a:pt x="237" y="871"/>
                    <a:pt x="237" y="871"/>
                  </a:cubicBezTo>
                  <a:cubicBezTo>
                    <a:pt x="242" y="867"/>
                    <a:pt x="242" y="867"/>
                    <a:pt x="242" y="867"/>
                  </a:cubicBezTo>
                  <a:lnTo>
                    <a:pt x="247" y="860"/>
                  </a:lnTo>
                  <a:close/>
                  <a:moveTo>
                    <a:pt x="251" y="933"/>
                  </a:moveTo>
                  <a:cubicBezTo>
                    <a:pt x="245" y="946"/>
                    <a:pt x="245" y="946"/>
                    <a:pt x="245" y="946"/>
                  </a:cubicBezTo>
                  <a:cubicBezTo>
                    <a:pt x="245" y="947"/>
                    <a:pt x="245" y="947"/>
                    <a:pt x="245" y="947"/>
                  </a:cubicBezTo>
                  <a:cubicBezTo>
                    <a:pt x="246" y="952"/>
                    <a:pt x="246" y="952"/>
                    <a:pt x="246" y="952"/>
                  </a:cubicBezTo>
                  <a:cubicBezTo>
                    <a:pt x="246" y="952"/>
                    <a:pt x="246" y="952"/>
                    <a:pt x="246" y="952"/>
                  </a:cubicBezTo>
                  <a:cubicBezTo>
                    <a:pt x="247" y="953"/>
                    <a:pt x="247" y="953"/>
                    <a:pt x="247" y="953"/>
                  </a:cubicBezTo>
                  <a:cubicBezTo>
                    <a:pt x="248" y="953"/>
                    <a:pt x="248" y="953"/>
                    <a:pt x="248" y="953"/>
                  </a:cubicBezTo>
                  <a:cubicBezTo>
                    <a:pt x="249" y="952"/>
                    <a:pt x="249" y="952"/>
                    <a:pt x="249" y="952"/>
                  </a:cubicBezTo>
                  <a:cubicBezTo>
                    <a:pt x="252" y="950"/>
                    <a:pt x="252" y="950"/>
                    <a:pt x="252" y="950"/>
                  </a:cubicBezTo>
                  <a:cubicBezTo>
                    <a:pt x="254" y="935"/>
                    <a:pt x="254" y="935"/>
                    <a:pt x="254" y="935"/>
                  </a:cubicBezTo>
                  <a:cubicBezTo>
                    <a:pt x="253" y="933"/>
                    <a:pt x="253" y="933"/>
                    <a:pt x="253" y="933"/>
                  </a:cubicBezTo>
                  <a:cubicBezTo>
                    <a:pt x="252" y="933"/>
                    <a:pt x="252" y="933"/>
                    <a:pt x="252" y="933"/>
                  </a:cubicBezTo>
                  <a:lnTo>
                    <a:pt x="251" y="933"/>
                  </a:lnTo>
                  <a:close/>
                  <a:moveTo>
                    <a:pt x="787" y="455"/>
                  </a:moveTo>
                  <a:cubicBezTo>
                    <a:pt x="784" y="447"/>
                    <a:pt x="784" y="447"/>
                    <a:pt x="784" y="447"/>
                  </a:cubicBezTo>
                  <a:cubicBezTo>
                    <a:pt x="774" y="434"/>
                    <a:pt x="774" y="434"/>
                    <a:pt x="774" y="434"/>
                  </a:cubicBezTo>
                  <a:cubicBezTo>
                    <a:pt x="773" y="433"/>
                    <a:pt x="773" y="433"/>
                    <a:pt x="773" y="433"/>
                  </a:cubicBezTo>
                  <a:cubicBezTo>
                    <a:pt x="763" y="430"/>
                    <a:pt x="763" y="430"/>
                    <a:pt x="763" y="430"/>
                  </a:cubicBezTo>
                  <a:cubicBezTo>
                    <a:pt x="762" y="429"/>
                    <a:pt x="762" y="429"/>
                    <a:pt x="762" y="429"/>
                  </a:cubicBezTo>
                  <a:cubicBezTo>
                    <a:pt x="754" y="429"/>
                    <a:pt x="754" y="429"/>
                    <a:pt x="754" y="429"/>
                  </a:cubicBezTo>
                  <a:cubicBezTo>
                    <a:pt x="749" y="430"/>
                    <a:pt x="749" y="430"/>
                    <a:pt x="749" y="430"/>
                  </a:cubicBezTo>
                  <a:cubicBezTo>
                    <a:pt x="746" y="430"/>
                    <a:pt x="746" y="430"/>
                    <a:pt x="746" y="430"/>
                  </a:cubicBezTo>
                  <a:cubicBezTo>
                    <a:pt x="745" y="431"/>
                    <a:pt x="745" y="431"/>
                    <a:pt x="745" y="431"/>
                  </a:cubicBezTo>
                  <a:cubicBezTo>
                    <a:pt x="744" y="432"/>
                    <a:pt x="744" y="432"/>
                    <a:pt x="744" y="432"/>
                  </a:cubicBezTo>
                  <a:cubicBezTo>
                    <a:pt x="743" y="433"/>
                    <a:pt x="743" y="433"/>
                    <a:pt x="743" y="433"/>
                  </a:cubicBezTo>
                  <a:cubicBezTo>
                    <a:pt x="742" y="434"/>
                    <a:pt x="742" y="434"/>
                    <a:pt x="742" y="434"/>
                  </a:cubicBezTo>
                  <a:cubicBezTo>
                    <a:pt x="740" y="435"/>
                    <a:pt x="740" y="435"/>
                    <a:pt x="740" y="435"/>
                  </a:cubicBezTo>
                  <a:cubicBezTo>
                    <a:pt x="737" y="436"/>
                    <a:pt x="737" y="436"/>
                    <a:pt x="737" y="436"/>
                  </a:cubicBezTo>
                  <a:cubicBezTo>
                    <a:pt x="693" y="438"/>
                    <a:pt x="693" y="438"/>
                    <a:pt x="693" y="438"/>
                  </a:cubicBezTo>
                  <a:cubicBezTo>
                    <a:pt x="688" y="438"/>
                    <a:pt x="688" y="438"/>
                    <a:pt x="688" y="438"/>
                  </a:cubicBezTo>
                  <a:cubicBezTo>
                    <a:pt x="661" y="434"/>
                    <a:pt x="661" y="434"/>
                    <a:pt x="661" y="434"/>
                  </a:cubicBezTo>
                  <a:cubicBezTo>
                    <a:pt x="656" y="431"/>
                    <a:pt x="656" y="431"/>
                    <a:pt x="656" y="431"/>
                  </a:cubicBezTo>
                  <a:cubicBezTo>
                    <a:pt x="647" y="430"/>
                    <a:pt x="647" y="430"/>
                    <a:pt x="647" y="430"/>
                  </a:cubicBezTo>
                  <a:cubicBezTo>
                    <a:pt x="637" y="433"/>
                    <a:pt x="637" y="433"/>
                    <a:pt x="637" y="433"/>
                  </a:cubicBezTo>
                  <a:cubicBezTo>
                    <a:pt x="636" y="433"/>
                    <a:pt x="636" y="433"/>
                    <a:pt x="636" y="433"/>
                  </a:cubicBezTo>
                  <a:cubicBezTo>
                    <a:pt x="636" y="434"/>
                    <a:pt x="636" y="434"/>
                    <a:pt x="636" y="434"/>
                  </a:cubicBezTo>
                  <a:cubicBezTo>
                    <a:pt x="636" y="435"/>
                    <a:pt x="636" y="435"/>
                    <a:pt x="636" y="435"/>
                  </a:cubicBezTo>
                  <a:cubicBezTo>
                    <a:pt x="635" y="436"/>
                    <a:pt x="635" y="436"/>
                    <a:pt x="635" y="436"/>
                  </a:cubicBezTo>
                  <a:cubicBezTo>
                    <a:pt x="633" y="438"/>
                    <a:pt x="633" y="438"/>
                    <a:pt x="633" y="438"/>
                  </a:cubicBezTo>
                  <a:cubicBezTo>
                    <a:pt x="628" y="440"/>
                    <a:pt x="628" y="440"/>
                    <a:pt x="628" y="440"/>
                  </a:cubicBezTo>
                  <a:cubicBezTo>
                    <a:pt x="625" y="441"/>
                    <a:pt x="625" y="441"/>
                    <a:pt x="625" y="441"/>
                  </a:cubicBezTo>
                  <a:cubicBezTo>
                    <a:pt x="623" y="441"/>
                    <a:pt x="623" y="441"/>
                    <a:pt x="623" y="441"/>
                  </a:cubicBezTo>
                  <a:cubicBezTo>
                    <a:pt x="616" y="439"/>
                    <a:pt x="616" y="439"/>
                    <a:pt x="616" y="439"/>
                  </a:cubicBezTo>
                  <a:cubicBezTo>
                    <a:pt x="609" y="438"/>
                    <a:pt x="609" y="438"/>
                    <a:pt x="609" y="438"/>
                  </a:cubicBezTo>
                  <a:cubicBezTo>
                    <a:pt x="597" y="434"/>
                    <a:pt x="597" y="434"/>
                    <a:pt x="597" y="434"/>
                  </a:cubicBezTo>
                  <a:cubicBezTo>
                    <a:pt x="591" y="431"/>
                    <a:pt x="591" y="431"/>
                    <a:pt x="591" y="431"/>
                  </a:cubicBezTo>
                  <a:cubicBezTo>
                    <a:pt x="590" y="430"/>
                    <a:pt x="590" y="430"/>
                    <a:pt x="590" y="430"/>
                  </a:cubicBezTo>
                  <a:cubicBezTo>
                    <a:pt x="590" y="429"/>
                    <a:pt x="590" y="429"/>
                    <a:pt x="590" y="429"/>
                  </a:cubicBezTo>
                  <a:cubicBezTo>
                    <a:pt x="589" y="429"/>
                    <a:pt x="589" y="429"/>
                    <a:pt x="589" y="429"/>
                  </a:cubicBezTo>
                  <a:cubicBezTo>
                    <a:pt x="589" y="428"/>
                    <a:pt x="589" y="428"/>
                    <a:pt x="589" y="428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9" y="427"/>
                    <a:pt x="579" y="427"/>
                    <a:pt x="579" y="427"/>
                  </a:cubicBezTo>
                  <a:cubicBezTo>
                    <a:pt x="566" y="432"/>
                    <a:pt x="566" y="432"/>
                    <a:pt x="566" y="432"/>
                  </a:cubicBezTo>
                  <a:cubicBezTo>
                    <a:pt x="561" y="434"/>
                    <a:pt x="561" y="434"/>
                    <a:pt x="561" y="434"/>
                  </a:cubicBezTo>
                  <a:cubicBezTo>
                    <a:pt x="561" y="434"/>
                    <a:pt x="561" y="434"/>
                    <a:pt x="561" y="434"/>
                  </a:cubicBezTo>
                  <a:cubicBezTo>
                    <a:pt x="553" y="443"/>
                    <a:pt x="553" y="443"/>
                    <a:pt x="553" y="443"/>
                  </a:cubicBezTo>
                  <a:cubicBezTo>
                    <a:pt x="546" y="443"/>
                    <a:pt x="546" y="443"/>
                    <a:pt x="546" y="443"/>
                  </a:cubicBezTo>
                  <a:cubicBezTo>
                    <a:pt x="541" y="443"/>
                    <a:pt x="541" y="443"/>
                    <a:pt x="541" y="443"/>
                  </a:cubicBezTo>
                  <a:cubicBezTo>
                    <a:pt x="540" y="443"/>
                    <a:pt x="540" y="443"/>
                    <a:pt x="540" y="443"/>
                  </a:cubicBezTo>
                  <a:cubicBezTo>
                    <a:pt x="535" y="444"/>
                    <a:pt x="535" y="444"/>
                    <a:pt x="535" y="444"/>
                  </a:cubicBezTo>
                  <a:cubicBezTo>
                    <a:pt x="535" y="444"/>
                    <a:pt x="535" y="444"/>
                    <a:pt x="535" y="444"/>
                  </a:cubicBezTo>
                  <a:cubicBezTo>
                    <a:pt x="534" y="445"/>
                    <a:pt x="534" y="445"/>
                    <a:pt x="534" y="445"/>
                  </a:cubicBezTo>
                  <a:cubicBezTo>
                    <a:pt x="531" y="448"/>
                    <a:pt x="531" y="448"/>
                    <a:pt x="531" y="448"/>
                  </a:cubicBezTo>
                  <a:cubicBezTo>
                    <a:pt x="527" y="452"/>
                    <a:pt x="527" y="452"/>
                    <a:pt x="527" y="452"/>
                  </a:cubicBezTo>
                  <a:cubicBezTo>
                    <a:pt x="518" y="459"/>
                    <a:pt x="518" y="459"/>
                    <a:pt x="518" y="459"/>
                  </a:cubicBezTo>
                  <a:cubicBezTo>
                    <a:pt x="517" y="460"/>
                    <a:pt x="517" y="460"/>
                    <a:pt x="517" y="460"/>
                  </a:cubicBezTo>
                  <a:cubicBezTo>
                    <a:pt x="512" y="462"/>
                    <a:pt x="512" y="462"/>
                    <a:pt x="512" y="462"/>
                  </a:cubicBezTo>
                  <a:cubicBezTo>
                    <a:pt x="510" y="462"/>
                    <a:pt x="510" y="462"/>
                    <a:pt x="510" y="462"/>
                  </a:cubicBezTo>
                  <a:cubicBezTo>
                    <a:pt x="508" y="463"/>
                    <a:pt x="508" y="463"/>
                    <a:pt x="508" y="463"/>
                  </a:cubicBezTo>
                  <a:cubicBezTo>
                    <a:pt x="495" y="461"/>
                    <a:pt x="495" y="461"/>
                    <a:pt x="495" y="461"/>
                  </a:cubicBezTo>
                  <a:cubicBezTo>
                    <a:pt x="491" y="461"/>
                    <a:pt x="491" y="461"/>
                    <a:pt x="491" y="461"/>
                  </a:cubicBezTo>
                  <a:cubicBezTo>
                    <a:pt x="489" y="462"/>
                    <a:pt x="489" y="462"/>
                    <a:pt x="489" y="462"/>
                  </a:cubicBezTo>
                  <a:cubicBezTo>
                    <a:pt x="485" y="463"/>
                    <a:pt x="485" y="463"/>
                    <a:pt x="485" y="463"/>
                  </a:cubicBezTo>
                  <a:cubicBezTo>
                    <a:pt x="482" y="464"/>
                    <a:pt x="482" y="464"/>
                    <a:pt x="482" y="464"/>
                  </a:cubicBezTo>
                  <a:cubicBezTo>
                    <a:pt x="481" y="464"/>
                    <a:pt x="481" y="464"/>
                    <a:pt x="481" y="464"/>
                  </a:cubicBezTo>
                  <a:cubicBezTo>
                    <a:pt x="482" y="465"/>
                    <a:pt x="482" y="465"/>
                    <a:pt x="482" y="465"/>
                  </a:cubicBezTo>
                  <a:cubicBezTo>
                    <a:pt x="483" y="466"/>
                    <a:pt x="483" y="466"/>
                    <a:pt x="483" y="466"/>
                  </a:cubicBezTo>
                  <a:cubicBezTo>
                    <a:pt x="486" y="466"/>
                    <a:pt x="486" y="466"/>
                    <a:pt x="486" y="466"/>
                  </a:cubicBezTo>
                  <a:cubicBezTo>
                    <a:pt x="486" y="466"/>
                    <a:pt x="486" y="466"/>
                    <a:pt x="486" y="466"/>
                  </a:cubicBezTo>
                  <a:cubicBezTo>
                    <a:pt x="487" y="467"/>
                    <a:pt x="487" y="467"/>
                    <a:pt x="487" y="467"/>
                  </a:cubicBezTo>
                  <a:cubicBezTo>
                    <a:pt x="487" y="468"/>
                    <a:pt x="487" y="468"/>
                    <a:pt x="487" y="468"/>
                  </a:cubicBezTo>
                  <a:cubicBezTo>
                    <a:pt x="487" y="469"/>
                    <a:pt x="487" y="469"/>
                    <a:pt x="487" y="469"/>
                  </a:cubicBezTo>
                  <a:cubicBezTo>
                    <a:pt x="487" y="470"/>
                    <a:pt x="487" y="470"/>
                    <a:pt x="487" y="470"/>
                  </a:cubicBezTo>
                  <a:cubicBezTo>
                    <a:pt x="487" y="471"/>
                    <a:pt x="487" y="471"/>
                    <a:pt x="487" y="471"/>
                  </a:cubicBezTo>
                  <a:cubicBezTo>
                    <a:pt x="471" y="486"/>
                    <a:pt x="471" y="486"/>
                    <a:pt x="471" y="486"/>
                  </a:cubicBezTo>
                  <a:cubicBezTo>
                    <a:pt x="468" y="487"/>
                    <a:pt x="468" y="487"/>
                    <a:pt x="468" y="487"/>
                  </a:cubicBezTo>
                  <a:cubicBezTo>
                    <a:pt x="466" y="488"/>
                    <a:pt x="466" y="488"/>
                    <a:pt x="466" y="488"/>
                  </a:cubicBezTo>
                  <a:cubicBezTo>
                    <a:pt x="464" y="488"/>
                    <a:pt x="464" y="488"/>
                    <a:pt x="464" y="488"/>
                  </a:cubicBezTo>
                  <a:cubicBezTo>
                    <a:pt x="463" y="488"/>
                    <a:pt x="463" y="488"/>
                    <a:pt x="463" y="488"/>
                  </a:cubicBezTo>
                  <a:cubicBezTo>
                    <a:pt x="459" y="486"/>
                    <a:pt x="459" y="486"/>
                    <a:pt x="459" y="486"/>
                  </a:cubicBezTo>
                  <a:cubicBezTo>
                    <a:pt x="464" y="475"/>
                    <a:pt x="464" y="475"/>
                    <a:pt x="464" y="475"/>
                  </a:cubicBezTo>
                  <a:cubicBezTo>
                    <a:pt x="468" y="470"/>
                    <a:pt x="468" y="470"/>
                    <a:pt x="468" y="470"/>
                  </a:cubicBezTo>
                  <a:cubicBezTo>
                    <a:pt x="477" y="462"/>
                    <a:pt x="477" y="462"/>
                    <a:pt x="477" y="462"/>
                  </a:cubicBezTo>
                  <a:cubicBezTo>
                    <a:pt x="492" y="442"/>
                    <a:pt x="492" y="442"/>
                    <a:pt x="492" y="442"/>
                  </a:cubicBezTo>
                  <a:cubicBezTo>
                    <a:pt x="492" y="441"/>
                    <a:pt x="492" y="441"/>
                    <a:pt x="492" y="441"/>
                  </a:cubicBezTo>
                  <a:cubicBezTo>
                    <a:pt x="486" y="439"/>
                    <a:pt x="486" y="439"/>
                    <a:pt x="486" y="439"/>
                  </a:cubicBezTo>
                  <a:cubicBezTo>
                    <a:pt x="466" y="441"/>
                    <a:pt x="466" y="441"/>
                    <a:pt x="466" y="441"/>
                  </a:cubicBezTo>
                  <a:cubicBezTo>
                    <a:pt x="461" y="443"/>
                    <a:pt x="461" y="443"/>
                    <a:pt x="461" y="443"/>
                  </a:cubicBezTo>
                  <a:cubicBezTo>
                    <a:pt x="459" y="444"/>
                    <a:pt x="459" y="444"/>
                    <a:pt x="459" y="444"/>
                  </a:cubicBezTo>
                  <a:cubicBezTo>
                    <a:pt x="448" y="454"/>
                    <a:pt x="448" y="454"/>
                    <a:pt x="448" y="454"/>
                  </a:cubicBezTo>
                  <a:cubicBezTo>
                    <a:pt x="442" y="461"/>
                    <a:pt x="442" y="461"/>
                    <a:pt x="442" y="461"/>
                  </a:cubicBezTo>
                  <a:cubicBezTo>
                    <a:pt x="440" y="463"/>
                    <a:pt x="440" y="463"/>
                    <a:pt x="440" y="463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4" y="468"/>
                    <a:pt x="434" y="468"/>
                    <a:pt x="434" y="468"/>
                  </a:cubicBezTo>
                  <a:cubicBezTo>
                    <a:pt x="433" y="465"/>
                    <a:pt x="433" y="465"/>
                    <a:pt x="433" y="465"/>
                  </a:cubicBezTo>
                  <a:cubicBezTo>
                    <a:pt x="436" y="459"/>
                    <a:pt x="436" y="459"/>
                    <a:pt x="436" y="459"/>
                  </a:cubicBezTo>
                  <a:cubicBezTo>
                    <a:pt x="451" y="441"/>
                    <a:pt x="451" y="441"/>
                    <a:pt x="451" y="441"/>
                  </a:cubicBezTo>
                  <a:cubicBezTo>
                    <a:pt x="452" y="441"/>
                    <a:pt x="452" y="441"/>
                    <a:pt x="452" y="441"/>
                  </a:cubicBezTo>
                  <a:cubicBezTo>
                    <a:pt x="478" y="428"/>
                    <a:pt x="478" y="428"/>
                    <a:pt x="478" y="428"/>
                  </a:cubicBezTo>
                  <a:cubicBezTo>
                    <a:pt x="487" y="426"/>
                    <a:pt x="487" y="426"/>
                    <a:pt x="487" y="426"/>
                  </a:cubicBezTo>
                  <a:cubicBezTo>
                    <a:pt x="488" y="426"/>
                    <a:pt x="488" y="426"/>
                    <a:pt x="488" y="426"/>
                  </a:cubicBezTo>
                  <a:cubicBezTo>
                    <a:pt x="489" y="426"/>
                    <a:pt x="489" y="426"/>
                    <a:pt x="489" y="426"/>
                  </a:cubicBezTo>
                  <a:cubicBezTo>
                    <a:pt x="490" y="427"/>
                    <a:pt x="490" y="427"/>
                    <a:pt x="490" y="427"/>
                  </a:cubicBezTo>
                  <a:cubicBezTo>
                    <a:pt x="490" y="428"/>
                    <a:pt x="490" y="428"/>
                    <a:pt x="490" y="428"/>
                  </a:cubicBezTo>
                  <a:cubicBezTo>
                    <a:pt x="489" y="429"/>
                    <a:pt x="489" y="429"/>
                    <a:pt x="489" y="429"/>
                  </a:cubicBezTo>
                  <a:cubicBezTo>
                    <a:pt x="489" y="430"/>
                    <a:pt x="489" y="430"/>
                    <a:pt x="489" y="430"/>
                  </a:cubicBezTo>
                  <a:cubicBezTo>
                    <a:pt x="487" y="432"/>
                    <a:pt x="487" y="432"/>
                    <a:pt x="487" y="432"/>
                  </a:cubicBezTo>
                  <a:cubicBezTo>
                    <a:pt x="487" y="433"/>
                    <a:pt x="487" y="433"/>
                    <a:pt x="487" y="433"/>
                  </a:cubicBezTo>
                  <a:cubicBezTo>
                    <a:pt x="489" y="437"/>
                    <a:pt x="489" y="437"/>
                    <a:pt x="489" y="437"/>
                  </a:cubicBezTo>
                  <a:cubicBezTo>
                    <a:pt x="489" y="438"/>
                    <a:pt x="489" y="438"/>
                    <a:pt x="489" y="438"/>
                  </a:cubicBezTo>
                  <a:cubicBezTo>
                    <a:pt x="489" y="439"/>
                    <a:pt x="489" y="439"/>
                    <a:pt x="489" y="439"/>
                  </a:cubicBezTo>
                  <a:cubicBezTo>
                    <a:pt x="490" y="439"/>
                    <a:pt x="490" y="439"/>
                    <a:pt x="490" y="439"/>
                  </a:cubicBezTo>
                  <a:cubicBezTo>
                    <a:pt x="491" y="439"/>
                    <a:pt x="491" y="439"/>
                    <a:pt x="491" y="439"/>
                  </a:cubicBezTo>
                  <a:cubicBezTo>
                    <a:pt x="492" y="439"/>
                    <a:pt x="492" y="439"/>
                    <a:pt x="492" y="439"/>
                  </a:cubicBezTo>
                  <a:cubicBezTo>
                    <a:pt x="493" y="438"/>
                    <a:pt x="493" y="438"/>
                    <a:pt x="493" y="438"/>
                  </a:cubicBezTo>
                  <a:cubicBezTo>
                    <a:pt x="510" y="416"/>
                    <a:pt x="510" y="416"/>
                    <a:pt x="510" y="416"/>
                  </a:cubicBezTo>
                  <a:cubicBezTo>
                    <a:pt x="516" y="406"/>
                    <a:pt x="516" y="406"/>
                    <a:pt x="516" y="406"/>
                  </a:cubicBezTo>
                  <a:cubicBezTo>
                    <a:pt x="521" y="397"/>
                    <a:pt x="521" y="397"/>
                    <a:pt x="521" y="397"/>
                  </a:cubicBezTo>
                  <a:cubicBezTo>
                    <a:pt x="522" y="394"/>
                    <a:pt x="522" y="394"/>
                    <a:pt x="522" y="394"/>
                  </a:cubicBezTo>
                  <a:cubicBezTo>
                    <a:pt x="522" y="394"/>
                    <a:pt x="522" y="394"/>
                    <a:pt x="522" y="394"/>
                  </a:cubicBezTo>
                  <a:cubicBezTo>
                    <a:pt x="521" y="393"/>
                    <a:pt x="521" y="393"/>
                    <a:pt x="521" y="393"/>
                  </a:cubicBezTo>
                  <a:cubicBezTo>
                    <a:pt x="521" y="392"/>
                    <a:pt x="521" y="392"/>
                    <a:pt x="521" y="392"/>
                  </a:cubicBezTo>
                  <a:cubicBezTo>
                    <a:pt x="518" y="392"/>
                    <a:pt x="518" y="392"/>
                    <a:pt x="518" y="392"/>
                  </a:cubicBezTo>
                  <a:cubicBezTo>
                    <a:pt x="517" y="393"/>
                    <a:pt x="517" y="393"/>
                    <a:pt x="517" y="393"/>
                  </a:cubicBezTo>
                  <a:cubicBezTo>
                    <a:pt x="516" y="394"/>
                    <a:pt x="516" y="394"/>
                    <a:pt x="516" y="394"/>
                  </a:cubicBezTo>
                  <a:cubicBezTo>
                    <a:pt x="516" y="395"/>
                    <a:pt x="516" y="395"/>
                    <a:pt x="516" y="395"/>
                  </a:cubicBezTo>
                  <a:cubicBezTo>
                    <a:pt x="515" y="396"/>
                    <a:pt x="515" y="396"/>
                    <a:pt x="515" y="396"/>
                  </a:cubicBezTo>
                  <a:cubicBezTo>
                    <a:pt x="514" y="400"/>
                    <a:pt x="514" y="400"/>
                    <a:pt x="514" y="400"/>
                  </a:cubicBezTo>
                  <a:cubicBezTo>
                    <a:pt x="514" y="402"/>
                    <a:pt x="514" y="402"/>
                    <a:pt x="514" y="402"/>
                  </a:cubicBezTo>
                  <a:cubicBezTo>
                    <a:pt x="512" y="403"/>
                    <a:pt x="512" y="403"/>
                    <a:pt x="512" y="403"/>
                  </a:cubicBezTo>
                  <a:cubicBezTo>
                    <a:pt x="510" y="403"/>
                    <a:pt x="510" y="403"/>
                    <a:pt x="510" y="403"/>
                  </a:cubicBezTo>
                  <a:cubicBezTo>
                    <a:pt x="503" y="405"/>
                    <a:pt x="503" y="405"/>
                    <a:pt x="503" y="405"/>
                  </a:cubicBezTo>
                  <a:cubicBezTo>
                    <a:pt x="485" y="405"/>
                    <a:pt x="485" y="405"/>
                    <a:pt x="485" y="405"/>
                  </a:cubicBezTo>
                  <a:cubicBezTo>
                    <a:pt x="468" y="401"/>
                    <a:pt x="468" y="401"/>
                    <a:pt x="468" y="401"/>
                  </a:cubicBezTo>
                  <a:cubicBezTo>
                    <a:pt x="467" y="400"/>
                    <a:pt x="467" y="400"/>
                    <a:pt x="467" y="400"/>
                  </a:cubicBezTo>
                  <a:cubicBezTo>
                    <a:pt x="464" y="394"/>
                    <a:pt x="464" y="394"/>
                    <a:pt x="464" y="394"/>
                  </a:cubicBezTo>
                  <a:cubicBezTo>
                    <a:pt x="467" y="394"/>
                    <a:pt x="467" y="394"/>
                    <a:pt x="467" y="394"/>
                  </a:cubicBezTo>
                  <a:cubicBezTo>
                    <a:pt x="478" y="395"/>
                    <a:pt x="478" y="395"/>
                    <a:pt x="478" y="395"/>
                  </a:cubicBezTo>
                  <a:cubicBezTo>
                    <a:pt x="485" y="394"/>
                    <a:pt x="485" y="394"/>
                    <a:pt x="485" y="394"/>
                  </a:cubicBezTo>
                  <a:cubicBezTo>
                    <a:pt x="489" y="390"/>
                    <a:pt x="489" y="390"/>
                    <a:pt x="489" y="390"/>
                  </a:cubicBezTo>
                  <a:cubicBezTo>
                    <a:pt x="491" y="385"/>
                    <a:pt x="491" y="385"/>
                    <a:pt x="491" y="385"/>
                  </a:cubicBezTo>
                  <a:cubicBezTo>
                    <a:pt x="492" y="385"/>
                    <a:pt x="492" y="385"/>
                    <a:pt x="492" y="385"/>
                  </a:cubicBezTo>
                  <a:cubicBezTo>
                    <a:pt x="492" y="384"/>
                    <a:pt x="492" y="384"/>
                    <a:pt x="492" y="384"/>
                  </a:cubicBezTo>
                  <a:cubicBezTo>
                    <a:pt x="492" y="382"/>
                    <a:pt x="492" y="382"/>
                    <a:pt x="492" y="382"/>
                  </a:cubicBezTo>
                  <a:cubicBezTo>
                    <a:pt x="492" y="380"/>
                    <a:pt x="492" y="380"/>
                    <a:pt x="492" y="380"/>
                  </a:cubicBezTo>
                  <a:cubicBezTo>
                    <a:pt x="503" y="363"/>
                    <a:pt x="503" y="363"/>
                    <a:pt x="503" y="363"/>
                  </a:cubicBezTo>
                  <a:cubicBezTo>
                    <a:pt x="524" y="343"/>
                    <a:pt x="524" y="343"/>
                    <a:pt x="524" y="343"/>
                  </a:cubicBezTo>
                  <a:cubicBezTo>
                    <a:pt x="532" y="335"/>
                    <a:pt x="532" y="335"/>
                    <a:pt x="532" y="335"/>
                  </a:cubicBezTo>
                  <a:cubicBezTo>
                    <a:pt x="548" y="323"/>
                    <a:pt x="548" y="323"/>
                    <a:pt x="548" y="323"/>
                  </a:cubicBezTo>
                  <a:cubicBezTo>
                    <a:pt x="555" y="316"/>
                    <a:pt x="555" y="316"/>
                    <a:pt x="555" y="316"/>
                  </a:cubicBezTo>
                  <a:cubicBezTo>
                    <a:pt x="559" y="311"/>
                    <a:pt x="559" y="311"/>
                    <a:pt x="559" y="311"/>
                  </a:cubicBezTo>
                  <a:cubicBezTo>
                    <a:pt x="561" y="307"/>
                    <a:pt x="561" y="307"/>
                    <a:pt x="561" y="307"/>
                  </a:cubicBezTo>
                  <a:cubicBezTo>
                    <a:pt x="562" y="305"/>
                    <a:pt x="562" y="305"/>
                    <a:pt x="562" y="305"/>
                  </a:cubicBezTo>
                  <a:cubicBezTo>
                    <a:pt x="564" y="299"/>
                    <a:pt x="564" y="299"/>
                    <a:pt x="564" y="299"/>
                  </a:cubicBezTo>
                  <a:cubicBezTo>
                    <a:pt x="567" y="295"/>
                    <a:pt x="567" y="295"/>
                    <a:pt x="567" y="295"/>
                  </a:cubicBezTo>
                  <a:cubicBezTo>
                    <a:pt x="572" y="290"/>
                    <a:pt x="572" y="290"/>
                    <a:pt x="572" y="290"/>
                  </a:cubicBezTo>
                  <a:cubicBezTo>
                    <a:pt x="575" y="287"/>
                    <a:pt x="575" y="287"/>
                    <a:pt x="575" y="287"/>
                  </a:cubicBezTo>
                  <a:cubicBezTo>
                    <a:pt x="579" y="286"/>
                    <a:pt x="579" y="286"/>
                    <a:pt x="579" y="286"/>
                  </a:cubicBezTo>
                  <a:cubicBezTo>
                    <a:pt x="583" y="285"/>
                    <a:pt x="583" y="285"/>
                    <a:pt x="583" y="285"/>
                  </a:cubicBezTo>
                  <a:cubicBezTo>
                    <a:pt x="595" y="279"/>
                    <a:pt x="595" y="279"/>
                    <a:pt x="595" y="279"/>
                  </a:cubicBezTo>
                  <a:cubicBezTo>
                    <a:pt x="595" y="278"/>
                    <a:pt x="595" y="278"/>
                    <a:pt x="595" y="278"/>
                  </a:cubicBezTo>
                  <a:cubicBezTo>
                    <a:pt x="607" y="266"/>
                    <a:pt x="607" y="266"/>
                    <a:pt x="607" y="266"/>
                  </a:cubicBezTo>
                  <a:cubicBezTo>
                    <a:pt x="608" y="264"/>
                    <a:pt x="608" y="264"/>
                    <a:pt x="608" y="264"/>
                  </a:cubicBezTo>
                  <a:cubicBezTo>
                    <a:pt x="618" y="240"/>
                    <a:pt x="618" y="240"/>
                    <a:pt x="618" y="240"/>
                  </a:cubicBezTo>
                  <a:cubicBezTo>
                    <a:pt x="618" y="238"/>
                    <a:pt x="618" y="238"/>
                    <a:pt x="618" y="238"/>
                  </a:cubicBezTo>
                  <a:cubicBezTo>
                    <a:pt x="618" y="237"/>
                    <a:pt x="618" y="237"/>
                    <a:pt x="618" y="237"/>
                  </a:cubicBezTo>
                  <a:cubicBezTo>
                    <a:pt x="618" y="236"/>
                    <a:pt x="618" y="236"/>
                    <a:pt x="618" y="236"/>
                  </a:cubicBezTo>
                  <a:cubicBezTo>
                    <a:pt x="617" y="235"/>
                    <a:pt x="617" y="235"/>
                    <a:pt x="617" y="235"/>
                  </a:cubicBezTo>
                  <a:cubicBezTo>
                    <a:pt x="617" y="235"/>
                    <a:pt x="617" y="235"/>
                    <a:pt x="617" y="235"/>
                  </a:cubicBezTo>
                  <a:cubicBezTo>
                    <a:pt x="616" y="235"/>
                    <a:pt x="616" y="235"/>
                    <a:pt x="616" y="235"/>
                  </a:cubicBezTo>
                  <a:cubicBezTo>
                    <a:pt x="614" y="235"/>
                    <a:pt x="614" y="235"/>
                    <a:pt x="614" y="235"/>
                  </a:cubicBezTo>
                  <a:cubicBezTo>
                    <a:pt x="611" y="237"/>
                    <a:pt x="611" y="237"/>
                    <a:pt x="611" y="237"/>
                  </a:cubicBezTo>
                  <a:cubicBezTo>
                    <a:pt x="608" y="238"/>
                    <a:pt x="608" y="238"/>
                    <a:pt x="608" y="238"/>
                  </a:cubicBezTo>
                  <a:cubicBezTo>
                    <a:pt x="607" y="237"/>
                    <a:pt x="607" y="237"/>
                    <a:pt x="607" y="237"/>
                  </a:cubicBezTo>
                  <a:cubicBezTo>
                    <a:pt x="607" y="237"/>
                    <a:pt x="607" y="237"/>
                    <a:pt x="607" y="237"/>
                  </a:cubicBezTo>
                  <a:cubicBezTo>
                    <a:pt x="605" y="235"/>
                    <a:pt x="605" y="235"/>
                    <a:pt x="605" y="235"/>
                  </a:cubicBezTo>
                  <a:cubicBezTo>
                    <a:pt x="602" y="231"/>
                    <a:pt x="602" y="231"/>
                    <a:pt x="602" y="231"/>
                  </a:cubicBezTo>
                  <a:cubicBezTo>
                    <a:pt x="602" y="230"/>
                    <a:pt x="602" y="230"/>
                    <a:pt x="602" y="230"/>
                  </a:cubicBezTo>
                  <a:cubicBezTo>
                    <a:pt x="604" y="224"/>
                    <a:pt x="604" y="224"/>
                    <a:pt x="604" y="224"/>
                  </a:cubicBezTo>
                  <a:cubicBezTo>
                    <a:pt x="605" y="222"/>
                    <a:pt x="605" y="222"/>
                    <a:pt x="605" y="222"/>
                  </a:cubicBezTo>
                  <a:cubicBezTo>
                    <a:pt x="606" y="220"/>
                    <a:pt x="606" y="220"/>
                    <a:pt x="606" y="220"/>
                  </a:cubicBezTo>
                  <a:cubicBezTo>
                    <a:pt x="607" y="219"/>
                    <a:pt x="607" y="219"/>
                    <a:pt x="607" y="219"/>
                  </a:cubicBezTo>
                  <a:cubicBezTo>
                    <a:pt x="608" y="219"/>
                    <a:pt x="608" y="219"/>
                    <a:pt x="608" y="219"/>
                  </a:cubicBezTo>
                  <a:cubicBezTo>
                    <a:pt x="609" y="217"/>
                    <a:pt x="609" y="217"/>
                    <a:pt x="609" y="217"/>
                  </a:cubicBezTo>
                  <a:cubicBezTo>
                    <a:pt x="616" y="204"/>
                    <a:pt x="616" y="204"/>
                    <a:pt x="616" y="204"/>
                  </a:cubicBezTo>
                  <a:cubicBezTo>
                    <a:pt x="618" y="195"/>
                    <a:pt x="618" y="195"/>
                    <a:pt x="618" y="195"/>
                  </a:cubicBezTo>
                  <a:cubicBezTo>
                    <a:pt x="618" y="193"/>
                    <a:pt x="618" y="193"/>
                    <a:pt x="618" y="193"/>
                  </a:cubicBezTo>
                  <a:cubicBezTo>
                    <a:pt x="617" y="192"/>
                    <a:pt x="617" y="192"/>
                    <a:pt x="617" y="192"/>
                  </a:cubicBezTo>
                  <a:cubicBezTo>
                    <a:pt x="617" y="192"/>
                    <a:pt x="617" y="192"/>
                    <a:pt x="617" y="192"/>
                  </a:cubicBezTo>
                  <a:cubicBezTo>
                    <a:pt x="583" y="192"/>
                    <a:pt x="583" y="192"/>
                    <a:pt x="583" y="192"/>
                  </a:cubicBezTo>
                  <a:cubicBezTo>
                    <a:pt x="574" y="201"/>
                    <a:pt x="574" y="201"/>
                    <a:pt x="574" y="201"/>
                  </a:cubicBezTo>
                  <a:cubicBezTo>
                    <a:pt x="574" y="202"/>
                    <a:pt x="574" y="202"/>
                    <a:pt x="574" y="202"/>
                  </a:cubicBezTo>
                  <a:cubicBezTo>
                    <a:pt x="573" y="205"/>
                    <a:pt x="573" y="205"/>
                    <a:pt x="573" y="205"/>
                  </a:cubicBezTo>
                  <a:cubicBezTo>
                    <a:pt x="572" y="206"/>
                    <a:pt x="572" y="206"/>
                    <a:pt x="572" y="206"/>
                  </a:cubicBezTo>
                  <a:cubicBezTo>
                    <a:pt x="563" y="205"/>
                    <a:pt x="563" y="205"/>
                    <a:pt x="563" y="205"/>
                  </a:cubicBezTo>
                  <a:cubicBezTo>
                    <a:pt x="562" y="203"/>
                    <a:pt x="562" y="203"/>
                    <a:pt x="562" y="203"/>
                  </a:cubicBezTo>
                  <a:cubicBezTo>
                    <a:pt x="547" y="200"/>
                    <a:pt x="547" y="200"/>
                    <a:pt x="547" y="200"/>
                  </a:cubicBezTo>
                  <a:cubicBezTo>
                    <a:pt x="545" y="200"/>
                    <a:pt x="545" y="200"/>
                    <a:pt x="545" y="200"/>
                  </a:cubicBezTo>
                  <a:cubicBezTo>
                    <a:pt x="532" y="201"/>
                    <a:pt x="532" y="201"/>
                    <a:pt x="532" y="201"/>
                  </a:cubicBezTo>
                  <a:cubicBezTo>
                    <a:pt x="524" y="208"/>
                    <a:pt x="524" y="208"/>
                    <a:pt x="524" y="208"/>
                  </a:cubicBezTo>
                  <a:cubicBezTo>
                    <a:pt x="522" y="210"/>
                    <a:pt x="522" y="210"/>
                    <a:pt x="522" y="210"/>
                  </a:cubicBezTo>
                  <a:cubicBezTo>
                    <a:pt x="503" y="216"/>
                    <a:pt x="503" y="216"/>
                    <a:pt x="503" y="216"/>
                  </a:cubicBezTo>
                  <a:cubicBezTo>
                    <a:pt x="441" y="224"/>
                    <a:pt x="441" y="224"/>
                    <a:pt x="441" y="224"/>
                  </a:cubicBezTo>
                  <a:cubicBezTo>
                    <a:pt x="432" y="224"/>
                    <a:pt x="432" y="224"/>
                    <a:pt x="432" y="224"/>
                  </a:cubicBezTo>
                  <a:cubicBezTo>
                    <a:pt x="432" y="222"/>
                    <a:pt x="432" y="222"/>
                    <a:pt x="432" y="222"/>
                  </a:cubicBezTo>
                  <a:cubicBezTo>
                    <a:pt x="432" y="220"/>
                    <a:pt x="432" y="220"/>
                    <a:pt x="432" y="220"/>
                  </a:cubicBezTo>
                  <a:cubicBezTo>
                    <a:pt x="431" y="220"/>
                    <a:pt x="431" y="220"/>
                    <a:pt x="431" y="220"/>
                  </a:cubicBezTo>
                  <a:cubicBezTo>
                    <a:pt x="421" y="214"/>
                    <a:pt x="421" y="214"/>
                    <a:pt x="421" y="214"/>
                  </a:cubicBezTo>
                  <a:cubicBezTo>
                    <a:pt x="416" y="213"/>
                    <a:pt x="416" y="213"/>
                    <a:pt x="416" y="213"/>
                  </a:cubicBezTo>
                  <a:cubicBezTo>
                    <a:pt x="410" y="213"/>
                    <a:pt x="410" y="213"/>
                    <a:pt x="410" y="213"/>
                  </a:cubicBezTo>
                  <a:cubicBezTo>
                    <a:pt x="409" y="213"/>
                    <a:pt x="409" y="213"/>
                    <a:pt x="409" y="213"/>
                  </a:cubicBezTo>
                  <a:cubicBezTo>
                    <a:pt x="408" y="213"/>
                    <a:pt x="408" y="213"/>
                    <a:pt x="408" y="213"/>
                  </a:cubicBezTo>
                  <a:cubicBezTo>
                    <a:pt x="407" y="216"/>
                    <a:pt x="407" y="216"/>
                    <a:pt x="407" y="216"/>
                  </a:cubicBezTo>
                  <a:cubicBezTo>
                    <a:pt x="408" y="218"/>
                    <a:pt x="408" y="218"/>
                    <a:pt x="408" y="218"/>
                  </a:cubicBezTo>
                  <a:cubicBezTo>
                    <a:pt x="408" y="219"/>
                    <a:pt x="408" y="219"/>
                    <a:pt x="408" y="219"/>
                  </a:cubicBezTo>
                  <a:cubicBezTo>
                    <a:pt x="410" y="222"/>
                    <a:pt x="410" y="222"/>
                    <a:pt x="410" y="222"/>
                  </a:cubicBezTo>
                  <a:cubicBezTo>
                    <a:pt x="409" y="223"/>
                    <a:pt x="409" y="223"/>
                    <a:pt x="409" y="223"/>
                  </a:cubicBezTo>
                  <a:cubicBezTo>
                    <a:pt x="407" y="226"/>
                    <a:pt x="407" y="226"/>
                    <a:pt x="407" y="226"/>
                  </a:cubicBezTo>
                  <a:cubicBezTo>
                    <a:pt x="391" y="246"/>
                    <a:pt x="391" y="246"/>
                    <a:pt x="391" y="246"/>
                  </a:cubicBezTo>
                  <a:cubicBezTo>
                    <a:pt x="390" y="247"/>
                    <a:pt x="390" y="247"/>
                    <a:pt x="390" y="247"/>
                  </a:cubicBezTo>
                  <a:cubicBezTo>
                    <a:pt x="388" y="247"/>
                    <a:pt x="388" y="247"/>
                    <a:pt x="388" y="247"/>
                  </a:cubicBezTo>
                  <a:cubicBezTo>
                    <a:pt x="388" y="247"/>
                    <a:pt x="388" y="247"/>
                    <a:pt x="388" y="247"/>
                  </a:cubicBezTo>
                  <a:cubicBezTo>
                    <a:pt x="388" y="246"/>
                    <a:pt x="388" y="246"/>
                    <a:pt x="388" y="246"/>
                  </a:cubicBezTo>
                  <a:cubicBezTo>
                    <a:pt x="388" y="244"/>
                    <a:pt x="388" y="244"/>
                    <a:pt x="388" y="244"/>
                  </a:cubicBezTo>
                  <a:cubicBezTo>
                    <a:pt x="393" y="236"/>
                    <a:pt x="393" y="236"/>
                    <a:pt x="393" y="236"/>
                  </a:cubicBezTo>
                  <a:cubicBezTo>
                    <a:pt x="394" y="235"/>
                    <a:pt x="394" y="235"/>
                    <a:pt x="394" y="235"/>
                  </a:cubicBezTo>
                  <a:cubicBezTo>
                    <a:pt x="397" y="229"/>
                    <a:pt x="397" y="229"/>
                    <a:pt x="397" y="229"/>
                  </a:cubicBezTo>
                  <a:cubicBezTo>
                    <a:pt x="398" y="219"/>
                    <a:pt x="398" y="219"/>
                    <a:pt x="398" y="219"/>
                  </a:cubicBezTo>
                  <a:cubicBezTo>
                    <a:pt x="390" y="215"/>
                    <a:pt x="390" y="215"/>
                    <a:pt x="390" y="215"/>
                  </a:cubicBezTo>
                  <a:cubicBezTo>
                    <a:pt x="372" y="204"/>
                    <a:pt x="372" y="204"/>
                    <a:pt x="372" y="204"/>
                  </a:cubicBezTo>
                  <a:cubicBezTo>
                    <a:pt x="370" y="204"/>
                    <a:pt x="370" y="204"/>
                    <a:pt x="370" y="204"/>
                  </a:cubicBezTo>
                  <a:cubicBezTo>
                    <a:pt x="359" y="203"/>
                    <a:pt x="359" y="203"/>
                    <a:pt x="359" y="203"/>
                  </a:cubicBezTo>
                  <a:cubicBezTo>
                    <a:pt x="356" y="204"/>
                    <a:pt x="356" y="204"/>
                    <a:pt x="356" y="204"/>
                  </a:cubicBezTo>
                  <a:cubicBezTo>
                    <a:pt x="343" y="238"/>
                    <a:pt x="343" y="238"/>
                    <a:pt x="343" y="238"/>
                  </a:cubicBezTo>
                  <a:cubicBezTo>
                    <a:pt x="334" y="272"/>
                    <a:pt x="334" y="272"/>
                    <a:pt x="334" y="272"/>
                  </a:cubicBezTo>
                  <a:cubicBezTo>
                    <a:pt x="334" y="273"/>
                    <a:pt x="334" y="273"/>
                    <a:pt x="334" y="273"/>
                  </a:cubicBezTo>
                  <a:cubicBezTo>
                    <a:pt x="336" y="279"/>
                    <a:pt x="336" y="279"/>
                    <a:pt x="336" y="279"/>
                  </a:cubicBezTo>
                  <a:cubicBezTo>
                    <a:pt x="339" y="287"/>
                    <a:pt x="339" y="287"/>
                    <a:pt x="339" y="287"/>
                  </a:cubicBezTo>
                  <a:cubicBezTo>
                    <a:pt x="343" y="290"/>
                    <a:pt x="343" y="290"/>
                    <a:pt x="343" y="290"/>
                  </a:cubicBezTo>
                  <a:cubicBezTo>
                    <a:pt x="349" y="293"/>
                    <a:pt x="349" y="293"/>
                    <a:pt x="349" y="293"/>
                  </a:cubicBezTo>
                  <a:cubicBezTo>
                    <a:pt x="351" y="294"/>
                    <a:pt x="351" y="294"/>
                    <a:pt x="351" y="294"/>
                  </a:cubicBezTo>
                  <a:cubicBezTo>
                    <a:pt x="349" y="298"/>
                    <a:pt x="349" y="298"/>
                    <a:pt x="349" y="298"/>
                  </a:cubicBezTo>
                  <a:cubicBezTo>
                    <a:pt x="320" y="300"/>
                    <a:pt x="320" y="300"/>
                    <a:pt x="320" y="300"/>
                  </a:cubicBezTo>
                  <a:cubicBezTo>
                    <a:pt x="315" y="299"/>
                    <a:pt x="315" y="299"/>
                    <a:pt x="315" y="299"/>
                  </a:cubicBezTo>
                  <a:cubicBezTo>
                    <a:pt x="310" y="297"/>
                    <a:pt x="310" y="297"/>
                    <a:pt x="310" y="297"/>
                  </a:cubicBezTo>
                  <a:cubicBezTo>
                    <a:pt x="307" y="295"/>
                    <a:pt x="307" y="295"/>
                    <a:pt x="307" y="295"/>
                  </a:cubicBezTo>
                  <a:cubicBezTo>
                    <a:pt x="306" y="295"/>
                    <a:pt x="306" y="295"/>
                    <a:pt x="306" y="295"/>
                  </a:cubicBezTo>
                  <a:cubicBezTo>
                    <a:pt x="306" y="295"/>
                    <a:pt x="306" y="295"/>
                    <a:pt x="306" y="295"/>
                  </a:cubicBezTo>
                  <a:cubicBezTo>
                    <a:pt x="305" y="296"/>
                    <a:pt x="305" y="296"/>
                    <a:pt x="305" y="296"/>
                  </a:cubicBezTo>
                  <a:cubicBezTo>
                    <a:pt x="303" y="300"/>
                    <a:pt x="303" y="300"/>
                    <a:pt x="303" y="300"/>
                  </a:cubicBezTo>
                  <a:cubicBezTo>
                    <a:pt x="303" y="300"/>
                    <a:pt x="303" y="300"/>
                    <a:pt x="303" y="300"/>
                  </a:cubicBezTo>
                  <a:cubicBezTo>
                    <a:pt x="304" y="301"/>
                    <a:pt x="304" y="301"/>
                    <a:pt x="304" y="301"/>
                  </a:cubicBezTo>
                  <a:cubicBezTo>
                    <a:pt x="319" y="321"/>
                    <a:pt x="319" y="321"/>
                    <a:pt x="319" y="321"/>
                  </a:cubicBezTo>
                  <a:cubicBezTo>
                    <a:pt x="325" y="323"/>
                    <a:pt x="325" y="323"/>
                    <a:pt x="325" y="323"/>
                  </a:cubicBezTo>
                  <a:cubicBezTo>
                    <a:pt x="326" y="323"/>
                    <a:pt x="326" y="323"/>
                    <a:pt x="326" y="323"/>
                  </a:cubicBezTo>
                  <a:cubicBezTo>
                    <a:pt x="326" y="324"/>
                    <a:pt x="326" y="324"/>
                    <a:pt x="326" y="324"/>
                  </a:cubicBezTo>
                  <a:cubicBezTo>
                    <a:pt x="326" y="325"/>
                    <a:pt x="326" y="325"/>
                    <a:pt x="326" y="325"/>
                  </a:cubicBezTo>
                  <a:cubicBezTo>
                    <a:pt x="324" y="336"/>
                    <a:pt x="324" y="336"/>
                    <a:pt x="324" y="336"/>
                  </a:cubicBezTo>
                  <a:cubicBezTo>
                    <a:pt x="322" y="341"/>
                    <a:pt x="322" y="341"/>
                    <a:pt x="322" y="341"/>
                  </a:cubicBezTo>
                  <a:cubicBezTo>
                    <a:pt x="321" y="343"/>
                    <a:pt x="321" y="343"/>
                    <a:pt x="321" y="343"/>
                  </a:cubicBezTo>
                  <a:cubicBezTo>
                    <a:pt x="319" y="343"/>
                    <a:pt x="319" y="343"/>
                    <a:pt x="319" y="343"/>
                  </a:cubicBezTo>
                  <a:cubicBezTo>
                    <a:pt x="317" y="343"/>
                    <a:pt x="317" y="343"/>
                    <a:pt x="317" y="343"/>
                  </a:cubicBezTo>
                  <a:cubicBezTo>
                    <a:pt x="310" y="340"/>
                    <a:pt x="310" y="340"/>
                    <a:pt x="310" y="340"/>
                  </a:cubicBezTo>
                  <a:cubicBezTo>
                    <a:pt x="308" y="342"/>
                    <a:pt x="308" y="342"/>
                    <a:pt x="308" y="342"/>
                  </a:cubicBezTo>
                  <a:cubicBezTo>
                    <a:pt x="301" y="334"/>
                    <a:pt x="301" y="334"/>
                    <a:pt x="301" y="334"/>
                  </a:cubicBezTo>
                  <a:cubicBezTo>
                    <a:pt x="299" y="333"/>
                    <a:pt x="299" y="333"/>
                    <a:pt x="299" y="333"/>
                  </a:cubicBezTo>
                  <a:cubicBezTo>
                    <a:pt x="297" y="334"/>
                    <a:pt x="297" y="334"/>
                    <a:pt x="297" y="334"/>
                  </a:cubicBezTo>
                  <a:cubicBezTo>
                    <a:pt x="297" y="334"/>
                    <a:pt x="297" y="334"/>
                    <a:pt x="297" y="334"/>
                  </a:cubicBezTo>
                  <a:cubicBezTo>
                    <a:pt x="296" y="336"/>
                    <a:pt x="296" y="336"/>
                    <a:pt x="296" y="336"/>
                  </a:cubicBezTo>
                  <a:cubicBezTo>
                    <a:pt x="294" y="342"/>
                    <a:pt x="294" y="342"/>
                    <a:pt x="294" y="342"/>
                  </a:cubicBezTo>
                  <a:cubicBezTo>
                    <a:pt x="299" y="350"/>
                    <a:pt x="299" y="350"/>
                    <a:pt x="299" y="350"/>
                  </a:cubicBezTo>
                  <a:cubicBezTo>
                    <a:pt x="299" y="351"/>
                    <a:pt x="299" y="351"/>
                    <a:pt x="299" y="351"/>
                  </a:cubicBezTo>
                  <a:cubicBezTo>
                    <a:pt x="303" y="352"/>
                    <a:pt x="303" y="352"/>
                    <a:pt x="303" y="352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07" y="353"/>
                    <a:pt x="307" y="353"/>
                    <a:pt x="307" y="353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38" y="388"/>
                    <a:pt x="338" y="388"/>
                    <a:pt x="338" y="388"/>
                  </a:cubicBezTo>
                  <a:cubicBezTo>
                    <a:pt x="342" y="395"/>
                    <a:pt x="342" y="395"/>
                    <a:pt x="342" y="395"/>
                  </a:cubicBezTo>
                  <a:cubicBezTo>
                    <a:pt x="339" y="392"/>
                    <a:pt x="339" y="392"/>
                    <a:pt x="339" y="392"/>
                  </a:cubicBezTo>
                  <a:cubicBezTo>
                    <a:pt x="309" y="375"/>
                    <a:pt x="309" y="375"/>
                    <a:pt x="309" y="375"/>
                  </a:cubicBezTo>
                  <a:cubicBezTo>
                    <a:pt x="308" y="375"/>
                    <a:pt x="308" y="375"/>
                    <a:pt x="308" y="375"/>
                  </a:cubicBezTo>
                  <a:cubicBezTo>
                    <a:pt x="303" y="377"/>
                    <a:pt x="303" y="377"/>
                    <a:pt x="303" y="377"/>
                  </a:cubicBezTo>
                  <a:cubicBezTo>
                    <a:pt x="303" y="378"/>
                    <a:pt x="303" y="378"/>
                    <a:pt x="303" y="378"/>
                  </a:cubicBezTo>
                  <a:cubicBezTo>
                    <a:pt x="304" y="381"/>
                    <a:pt x="304" y="381"/>
                    <a:pt x="304" y="381"/>
                  </a:cubicBezTo>
                  <a:cubicBezTo>
                    <a:pt x="305" y="382"/>
                    <a:pt x="305" y="382"/>
                    <a:pt x="305" y="382"/>
                  </a:cubicBezTo>
                  <a:cubicBezTo>
                    <a:pt x="314" y="387"/>
                    <a:pt x="314" y="387"/>
                    <a:pt x="314" y="387"/>
                  </a:cubicBezTo>
                  <a:cubicBezTo>
                    <a:pt x="324" y="393"/>
                    <a:pt x="324" y="393"/>
                    <a:pt x="324" y="393"/>
                  </a:cubicBezTo>
                  <a:cubicBezTo>
                    <a:pt x="324" y="394"/>
                    <a:pt x="324" y="394"/>
                    <a:pt x="324" y="394"/>
                  </a:cubicBezTo>
                  <a:cubicBezTo>
                    <a:pt x="326" y="398"/>
                    <a:pt x="326" y="398"/>
                    <a:pt x="326" y="398"/>
                  </a:cubicBezTo>
                  <a:cubicBezTo>
                    <a:pt x="327" y="399"/>
                    <a:pt x="327" y="399"/>
                    <a:pt x="327" y="399"/>
                  </a:cubicBezTo>
                  <a:cubicBezTo>
                    <a:pt x="326" y="399"/>
                    <a:pt x="326" y="399"/>
                    <a:pt x="326" y="399"/>
                  </a:cubicBezTo>
                  <a:cubicBezTo>
                    <a:pt x="320" y="397"/>
                    <a:pt x="320" y="397"/>
                    <a:pt x="320" y="397"/>
                  </a:cubicBezTo>
                  <a:cubicBezTo>
                    <a:pt x="319" y="396"/>
                    <a:pt x="319" y="396"/>
                    <a:pt x="319" y="396"/>
                  </a:cubicBezTo>
                  <a:cubicBezTo>
                    <a:pt x="317" y="395"/>
                    <a:pt x="317" y="395"/>
                    <a:pt x="317" y="395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1" y="390"/>
                    <a:pt x="311" y="390"/>
                    <a:pt x="311" y="390"/>
                  </a:cubicBezTo>
                  <a:cubicBezTo>
                    <a:pt x="297" y="393"/>
                    <a:pt x="297" y="393"/>
                    <a:pt x="297" y="393"/>
                  </a:cubicBezTo>
                  <a:cubicBezTo>
                    <a:pt x="295" y="397"/>
                    <a:pt x="295" y="397"/>
                    <a:pt x="295" y="397"/>
                  </a:cubicBezTo>
                  <a:cubicBezTo>
                    <a:pt x="295" y="397"/>
                    <a:pt x="295" y="397"/>
                    <a:pt x="295" y="397"/>
                  </a:cubicBezTo>
                  <a:cubicBezTo>
                    <a:pt x="294" y="398"/>
                    <a:pt x="294" y="398"/>
                    <a:pt x="294" y="398"/>
                  </a:cubicBezTo>
                  <a:cubicBezTo>
                    <a:pt x="285" y="393"/>
                    <a:pt x="285" y="393"/>
                    <a:pt x="285" y="393"/>
                  </a:cubicBezTo>
                  <a:cubicBezTo>
                    <a:pt x="285" y="393"/>
                    <a:pt x="285" y="393"/>
                    <a:pt x="285" y="393"/>
                  </a:cubicBezTo>
                  <a:cubicBezTo>
                    <a:pt x="282" y="386"/>
                    <a:pt x="282" y="386"/>
                    <a:pt x="282" y="386"/>
                  </a:cubicBezTo>
                  <a:cubicBezTo>
                    <a:pt x="279" y="382"/>
                    <a:pt x="279" y="382"/>
                    <a:pt x="279" y="382"/>
                  </a:cubicBezTo>
                  <a:cubicBezTo>
                    <a:pt x="275" y="378"/>
                    <a:pt x="275" y="378"/>
                    <a:pt x="275" y="378"/>
                  </a:cubicBezTo>
                  <a:cubicBezTo>
                    <a:pt x="272" y="381"/>
                    <a:pt x="272" y="381"/>
                    <a:pt x="272" y="381"/>
                  </a:cubicBezTo>
                  <a:cubicBezTo>
                    <a:pt x="271" y="382"/>
                    <a:pt x="271" y="382"/>
                    <a:pt x="271" y="382"/>
                  </a:cubicBezTo>
                  <a:cubicBezTo>
                    <a:pt x="270" y="384"/>
                    <a:pt x="270" y="384"/>
                    <a:pt x="270" y="384"/>
                  </a:cubicBezTo>
                  <a:cubicBezTo>
                    <a:pt x="269" y="386"/>
                    <a:pt x="269" y="386"/>
                    <a:pt x="269" y="386"/>
                  </a:cubicBezTo>
                  <a:cubicBezTo>
                    <a:pt x="269" y="387"/>
                    <a:pt x="269" y="387"/>
                    <a:pt x="269" y="387"/>
                  </a:cubicBezTo>
                  <a:cubicBezTo>
                    <a:pt x="276" y="398"/>
                    <a:pt x="276" y="398"/>
                    <a:pt x="276" y="398"/>
                  </a:cubicBezTo>
                  <a:cubicBezTo>
                    <a:pt x="277" y="409"/>
                    <a:pt x="277" y="409"/>
                    <a:pt x="277" y="409"/>
                  </a:cubicBezTo>
                  <a:cubicBezTo>
                    <a:pt x="277" y="410"/>
                    <a:pt x="277" y="410"/>
                    <a:pt x="277" y="410"/>
                  </a:cubicBezTo>
                  <a:cubicBezTo>
                    <a:pt x="277" y="410"/>
                    <a:pt x="277" y="410"/>
                    <a:pt x="277" y="410"/>
                  </a:cubicBezTo>
                  <a:cubicBezTo>
                    <a:pt x="278" y="412"/>
                    <a:pt x="278" y="412"/>
                    <a:pt x="278" y="412"/>
                  </a:cubicBezTo>
                  <a:cubicBezTo>
                    <a:pt x="278" y="413"/>
                    <a:pt x="278" y="413"/>
                    <a:pt x="278" y="413"/>
                  </a:cubicBezTo>
                  <a:cubicBezTo>
                    <a:pt x="278" y="414"/>
                    <a:pt x="278" y="414"/>
                    <a:pt x="278" y="414"/>
                  </a:cubicBezTo>
                  <a:cubicBezTo>
                    <a:pt x="276" y="414"/>
                    <a:pt x="276" y="414"/>
                    <a:pt x="276" y="414"/>
                  </a:cubicBezTo>
                  <a:cubicBezTo>
                    <a:pt x="276" y="413"/>
                    <a:pt x="276" y="413"/>
                    <a:pt x="276" y="413"/>
                  </a:cubicBezTo>
                  <a:cubicBezTo>
                    <a:pt x="275" y="413"/>
                    <a:pt x="275" y="413"/>
                    <a:pt x="275" y="413"/>
                  </a:cubicBezTo>
                  <a:cubicBezTo>
                    <a:pt x="274" y="412"/>
                    <a:pt x="274" y="412"/>
                    <a:pt x="274" y="412"/>
                  </a:cubicBezTo>
                  <a:cubicBezTo>
                    <a:pt x="273" y="412"/>
                    <a:pt x="273" y="412"/>
                    <a:pt x="273" y="412"/>
                  </a:cubicBezTo>
                  <a:cubicBezTo>
                    <a:pt x="272" y="413"/>
                    <a:pt x="272" y="413"/>
                    <a:pt x="272" y="413"/>
                  </a:cubicBezTo>
                  <a:cubicBezTo>
                    <a:pt x="272" y="414"/>
                    <a:pt x="272" y="414"/>
                    <a:pt x="272" y="414"/>
                  </a:cubicBezTo>
                  <a:cubicBezTo>
                    <a:pt x="272" y="415"/>
                    <a:pt x="272" y="415"/>
                    <a:pt x="272" y="415"/>
                  </a:cubicBezTo>
                  <a:cubicBezTo>
                    <a:pt x="274" y="416"/>
                    <a:pt x="274" y="416"/>
                    <a:pt x="274" y="416"/>
                  </a:cubicBezTo>
                  <a:cubicBezTo>
                    <a:pt x="274" y="416"/>
                    <a:pt x="274" y="416"/>
                    <a:pt x="274" y="416"/>
                  </a:cubicBezTo>
                  <a:cubicBezTo>
                    <a:pt x="275" y="417"/>
                    <a:pt x="275" y="417"/>
                    <a:pt x="275" y="417"/>
                  </a:cubicBezTo>
                  <a:cubicBezTo>
                    <a:pt x="275" y="417"/>
                    <a:pt x="275" y="417"/>
                    <a:pt x="275" y="417"/>
                  </a:cubicBezTo>
                  <a:cubicBezTo>
                    <a:pt x="275" y="418"/>
                    <a:pt x="275" y="418"/>
                    <a:pt x="275" y="418"/>
                  </a:cubicBezTo>
                  <a:cubicBezTo>
                    <a:pt x="274" y="418"/>
                    <a:pt x="274" y="418"/>
                    <a:pt x="274" y="418"/>
                  </a:cubicBezTo>
                  <a:cubicBezTo>
                    <a:pt x="273" y="418"/>
                    <a:pt x="273" y="418"/>
                    <a:pt x="273" y="418"/>
                  </a:cubicBezTo>
                  <a:cubicBezTo>
                    <a:pt x="273" y="418"/>
                    <a:pt x="273" y="418"/>
                    <a:pt x="273" y="418"/>
                  </a:cubicBezTo>
                  <a:cubicBezTo>
                    <a:pt x="272" y="417"/>
                    <a:pt x="272" y="417"/>
                    <a:pt x="272" y="417"/>
                  </a:cubicBezTo>
                  <a:cubicBezTo>
                    <a:pt x="269" y="415"/>
                    <a:pt x="269" y="415"/>
                    <a:pt x="269" y="415"/>
                  </a:cubicBezTo>
                  <a:cubicBezTo>
                    <a:pt x="267" y="412"/>
                    <a:pt x="267" y="412"/>
                    <a:pt x="267" y="412"/>
                  </a:cubicBezTo>
                  <a:cubicBezTo>
                    <a:pt x="267" y="410"/>
                    <a:pt x="267" y="410"/>
                    <a:pt x="267" y="410"/>
                  </a:cubicBezTo>
                  <a:cubicBezTo>
                    <a:pt x="267" y="408"/>
                    <a:pt x="267" y="408"/>
                    <a:pt x="267" y="408"/>
                  </a:cubicBezTo>
                  <a:cubicBezTo>
                    <a:pt x="267" y="405"/>
                    <a:pt x="267" y="405"/>
                    <a:pt x="267" y="405"/>
                  </a:cubicBezTo>
                  <a:cubicBezTo>
                    <a:pt x="265" y="395"/>
                    <a:pt x="265" y="395"/>
                    <a:pt x="265" y="395"/>
                  </a:cubicBezTo>
                  <a:cubicBezTo>
                    <a:pt x="264" y="393"/>
                    <a:pt x="264" y="393"/>
                    <a:pt x="264" y="393"/>
                  </a:cubicBezTo>
                  <a:cubicBezTo>
                    <a:pt x="261" y="393"/>
                    <a:pt x="261" y="393"/>
                    <a:pt x="261" y="393"/>
                  </a:cubicBezTo>
                  <a:cubicBezTo>
                    <a:pt x="260" y="393"/>
                    <a:pt x="260" y="393"/>
                    <a:pt x="260" y="393"/>
                  </a:cubicBezTo>
                  <a:cubicBezTo>
                    <a:pt x="256" y="393"/>
                    <a:pt x="256" y="393"/>
                    <a:pt x="256" y="393"/>
                  </a:cubicBezTo>
                  <a:cubicBezTo>
                    <a:pt x="247" y="394"/>
                    <a:pt x="247" y="394"/>
                    <a:pt x="247" y="394"/>
                  </a:cubicBezTo>
                  <a:cubicBezTo>
                    <a:pt x="245" y="395"/>
                    <a:pt x="245" y="395"/>
                    <a:pt x="245" y="395"/>
                  </a:cubicBezTo>
                  <a:cubicBezTo>
                    <a:pt x="245" y="396"/>
                    <a:pt x="245" y="396"/>
                    <a:pt x="245" y="396"/>
                  </a:cubicBezTo>
                  <a:cubicBezTo>
                    <a:pt x="247" y="422"/>
                    <a:pt x="247" y="422"/>
                    <a:pt x="247" y="422"/>
                  </a:cubicBezTo>
                  <a:cubicBezTo>
                    <a:pt x="248" y="424"/>
                    <a:pt x="248" y="424"/>
                    <a:pt x="248" y="424"/>
                  </a:cubicBezTo>
                  <a:cubicBezTo>
                    <a:pt x="254" y="428"/>
                    <a:pt x="254" y="428"/>
                    <a:pt x="254" y="428"/>
                  </a:cubicBezTo>
                  <a:cubicBezTo>
                    <a:pt x="265" y="435"/>
                    <a:pt x="265" y="435"/>
                    <a:pt x="265" y="435"/>
                  </a:cubicBezTo>
                  <a:cubicBezTo>
                    <a:pt x="257" y="434"/>
                    <a:pt x="257" y="434"/>
                    <a:pt x="257" y="434"/>
                  </a:cubicBezTo>
                  <a:cubicBezTo>
                    <a:pt x="256" y="434"/>
                    <a:pt x="256" y="434"/>
                    <a:pt x="256" y="434"/>
                  </a:cubicBezTo>
                  <a:cubicBezTo>
                    <a:pt x="254" y="435"/>
                    <a:pt x="254" y="435"/>
                    <a:pt x="254" y="435"/>
                  </a:cubicBezTo>
                  <a:cubicBezTo>
                    <a:pt x="251" y="436"/>
                    <a:pt x="251" y="436"/>
                    <a:pt x="251" y="436"/>
                  </a:cubicBezTo>
                  <a:cubicBezTo>
                    <a:pt x="251" y="437"/>
                    <a:pt x="251" y="437"/>
                    <a:pt x="251" y="437"/>
                  </a:cubicBezTo>
                  <a:cubicBezTo>
                    <a:pt x="246" y="448"/>
                    <a:pt x="246" y="448"/>
                    <a:pt x="246" y="448"/>
                  </a:cubicBezTo>
                  <a:cubicBezTo>
                    <a:pt x="246" y="450"/>
                    <a:pt x="246" y="450"/>
                    <a:pt x="246" y="450"/>
                  </a:cubicBezTo>
                  <a:cubicBezTo>
                    <a:pt x="246" y="451"/>
                    <a:pt x="246" y="451"/>
                    <a:pt x="246" y="451"/>
                  </a:cubicBezTo>
                  <a:cubicBezTo>
                    <a:pt x="261" y="470"/>
                    <a:pt x="261" y="470"/>
                    <a:pt x="261" y="470"/>
                  </a:cubicBezTo>
                  <a:cubicBezTo>
                    <a:pt x="266" y="474"/>
                    <a:pt x="266" y="474"/>
                    <a:pt x="266" y="474"/>
                  </a:cubicBezTo>
                  <a:cubicBezTo>
                    <a:pt x="267" y="474"/>
                    <a:pt x="267" y="474"/>
                    <a:pt x="267" y="474"/>
                  </a:cubicBezTo>
                  <a:cubicBezTo>
                    <a:pt x="270" y="473"/>
                    <a:pt x="270" y="473"/>
                    <a:pt x="270" y="473"/>
                  </a:cubicBezTo>
                  <a:cubicBezTo>
                    <a:pt x="277" y="472"/>
                    <a:pt x="277" y="472"/>
                    <a:pt x="277" y="472"/>
                  </a:cubicBezTo>
                  <a:cubicBezTo>
                    <a:pt x="284" y="474"/>
                    <a:pt x="284" y="474"/>
                    <a:pt x="284" y="474"/>
                  </a:cubicBezTo>
                  <a:cubicBezTo>
                    <a:pt x="285" y="475"/>
                    <a:pt x="285" y="475"/>
                    <a:pt x="285" y="475"/>
                  </a:cubicBezTo>
                  <a:cubicBezTo>
                    <a:pt x="285" y="475"/>
                    <a:pt x="285" y="475"/>
                    <a:pt x="285" y="475"/>
                  </a:cubicBezTo>
                  <a:cubicBezTo>
                    <a:pt x="286" y="476"/>
                    <a:pt x="286" y="476"/>
                    <a:pt x="286" y="476"/>
                  </a:cubicBezTo>
                  <a:cubicBezTo>
                    <a:pt x="285" y="477"/>
                    <a:pt x="285" y="477"/>
                    <a:pt x="285" y="477"/>
                  </a:cubicBezTo>
                  <a:cubicBezTo>
                    <a:pt x="285" y="478"/>
                    <a:pt x="285" y="478"/>
                    <a:pt x="285" y="478"/>
                  </a:cubicBezTo>
                  <a:cubicBezTo>
                    <a:pt x="268" y="484"/>
                    <a:pt x="268" y="484"/>
                    <a:pt x="268" y="484"/>
                  </a:cubicBezTo>
                  <a:cubicBezTo>
                    <a:pt x="267" y="483"/>
                    <a:pt x="267" y="483"/>
                    <a:pt x="267" y="483"/>
                  </a:cubicBezTo>
                  <a:cubicBezTo>
                    <a:pt x="262" y="479"/>
                    <a:pt x="262" y="479"/>
                    <a:pt x="262" y="479"/>
                  </a:cubicBezTo>
                  <a:cubicBezTo>
                    <a:pt x="262" y="478"/>
                    <a:pt x="262" y="478"/>
                    <a:pt x="262" y="478"/>
                  </a:cubicBezTo>
                  <a:cubicBezTo>
                    <a:pt x="251" y="467"/>
                    <a:pt x="251" y="467"/>
                    <a:pt x="251" y="467"/>
                  </a:cubicBezTo>
                  <a:cubicBezTo>
                    <a:pt x="247" y="465"/>
                    <a:pt x="247" y="465"/>
                    <a:pt x="247" y="465"/>
                  </a:cubicBezTo>
                  <a:cubicBezTo>
                    <a:pt x="243" y="466"/>
                    <a:pt x="243" y="466"/>
                    <a:pt x="243" y="466"/>
                  </a:cubicBezTo>
                  <a:cubicBezTo>
                    <a:pt x="241" y="471"/>
                    <a:pt x="241" y="471"/>
                    <a:pt x="241" y="471"/>
                  </a:cubicBezTo>
                  <a:cubicBezTo>
                    <a:pt x="238" y="485"/>
                    <a:pt x="238" y="485"/>
                    <a:pt x="238" y="485"/>
                  </a:cubicBezTo>
                  <a:cubicBezTo>
                    <a:pt x="238" y="488"/>
                    <a:pt x="238" y="488"/>
                    <a:pt x="238" y="488"/>
                  </a:cubicBezTo>
                  <a:cubicBezTo>
                    <a:pt x="238" y="493"/>
                    <a:pt x="238" y="493"/>
                    <a:pt x="238" y="493"/>
                  </a:cubicBezTo>
                  <a:cubicBezTo>
                    <a:pt x="239" y="498"/>
                    <a:pt x="239" y="498"/>
                    <a:pt x="239" y="498"/>
                  </a:cubicBezTo>
                  <a:cubicBezTo>
                    <a:pt x="239" y="499"/>
                    <a:pt x="239" y="499"/>
                    <a:pt x="239" y="499"/>
                  </a:cubicBezTo>
                  <a:cubicBezTo>
                    <a:pt x="244" y="516"/>
                    <a:pt x="244" y="516"/>
                    <a:pt x="244" y="516"/>
                  </a:cubicBezTo>
                  <a:cubicBezTo>
                    <a:pt x="246" y="520"/>
                    <a:pt x="246" y="520"/>
                    <a:pt x="246" y="520"/>
                  </a:cubicBezTo>
                  <a:cubicBezTo>
                    <a:pt x="246" y="521"/>
                    <a:pt x="246" y="521"/>
                    <a:pt x="246" y="521"/>
                  </a:cubicBezTo>
                  <a:cubicBezTo>
                    <a:pt x="249" y="524"/>
                    <a:pt x="249" y="524"/>
                    <a:pt x="249" y="524"/>
                  </a:cubicBezTo>
                  <a:cubicBezTo>
                    <a:pt x="251" y="525"/>
                    <a:pt x="251" y="525"/>
                    <a:pt x="251" y="525"/>
                  </a:cubicBezTo>
                  <a:cubicBezTo>
                    <a:pt x="251" y="525"/>
                    <a:pt x="251" y="525"/>
                    <a:pt x="251" y="525"/>
                  </a:cubicBezTo>
                  <a:cubicBezTo>
                    <a:pt x="274" y="522"/>
                    <a:pt x="274" y="522"/>
                    <a:pt x="274" y="522"/>
                  </a:cubicBezTo>
                  <a:cubicBezTo>
                    <a:pt x="276" y="522"/>
                    <a:pt x="276" y="522"/>
                    <a:pt x="276" y="522"/>
                  </a:cubicBezTo>
                  <a:cubicBezTo>
                    <a:pt x="281" y="521"/>
                    <a:pt x="281" y="521"/>
                    <a:pt x="281" y="521"/>
                  </a:cubicBezTo>
                  <a:cubicBezTo>
                    <a:pt x="281" y="520"/>
                    <a:pt x="281" y="520"/>
                    <a:pt x="281" y="520"/>
                  </a:cubicBezTo>
                  <a:cubicBezTo>
                    <a:pt x="289" y="513"/>
                    <a:pt x="289" y="513"/>
                    <a:pt x="289" y="513"/>
                  </a:cubicBezTo>
                  <a:cubicBezTo>
                    <a:pt x="291" y="511"/>
                    <a:pt x="291" y="511"/>
                    <a:pt x="291" y="511"/>
                  </a:cubicBezTo>
                  <a:cubicBezTo>
                    <a:pt x="292" y="511"/>
                    <a:pt x="292" y="511"/>
                    <a:pt x="292" y="511"/>
                  </a:cubicBezTo>
                  <a:cubicBezTo>
                    <a:pt x="292" y="510"/>
                    <a:pt x="292" y="510"/>
                    <a:pt x="292" y="510"/>
                  </a:cubicBezTo>
                  <a:cubicBezTo>
                    <a:pt x="294" y="507"/>
                    <a:pt x="294" y="507"/>
                    <a:pt x="294" y="507"/>
                  </a:cubicBezTo>
                  <a:cubicBezTo>
                    <a:pt x="296" y="507"/>
                    <a:pt x="296" y="507"/>
                    <a:pt x="296" y="507"/>
                  </a:cubicBezTo>
                  <a:cubicBezTo>
                    <a:pt x="296" y="506"/>
                    <a:pt x="296" y="506"/>
                    <a:pt x="296" y="506"/>
                  </a:cubicBezTo>
                  <a:cubicBezTo>
                    <a:pt x="297" y="507"/>
                    <a:pt x="297" y="507"/>
                    <a:pt x="297" y="507"/>
                  </a:cubicBezTo>
                  <a:cubicBezTo>
                    <a:pt x="297" y="508"/>
                    <a:pt x="297" y="508"/>
                    <a:pt x="297" y="508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296" y="511"/>
                    <a:pt x="296" y="511"/>
                    <a:pt x="296" y="511"/>
                  </a:cubicBezTo>
                  <a:cubicBezTo>
                    <a:pt x="294" y="512"/>
                    <a:pt x="294" y="512"/>
                    <a:pt x="294" y="512"/>
                  </a:cubicBezTo>
                  <a:cubicBezTo>
                    <a:pt x="290" y="516"/>
                    <a:pt x="290" y="516"/>
                    <a:pt x="290" y="516"/>
                  </a:cubicBezTo>
                  <a:cubicBezTo>
                    <a:pt x="286" y="520"/>
                    <a:pt x="286" y="520"/>
                    <a:pt x="286" y="520"/>
                  </a:cubicBezTo>
                  <a:cubicBezTo>
                    <a:pt x="284" y="521"/>
                    <a:pt x="284" y="521"/>
                    <a:pt x="284" y="521"/>
                  </a:cubicBezTo>
                  <a:cubicBezTo>
                    <a:pt x="275" y="525"/>
                    <a:pt x="275" y="525"/>
                    <a:pt x="275" y="525"/>
                  </a:cubicBezTo>
                  <a:cubicBezTo>
                    <a:pt x="271" y="526"/>
                    <a:pt x="271" y="526"/>
                    <a:pt x="271" y="526"/>
                  </a:cubicBezTo>
                  <a:cubicBezTo>
                    <a:pt x="268" y="526"/>
                    <a:pt x="268" y="526"/>
                    <a:pt x="268" y="526"/>
                  </a:cubicBezTo>
                  <a:cubicBezTo>
                    <a:pt x="265" y="527"/>
                    <a:pt x="265" y="527"/>
                    <a:pt x="265" y="527"/>
                  </a:cubicBezTo>
                  <a:cubicBezTo>
                    <a:pt x="260" y="530"/>
                    <a:pt x="260" y="530"/>
                    <a:pt x="260" y="530"/>
                  </a:cubicBezTo>
                  <a:cubicBezTo>
                    <a:pt x="259" y="531"/>
                    <a:pt x="259" y="531"/>
                    <a:pt x="259" y="531"/>
                  </a:cubicBezTo>
                  <a:cubicBezTo>
                    <a:pt x="257" y="537"/>
                    <a:pt x="257" y="537"/>
                    <a:pt x="257" y="537"/>
                  </a:cubicBezTo>
                  <a:cubicBezTo>
                    <a:pt x="257" y="538"/>
                    <a:pt x="257" y="538"/>
                    <a:pt x="257" y="538"/>
                  </a:cubicBezTo>
                  <a:cubicBezTo>
                    <a:pt x="257" y="539"/>
                    <a:pt x="257" y="539"/>
                    <a:pt x="257" y="539"/>
                  </a:cubicBezTo>
                  <a:cubicBezTo>
                    <a:pt x="257" y="541"/>
                    <a:pt x="257" y="541"/>
                    <a:pt x="257" y="541"/>
                  </a:cubicBezTo>
                  <a:cubicBezTo>
                    <a:pt x="260" y="542"/>
                    <a:pt x="260" y="542"/>
                    <a:pt x="260" y="542"/>
                  </a:cubicBezTo>
                  <a:cubicBezTo>
                    <a:pt x="271" y="542"/>
                    <a:pt x="271" y="542"/>
                    <a:pt x="271" y="542"/>
                  </a:cubicBezTo>
                  <a:cubicBezTo>
                    <a:pt x="280" y="542"/>
                    <a:pt x="280" y="542"/>
                    <a:pt x="280" y="542"/>
                  </a:cubicBezTo>
                  <a:cubicBezTo>
                    <a:pt x="281" y="542"/>
                    <a:pt x="281" y="542"/>
                    <a:pt x="281" y="542"/>
                  </a:cubicBezTo>
                  <a:cubicBezTo>
                    <a:pt x="284" y="542"/>
                    <a:pt x="284" y="542"/>
                    <a:pt x="284" y="542"/>
                  </a:cubicBezTo>
                  <a:cubicBezTo>
                    <a:pt x="285" y="543"/>
                    <a:pt x="285" y="543"/>
                    <a:pt x="285" y="543"/>
                  </a:cubicBezTo>
                  <a:cubicBezTo>
                    <a:pt x="303" y="553"/>
                    <a:pt x="303" y="553"/>
                    <a:pt x="303" y="553"/>
                  </a:cubicBezTo>
                  <a:cubicBezTo>
                    <a:pt x="303" y="555"/>
                    <a:pt x="303" y="555"/>
                    <a:pt x="303" y="555"/>
                  </a:cubicBezTo>
                  <a:cubicBezTo>
                    <a:pt x="303" y="555"/>
                    <a:pt x="303" y="555"/>
                    <a:pt x="303" y="555"/>
                  </a:cubicBezTo>
                  <a:cubicBezTo>
                    <a:pt x="302" y="556"/>
                    <a:pt x="302" y="556"/>
                    <a:pt x="302" y="556"/>
                  </a:cubicBezTo>
                  <a:cubicBezTo>
                    <a:pt x="301" y="557"/>
                    <a:pt x="301" y="557"/>
                    <a:pt x="301" y="557"/>
                  </a:cubicBezTo>
                  <a:cubicBezTo>
                    <a:pt x="299" y="557"/>
                    <a:pt x="299" y="557"/>
                    <a:pt x="299" y="557"/>
                  </a:cubicBezTo>
                  <a:cubicBezTo>
                    <a:pt x="294" y="556"/>
                    <a:pt x="294" y="556"/>
                    <a:pt x="294" y="556"/>
                  </a:cubicBezTo>
                  <a:cubicBezTo>
                    <a:pt x="292" y="555"/>
                    <a:pt x="292" y="555"/>
                    <a:pt x="292" y="555"/>
                  </a:cubicBezTo>
                  <a:cubicBezTo>
                    <a:pt x="290" y="552"/>
                    <a:pt x="290" y="552"/>
                    <a:pt x="290" y="552"/>
                  </a:cubicBezTo>
                  <a:cubicBezTo>
                    <a:pt x="289" y="551"/>
                    <a:pt x="289" y="551"/>
                    <a:pt x="289" y="551"/>
                  </a:cubicBezTo>
                  <a:cubicBezTo>
                    <a:pt x="284" y="546"/>
                    <a:pt x="284" y="546"/>
                    <a:pt x="284" y="546"/>
                  </a:cubicBezTo>
                  <a:cubicBezTo>
                    <a:pt x="283" y="544"/>
                    <a:pt x="283" y="544"/>
                    <a:pt x="283" y="544"/>
                  </a:cubicBezTo>
                  <a:cubicBezTo>
                    <a:pt x="282" y="544"/>
                    <a:pt x="282" y="544"/>
                    <a:pt x="282" y="544"/>
                  </a:cubicBezTo>
                  <a:cubicBezTo>
                    <a:pt x="271" y="548"/>
                    <a:pt x="271" y="548"/>
                    <a:pt x="271" y="548"/>
                  </a:cubicBezTo>
                  <a:cubicBezTo>
                    <a:pt x="270" y="549"/>
                    <a:pt x="270" y="549"/>
                    <a:pt x="270" y="549"/>
                  </a:cubicBezTo>
                  <a:cubicBezTo>
                    <a:pt x="269" y="551"/>
                    <a:pt x="269" y="551"/>
                    <a:pt x="269" y="551"/>
                  </a:cubicBezTo>
                  <a:cubicBezTo>
                    <a:pt x="267" y="553"/>
                    <a:pt x="267" y="553"/>
                    <a:pt x="267" y="553"/>
                  </a:cubicBezTo>
                  <a:cubicBezTo>
                    <a:pt x="271" y="556"/>
                    <a:pt x="271" y="556"/>
                    <a:pt x="271" y="556"/>
                  </a:cubicBezTo>
                  <a:cubicBezTo>
                    <a:pt x="271" y="557"/>
                    <a:pt x="271" y="557"/>
                    <a:pt x="271" y="557"/>
                  </a:cubicBezTo>
                  <a:cubicBezTo>
                    <a:pt x="270" y="561"/>
                    <a:pt x="270" y="561"/>
                    <a:pt x="270" y="561"/>
                  </a:cubicBezTo>
                  <a:cubicBezTo>
                    <a:pt x="270" y="562"/>
                    <a:pt x="270" y="562"/>
                    <a:pt x="270" y="562"/>
                  </a:cubicBezTo>
                  <a:cubicBezTo>
                    <a:pt x="269" y="562"/>
                    <a:pt x="269" y="562"/>
                    <a:pt x="269" y="562"/>
                  </a:cubicBezTo>
                  <a:cubicBezTo>
                    <a:pt x="266" y="564"/>
                    <a:pt x="266" y="564"/>
                    <a:pt x="266" y="564"/>
                  </a:cubicBezTo>
                  <a:cubicBezTo>
                    <a:pt x="263" y="566"/>
                    <a:pt x="263" y="566"/>
                    <a:pt x="263" y="566"/>
                  </a:cubicBezTo>
                  <a:cubicBezTo>
                    <a:pt x="262" y="571"/>
                    <a:pt x="262" y="571"/>
                    <a:pt x="262" y="571"/>
                  </a:cubicBezTo>
                  <a:cubicBezTo>
                    <a:pt x="262" y="572"/>
                    <a:pt x="262" y="572"/>
                    <a:pt x="262" y="572"/>
                  </a:cubicBezTo>
                  <a:cubicBezTo>
                    <a:pt x="262" y="573"/>
                    <a:pt x="262" y="573"/>
                    <a:pt x="262" y="573"/>
                  </a:cubicBezTo>
                  <a:cubicBezTo>
                    <a:pt x="263" y="574"/>
                    <a:pt x="263" y="574"/>
                    <a:pt x="263" y="574"/>
                  </a:cubicBezTo>
                  <a:cubicBezTo>
                    <a:pt x="266" y="575"/>
                    <a:pt x="266" y="575"/>
                    <a:pt x="266" y="575"/>
                  </a:cubicBezTo>
                  <a:cubicBezTo>
                    <a:pt x="267" y="576"/>
                    <a:pt x="267" y="576"/>
                    <a:pt x="267" y="576"/>
                  </a:cubicBezTo>
                  <a:cubicBezTo>
                    <a:pt x="269" y="576"/>
                    <a:pt x="269" y="576"/>
                    <a:pt x="269" y="576"/>
                  </a:cubicBezTo>
                  <a:cubicBezTo>
                    <a:pt x="280" y="580"/>
                    <a:pt x="280" y="580"/>
                    <a:pt x="280" y="580"/>
                  </a:cubicBezTo>
                  <a:cubicBezTo>
                    <a:pt x="294" y="586"/>
                    <a:pt x="294" y="586"/>
                    <a:pt x="294" y="586"/>
                  </a:cubicBezTo>
                  <a:cubicBezTo>
                    <a:pt x="291" y="587"/>
                    <a:pt x="291" y="587"/>
                    <a:pt x="291" y="587"/>
                  </a:cubicBezTo>
                  <a:cubicBezTo>
                    <a:pt x="284" y="589"/>
                    <a:pt x="284" y="589"/>
                    <a:pt x="284" y="589"/>
                  </a:cubicBezTo>
                  <a:cubicBezTo>
                    <a:pt x="281" y="589"/>
                    <a:pt x="281" y="589"/>
                    <a:pt x="281" y="589"/>
                  </a:cubicBezTo>
                  <a:cubicBezTo>
                    <a:pt x="277" y="586"/>
                    <a:pt x="277" y="586"/>
                    <a:pt x="277" y="586"/>
                  </a:cubicBezTo>
                  <a:cubicBezTo>
                    <a:pt x="276" y="586"/>
                    <a:pt x="276" y="586"/>
                    <a:pt x="276" y="586"/>
                  </a:cubicBezTo>
                  <a:cubicBezTo>
                    <a:pt x="276" y="585"/>
                    <a:pt x="276" y="585"/>
                    <a:pt x="276" y="585"/>
                  </a:cubicBezTo>
                  <a:cubicBezTo>
                    <a:pt x="275" y="583"/>
                    <a:pt x="275" y="583"/>
                    <a:pt x="275" y="583"/>
                  </a:cubicBezTo>
                  <a:cubicBezTo>
                    <a:pt x="274" y="582"/>
                    <a:pt x="274" y="582"/>
                    <a:pt x="274" y="582"/>
                  </a:cubicBezTo>
                  <a:cubicBezTo>
                    <a:pt x="268" y="580"/>
                    <a:pt x="268" y="580"/>
                    <a:pt x="268" y="580"/>
                  </a:cubicBezTo>
                  <a:cubicBezTo>
                    <a:pt x="260" y="581"/>
                    <a:pt x="260" y="581"/>
                    <a:pt x="260" y="581"/>
                  </a:cubicBezTo>
                  <a:cubicBezTo>
                    <a:pt x="258" y="582"/>
                    <a:pt x="258" y="582"/>
                    <a:pt x="258" y="582"/>
                  </a:cubicBezTo>
                  <a:cubicBezTo>
                    <a:pt x="257" y="582"/>
                    <a:pt x="257" y="582"/>
                    <a:pt x="257" y="582"/>
                  </a:cubicBezTo>
                  <a:cubicBezTo>
                    <a:pt x="251" y="591"/>
                    <a:pt x="251" y="591"/>
                    <a:pt x="251" y="591"/>
                  </a:cubicBezTo>
                  <a:cubicBezTo>
                    <a:pt x="249" y="593"/>
                    <a:pt x="249" y="593"/>
                    <a:pt x="249" y="593"/>
                  </a:cubicBezTo>
                  <a:cubicBezTo>
                    <a:pt x="248" y="596"/>
                    <a:pt x="248" y="596"/>
                    <a:pt x="248" y="596"/>
                  </a:cubicBezTo>
                  <a:cubicBezTo>
                    <a:pt x="248" y="597"/>
                    <a:pt x="248" y="597"/>
                    <a:pt x="248" y="597"/>
                  </a:cubicBezTo>
                  <a:cubicBezTo>
                    <a:pt x="248" y="598"/>
                    <a:pt x="248" y="598"/>
                    <a:pt x="248" y="598"/>
                  </a:cubicBezTo>
                  <a:cubicBezTo>
                    <a:pt x="249" y="599"/>
                    <a:pt x="249" y="599"/>
                    <a:pt x="249" y="599"/>
                  </a:cubicBezTo>
                  <a:cubicBezTo>
                    <a:pt x="266" y="613"/>
                    <a:pt x="266" y="613"/>
                    <a:pt x="266" y="613"/>
                  </a:cubicBezTo>
                  <a:cubicBezTo>
                    <a:pt x="267" y="613"/>
                    <a:pt x="267" y="613"/>
                    <a:pt x="267" y="613"/>
                  </a:cubicBezTo>
                  <a:cubicBezTo>
                    <a:pt x="270" y="615"/>
                    <a:pt x="270" y="615"/>
                    <a:pt x="270" y="615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9" y="614"/>
                    <a:pt x="279" y="614"/>
                    <a:pt x="279" y="614"/>
                  </a:cubicBezTo>
                  <a:cubicBezTo>
                    <a:pt x="283" y="611"/>
                    <a:pt x="283" y="611"/>
                    <a:pt x="283" y="611"/>
                  </a:cubicBezTo>
                  <a:cubicBezTo>
                    <a:pt x="284" y="611"/>
                    <a:pt x="284" y="611"/>
                    <a:pt x="284" y="611"/>
                  </a:cubicBezTo>
                  <a:cubicBezTo>
                    <a:pt x="284" y="611"/>
                    <a:pt x="284" y="611"/>
                    <a:pt x="284" y="611"/>
                  </a:cubicBezTo>
                  <a:cubicBezTo>
                    <a:pt x="284" y="613"/>
                    <a:pt x="284" y="613"/>
                    <a:pt x="284" y="613"/>
                  </a:cubicBezTo>
                  <a:cubicBezTo>
                    <a:pt x="284" y="613"/>
                    <a:pt x="284" y="613"/>
                    <a:pt x="284" y="613"/>
                  </a:cubicBezTo>
                  <a:cubicBezTo>
                    <a:pt x="281" y="614"/>
                    <a:pt x="281" y="614"/>
                    <a:pt x="281" y="614"/>
                  </a:cubicBezTo>
                  <a:cubicBezTo>
                    <a:pt x="275" y="616"/>
                    <a:pt x="275" y="616"/>
                    <a:pt x="275" y="616"/>
                  </a:cubicBezTo>
                  <a:cubicBezTo>
                    <a:pt x="269" y="618"/>
                    <a:pt x="269" y="618"/>
                    <a:pt x="269" y="618"/>
                  </a:cubicBezTo>
                  <a:cubicBezTo>
                    <a:pt x="256" y="608"/>
                    <a:pt x="256" y="608"/>
                    <a:pt x="256" y="608"/>
                  </a:cubicBezTo>
                  <a:cubicBezTo>
                    <a:pt x="254" y="608"/>
                    <a:pt x="254" y="608"/>
                    <a:pt x="254" y="608"/>
                  </a:cubicBezTo>
                  <a:cubicBezTo>
                    <a:pt x="245" y="609"/>
                    <a:pt x="245" y="609"/>
                    <a:pt x="245" y="609"/>
                  </a:cubicBezTo>
                  <a:cubicBezTo>
                    <a:pt x="243" y="610"/>
                    <a:pt x="243" y="610"/>
                    <a:pt x="243" y="610"/>
                  </a:cubicBezTo>
                  <a:cubicBezTo>
                    <a:pt x="242" y="611"/>
                    <a:pt x="242" y="611"/>
                    <a:pt x="242" y="611"/>
                  </a:cubicBezTo>
                  <a:cubicBezTo>
                    <a:pt x="242" y="612"/>
                    <a:pt x="242" y="612"/>
                    <a:pt x="242" y="612"/>
                  </a:cubicBezTo>
                  <a:cubicBezTo>
                    <a:pt x="228" y="638"/>
                    <a:pt x="228" y="638"/>
                    <a:pt x="228" y="638"/>
                  </a:cubicBezTo>
                  <a:cubicBezTo>
                    <a:pt x="228" y="640"/>
                    <a:pt x="228" y="640"/>
                    <a:pt x="228" y="640"/>
                  </a:cubicBezTo>
                  <a:cubicBezTo>
                    <a:pt x="228" y="641"/>
                    <a:pt x="228" y="641"/>
                    <a:pt x="228" y="641"/>
                  </a:cubicBezTo>
                  <a:cubicBezTo>
                    <a:pt x="228" y="641"/>
                    <a:pt x="228" y="641"/>
                    <a:pt x="228" y="641"/>
                  </a:cubicBezTo>
                  <a:cubicBezTo>
                    <a:pt x="233" y="643"/>
                    <a:pt x="233" y="643"/>
                    <a:pt x="233" y="643"/>
                  </a:cubicBezTo>
                  <a:cubicBezTo>
                    <a:pt x="240" y="642"/>
                    <a:pt x="240" y="642"/>
                    <a:pt x="240" y="642"/>
                  </a:cubicBezTo>
                  <a:cubicBezTo>
                    <a:pt x="243" y="641"/>
                    <a:pt x="243" y="641"/>
                    <a:pt x="243" y="641"/>
                  </a:cubicBezTo>
                  <a:cubicBezTo>
                    <a:pt x="250" y="640"/>
                    <a:pt x="250" y="640"/>
                    <a:pt x="250" y="640"/>
                  </a:cubicBezTo>
                  <a:cubicBezTo>
                    <a:pt x="252" y="640"/>
                    <a:pt x="252" y="640"/>
                    <a:pt x="252" y="640"/>
                  </a:cubicBezTo>
                  <a:cubicBezTo>
                    <a:pt x="255" y="640"/>
                    <a:pt x="255" y="640"/>
                    <a:pt x="255" y="640"/>
                  </a:cubicBezTo>
                  <a:cubicBezTo>
                    <a:pt x="264" y="643"/>
                    <a:pt x="264" y="643"/>
                    <a:pt x="264" y="643"/>
                  </a:cubicBezTo>
                  <a:cubicBezTo>
                    <a:pt x="265" y="643"/>
                    <a:pt x="265" y="643"/>
                    <a:pt x="265" y="643"/>
                  </a:cubicBezTo>
                  <a:cubicBezTo>
                    <a:pt x="265" y="644"/>
                    <a:pt x="265" y="644"/>
                    <a:pt x="265" y="644"/>
                  </a:cubicBezTo>
                  <a:cubicBezTo>
                    <a:pt x="263" y="646"/>
                    <a:pt x="263" y="646"/>
                    <a:pt x="263" y="646"/>
                  </a:cubicBezTo>
                  <a:cubicBezTo>
                    <a:pt x="257" y="651"/>
                    <a:pt x="257" y="651"/>
                    <a:pt x="257" y="651"/>
                  </a:cubicBezTo>
                  <a:cubicBezTo>
                    <a:pt x="256" y="652"/>
                    <a:pt x="256" y="652"/>
                    <a:pt x="256" y="652"/>
                  </a:cubicBezTo>
                  <a:cubicBezTo>
                    <a:pt x="252" y="650"/>
                    <a:pt x="252" y="650"/>
                    <a:pt x="252" y="650"/>
                  </a:cubicBezTo>
                  <a:cubicBezTo>
                    <a:pt x="249" y="650"/>
                    <a:pt x="249" y="650"/>
                    <a:pt x="249" y="650"/>
                  </a:cubicBezTo>
                  <a:cubicBezTo>
                    <a:pt x="244" y="653"/>
                    <a:pt x="244" y="653"/>
                    <a:pt x="244" y="653"/>
                  </a:cubicBezTo>
                  <a:cubicBezTo>
                    <a:pt x="243" y="654"/>
                    <a:pt x="243" y="654"/>
                    <a:pt x="243" y="654"/>
                  </a:cubicBezTo>
                  <a:cubicBezTo>
                    <a:pt x="240" y="653"/>
                    <a:pt x="240" y="653"/>
                    <a:pt x="240" y="653"/>
                  </a:cubicBezTo>
                  <a:cubicBezTo>
                    <a:pt x="239" y="654"/>
                    <a:pt x="239" y="654"/>
                    <a:pt x="239" y="654"/>
                  </a:cubicBezTo>
                  <a:cubicBezTo>
                    <a:pt x="238" y="654"/>
                    <a:pt x="238" y="654"/>
                    <a:pt x="238" y="654"/>
                  </a:cubicBezTo>
                  <a:cubicBezTo>
                    <a:pt x="238" y="655"/>
                    <a:pt x="238" y="655"/>
                    <a:pt x="238" y="655"/>
                  </a:cubicBezTo>
                  <a:cubicBezTo>
                    <a:pt x="237" y="657"/>
                    <a:pt x="237" y="657"/>
                    <a:pt x="237" y="657"/>
                  </a:cubicBezTo>
                  <a:cubicBezTo>
                    <a:pt x="238" y="659"/>
                    <a:pt x="238" y="659"/>
                    <a:pt x="238" y="659"/>
                  </a:cubicBezTo>
                  <a:cubicBezTo>
                    <a:pt x="242" y="661"/>
                    <a:pt x="242" y="661"/>
                    <a:pt x="242" y="661"/>
                  </a:cubicBezTo>
                  <a:cubicBezTo>
                    <a:pt x="249" y="664"/>
                    <a:pt x="249" y="664"/>
                    <a:pt x="249" y="664"/>
                  </a:cubicBezTo>
                  <a:cubicBezTo>
                    <a:pt x="249" y="665"/>
                    <a:pt x="249" y="665"/>
                    <a:pt x="249" y="665"/>
                  </a:cubicBezTo>
                  <a:cubicBezTo>
                    <a:pt x="249" y="666"/>
                    <a:pt x="249" y="666"/>
                    <a:pt x="249" y="666"/>
                  </a:cubicBezTo>
                  <a:cubicBezTo>
                    <a:pt x="248" y="667"/>
                    <a:pt x="248" y="667"/>
                    <a:pt x="248" y="667"/>
                  </a:cubicBezTo>
                  <a:cubicBezTo>
                    <a:pt x="236" y="673"/>
                    <a:pt x="236" y="673"/>
                    <a:pt x="236" y="673"/>
                  </a:cubicBezTo>
                  <a:cubicBezTo>
                    <a:pt x="235" y="673"/>
                    <a:pt x="235" y="673"/>
                    <a:pt x="235" y="673"/>
                  </a:cubicBezTo>
                  <a:cubicBezTo>
                    <a:pt x="231" y="674"/>
                    <a:pt x="231" y="674"/>
                    <a:pt x="231" y="674"/>
                  </a:cubicBezTo>
                  <a:cubicBezTo>
                    <a:pt x="229" y="674"/>
                    <a:pt x="229" y="674"/>
                    <a:pt x="229" y="674"/>
                  </a:cubicBezTo>
                  <a:cubicBezTo>
                    <a:pt x="225" y="670"/>
                    <a:pt x="225" y="670"/>
                    <a:pt x="225" y="670"/>
                  </a:cubicBezTo>
                  <a:cubicBezTo>
                    <a:pt x="218" y="670"/>
                    <a:pt x="218" y="670"/>
                    <a:pt x="218" y="670"/>
                  </a:cubicBezTo>
                  <a:cubicBezTo>
                    <a:pt x="203" y="671"/>
                    <a:pt x="203" y="671"/>
                    <a:pt x="203" y="671"/>
                  </a:cubicBezTo>
                  <a:cubicBezTo>
                    <a:pt x="198" y="672"/>
                    <a:pt x="198" y="672"/>
                    <a:pt x="198" y="672"/>
                  </a:cubicBezTo>
                  <a:cubicBezTo>
                    <a:pt x="197" y="672"/>
                    <a:pt x="197" y="672"/>
                    <a:pt x="197" y="672"/>
                  </a:cubicBezTo>
                  <a:cubicBezTo>
                    <a:pt x="191" y="673"/>
                    <a:pt x="191" y="673"/>
                    <a:pt x="191" y="673"/>
                  </a:cubicBezTo>
                  <a:cubicBezTo>
                    <a:pt x="190" y="674"/>
                    <a:pt x="190" y="674"/>
                    <a:pt x="190" y="674"/>
                  </a:cubicBezTo>
                  <a:cubicBezTo>
                    <a:pt x="185" y="679"/>
                    <a:pt x="185" y="679"/>
                    <a:pt x="185" y="679"/>
                  </a:cubicBezTo>
                  <a:cubicBezTo>
                    <a:pt x="185" y="681"/>
                    <a:pt x="185" y="681"/>
                    <a:pt x="185" y="681"/>
                  </a:cubicBezTo>
                  <a:cubicBezTo>
                    <a:pt x="185" y="683"/>
                    <a:pt x="185" y="683"/>
                    <a:pt x="185" y="683"/>
                  </a:cubicBezTo>
                  <a:cubicBezTo>
                    <a:pt x="185" y="684"/>
                    <a:pt x="185" y="684"/>
                    <a:pt x="185" y="684"/>
                  </a:cubicBezTo>
                  <a:cubicBezTo>
                    <a:pt x="185" y="685"/>
                    <a:pt x="185" y="685"/>
                    <a:pt x="185" y="685"/>
                  </a:cubicBezTo>
                  <a:cubicBezTo>
                    <a:pt x="187" y="688"/>
                    <a:pt x="187" y="688"/>
                    <a:pt x="187" y="688"/>
                  </a:cubicBezTo>
                  <a:cubicBezTo>
                    <a:pt x="189" y="690"/>
                    <a:pt x="189" y="690"/>
                    <a:pt x="189" y="690"/>
                  </a:cubicBezTo>
                  <a:cubicBezTo>
                    <a:pt x="190" y="691"/>
                    <a:pt x="190" y="691"/>
                    <a:pt x="190" y="691"/>
                  </a:cubicBezTo>
                  <a:cubicBezTo>
                    <a:pt x="196" y="692"/>
                    <a:pt x="196" y="692"/>
                    <a:pt x="196" y="692"/>
                  </a:cubicBezTo>
                  <a:cubicBezTo>
                    <a:pt x="200" y="690"/>
                    <a:pt x="200" y="690"/>
                    <a:pt x="200" y="690"/>
                  </a:cubicBezTo>
                  <a:cubicBezTo>
                    <a:pt x="204" y="690"/>
                    <a:pt x="204" y="690"/>
                    <a:pt x="204" y="690"/>
                  </a:cubicBezTo>
                  <a:cubicBezTo>
                    <a:pt x="225" y="691"/>
                    <a:pt x="225" y="691"/>
                    <a:pt x="225" y="691"/>
                  </a:cubicBezTo>
                  <a:cubicBezTo>
                    <a:pt x="226" y="692"/>
                    <a:pt x="226" y="692"/>
                    <a:pt x="226" y="692"/>
                  </a:cubicBezTo>
                  <a:cubicBezTo>
                    <a:pt x="227" y="693"/>
                    <a:pt x="227" y="693"/>
                    <a:pt x="227" y="693"/>
                  </a:cubicBezTo>
                  <a:cubicBezTo>
                    <a:pt x="229" y="694"/>
                    <a:pt x="229" y="694"/>
                    <a:pt x="229" y="694"/>
                  </a:cubicBezTo>
                  <a:cubicBezTo>
                    <a:pt x="234" y="694"/>
                    <a:pt x="234" y="694"/>
                    <a:pt x="234" y="694"/>
                  </a:cubicBezTo>
                  <a:cubicBezTo>
                    <a:pt x="239" y="694"/>
                    <a:pt x="239" y="694"/>
                    <a:pt x="239" y="694"/>
                  </a:cubicBezTo>
                  <a:cubicBezTo>
                    <a:pt x="241" y="693"/>
                    <a:pt x="241" y="693"/>
                    <a:pt x="241" y="693"/>
                  </a:cubicBezTo>
                  <a:cubicBezTo>
                    <a:pt x="241" y="693"/>
                    <a:pt x="241" y="693"/>
                    <a:pt x="241" y="693"/>
                  </a:cubicBezTo>
                  <a:cubicBezTo>
                    <a:pt x="246" y="688"/>
                    <a:pt x="246" y="688"/>
                    <a:pt x="246" y="688"/>
                  </a:cubicBezTo>
                  <a:cubicBezTo>
                    <a:pt x="248" y="687"/>
                    <a:pt x="248" y="687"/>
                    <a:pt x="248" y="687"/>
                  </a:cubicBezTo>
                  <a:cubicBezTo>
                    <a:pt x="249" y="685"/>
                    <a:pt x="249" y="685"/>
                    <a:pt x="249" y="685"/>
                  </a:cubicBezTo>
                  <a:cubicBezTo>
                    <a:pt x="250" y="685"/>
                    <a:pt x="250" y="685"/>
                    <a:pt x="250" y="685"/>
                  </a:cubicBezTo>
                  <a:cubicBezTo>
                    <a:pt x="278" y="690"/>
                    <a:pt x="278" y="690"/>
                    <a:pt x="278" y="690"/>
                  </a:cubicBezTo>
                  <a:cubicBezTo>
                    <a:pt x="279" y="690"/>
                    <a:pt x="279" y="690"/>
                    <a:pt x="279" y="690"/>
                  </a:cubicBezTo>
                  <a:cubicBezTo>
                    <a:pt x="279" y="692"/>
                    <a:pt x="279" y="692"/>
                    <a:pt x="279" y="692"/>
                  </a:cubicBezTo>
                  <a:cubicBezTo>
                    <a:pt x="278" y="692"/>
                    <a:pt x="278" y="692"/>
                    <a:pt x="278" y="692"/>
                  </a:cubicBezTo>
                  <a:cubicBezTo>
                    <a:pt x="270" y="694"/>
                    <a:pt x="270" y="694"/>
                    <a:pt x="270" y="694"/>
                  </a:cubicBezTo>
                  <a:cubicBezTo>
                    <a:pt x="268" y="694"/>
                    <a:pt x="268" y="694"/>
                    <a:pt x="268" y="694"/>
                  </a:cubicBezTo>
                  <a:cubicBezTo>
                    <a:pt x="264" y="694"/>
                    <a:pt x="264" y="694"/>
                    <a:pt x="264" y="694"/>
                  </a:cubicBezTo>
                  <a:cubicBezTo>
                    <a:pt x="262" y="694"/>
                    <a:pt x="262" y="694"/>
                    <a:pt x="262" y="694"/>
                  </a:cubicBezTo>
                  <a:cubicBezTo>
                    <a:pt x="258" y="692"/>
                    <a:pt x="258" y="692"/>
                    <a:pt x="258" y="692"/>
                  </a:cubicBezTo>
                  <a:cubicBezTo>
                    <a:pt x="258" y="692"/>
                    <a:pt x="258" y="692"/>
                    <a:pt x="258" y="692"/>
                  </a:cubicBezTo>
                  <a:cubicBezTo>
                    <a:pt x="256" y="690"/>
                    <a:pt x="256" y="690"/>
                    <a:pt x="256" y="690"/>
                  </a:cubicBezTo>
                  <a:cubicBezTo>
                    <a:pt x="256" y="689"/>
                    <a:pt x="256" y="689"/>
                    <a:pt x="256" y="689"/>
                  </a:cubicBezTo>
                  <a:cubicBezTo>
                    <a:pt x="252" y="689"/>
                    <a:pt x="252" y="689"/>
                    <a:pt x="252" y="689"/>
                  </a:cubicBezTo>
                  <a:cubicBezTo>
                    <a:pt x="249" y="690"/>
                    <a:pt x="249" y="690"/>
                    <a:pt x="249" y="690"/>
                  </a:cubicBezTo>
                  <a:cubicBezTo>
                    <a:pt x="247" y="692"/>
                    <a:pt x="247" y="692"/>
                    <a:pt x="247" y="692"/>
                  </a:cubicBezTo>
                  <a:cubicBezTo>
                    <a:pt x="242" y="696"/>
                    <a:pt x="242" y="696"/>
                    <a:pt x="242" y="696"/>
                  </a:cubicBezTo>
                  <a:cubicBezTo>
                    <a:pt x="234" y="701"/>
                    <a:pt x="234" y="701"/>
                    <a:pt x="234" y="701"/>
                  </a:cubicBezTo>
                  <a:cubicBezTo>
                    <a:pt x="234" y="701"/>
                    <a:pt x="234" y="701"/>
                    <a:pt x="234" y="701"/>
                  </a:cubicBezTo>
                  <a:cubicBezTo>
                    <a:pt x="233" y="701"/>
                    <a:pt x="233" y="701"/>
                    <a:pt x="233" y="701"/>
                  </a:cubicBezTo>
                  <a:cubicBezTo>
                    <a:pt x="224" y="699"/>
                    <a:pt x="224" y="699"/>
                    <a:pt x="224" y="699"/>
                  </a:cubicBezTo>
                  <a:cubicBezTo>
                    <a:pt x="216" y="701"/>
                    <a:pt x="216" y="701"/>
                    <a:pt x="216" y="701"/>
                  </a:cubicBezTo>
                  <a:cubicBezTo>
                    <a:pt x="216" y="702"/>
                    <a:pt x="216" y="702"/>
                    <a:pt x="216" y="702"/>
                  </a:cubicBezTo>
                  <a:cubicBezTo>
                    <a:pt x="216" y="703"/>
                    <a:pt x="216" y="703"/>
                    <a:pt x="216" y="703"/>
                  </a:cubicBezTo>
                  <a:cubicBezTo>
                    <a:pt x="216" y="706"/>
                    <a:pt x="216" y="706"/>
                    <a:pt x="216" y="706"/>
                  </a:cubicBezTo>
                  <a:cubicBezTo>
                    <a:pt x="221" y="716"/>
                    <a:pt x="221" y="716"/>
                    <a:pt x="221" y="716"/>
                  </a:cubicBezTo>
                  <a:cubicBezTo>
                    <a:pt x="224" y="719"/>
                    <a:pt x="224" y="719"/>
                    <a:pt x="224" y="719"/>
                  </a:cubicBezTo>
                  <a:cubicBezTo>
                    <a:pt x="225" y="721"/>
                    <a:pt x="225" y="721"/>
                    <a:pt x="225" y="721"/>
                  </a:cubicBezTo>
                  <a:cubicBezTo>
                    <a:pt x="231" y="726"/>
                    <a:pt x="231" y="726"/>
                    <a:pt x="231" y="726"/>
                  </a:cubicBezTo>
                  <a:cubicBezTo>
                    <a:pt x="232" y="726"/>
                    <a:pt x="232" y="726"/>
                    <a:pt x="232" y="726"/>
                  </a:cubicBezTo>
                  <a:cubicBezTo>
                    <a:pt x="259" y="740"/>
                    <a:pt x="259" y="740"/>
                    <a:pt x="259" y="740"/>
                  </a:cubicBezTo>
                  <a:cubicBezTo>
                    <a:pt x="261" y="740"/>
                    <a:pt x="261" y="740"/>
                    <a:pt x="261" y="740"/>
                  </a:cubicBezTo>
                  <a:cubicBezTo>
                    <a:pt x="272" y="732"/>
                    <a:pt x="272" y="732"/>
                    <a:pt x="272" y="732"/>
                  </a:cubicBezTo>
                  <a:cubicBezTo>
                    <a:pt x="274" y="731"/>
                    <a:pt x="274" y="731"/>
                    <a:pt x="274" y="731"/>
                  </a:cubicBezTo>
                  <a:cubicBezTo>
                    <a:pt x="278" y="727"/>
                    <a:pt x="278" y="727"/>
                    <a:pt x="278" y="727"/>
                  </a:cubicBezTo>
                  <a:cubicBezTo>
                    <a:pt x="306" y="697"/>
                    <a:pt x="306" y="697"/>
                    <a:pt x="306" y="697"/>
                  </a:cubicBezTo>
                  <a:cubicBezTo>
                    <a:pt x="324" y="677"/>
                    <a:pt x="324" y="677"/>
                    <a:pt x="324" y="677"/>
                  </a:cubicBezTo>
                  <a:cubicBezTo>
                    <a:pt x="328" y="672"/>
                    <a:pt x="328" y="672"/>
                    <a:pt x="328" y="672"/>
                  </a:cubicBezTo>
                  <a:cubicBezTo>
                    <a:pt x="330" y="669"/>
                    <a:pt x="330" y="669"/>
                    <a:pt x="330" y="669"/>
                  </a:cubicBezTo>
                  <a:cubicBezTo>
                    <a:pt x="333" y="665"/>
                    <a:pt x="333" y="665"/>
                    <a:pt x="333" y="665"/>
                  </a:cubicBezTo>
                  <a:cubicBezTo>
                    <a:pt x="335" y="662"/>
                    <a:pt x="335" y="662"/>
                    <a:pt x="335" y="662"/>
                  </a:cubicBezTo>
                  <a:cubicBezTo>
                    <a:pt x="340" y="658"/>
                    <a:pt x="340" y="658"/>
                    <a:pt x="340" y="658"/>
                  </a:cubicBezTo>
                  <a:cubicBezTo>
                    <a:pt x="339" y="661"/>
                    <a:pt x="339" y="661"/>
                    <a:pt x="339" y="661"/>
                  </a:cubicBezTo>
                  <a:cubicBezTo>
                    <a:pt x="339" y="662"/>
                    <a:pt x="339" y="662"/>
                    <a:pt x="339" y="662"/>
                  </a:cubicBezTo>
                  <a:cubicBezTo>
                    <a:pt x="323" y="687"/>
                    <a:pt x="323" y="687"/>
                    <a:pt x="323" y="687"/>
                  </a:cubicBezTo>
                  <a:cubicBezTo>
                    <a:pt x="312" y="700"/>
                    <a:pt x="312" y="700"/>
                    <a:pt x="312" y="700"/>
                  </a:cubicBezTo>
                  <a:cubicBezTo>
                    <a:pt x="303" y="717"/>
                    <a:pt x="303" y="717"/>
                    <a:pt x="303" y="717"/>
                  </a:cubicBezTo>
                  <a:cubicBezTo>
                    <a:pt x="299" y="723"/>
                    <a:pt x="299" y="723"/>
                    <a:pt x="299" y="723"/>
                  </a:cubicBezTo>
                  <a:cubicBezTo>
                    <a:pt x="294" y="735"/>
                    <a:pt x="294" y="735"/>
                    <a:pt x="294" y="735"/>
                  </a:cubicBezTo>
                  <a:cubicBezTo>
                    <a:pt x="291" y="743"/>
                    <a:pt x="291" y="743"/>
                    <a:pt x="291" y="743"/>
                  </a:cubicBezTo>
                  <a:cubicBezTo>
                    <a:pt x="291" y="744"/>
                    <a:pt x="291" y="744"/>
                    <a:pt x="291" y="744"/>
                  </a:cubicBezTo>
                  <a:cubicBezTo>
                    <a:pt x="292" y="752"/>
                    <a:pt x="292" y="752"/>
                    <a:pt x="292" y="752"/>
                  </a:cubicBezTo>
                  <a:cubicBezTo>
                    <a:pt x="289" y="756"/>
                    <a:pt x="289" y="756"/>
                    <a:pt x="289" y="756"/>
                  </a:cubicBezTo>
                  <a:cubicBezTo>
                    <a:pt x="276" y="779"/>
                    <a:pt x="276" y="779"/>
                    <a:pt x="276" y="779"/>
                  </a:cubicBezTo>
                  <a:cubicBezTo>
                    <a:pt x="275" y="783"/>
                    <a:pt x="275" y="783"/>
                    <a:pt x="275" y="783"/>
                  </a:cubicBezTo>
                  <a:cubicBezTo>
                    <a:pt x="274" y="791"/>
                    <a:pt x="274" y="791"/>
                    <a:pt x="274" y="791"/>
                  </a:cubicBezTo>
                  <a:cubicBezTo>
                    <a:pt x="272" y="803"/>
                    <a:pt x="272" y="803"/>
                    <a:pt x="272" y="803"/>
                  </a:cubicBezTo>
                  <a:cubicBezTo>
                    <a:pt x="272" y="805"/>
                    <a:pt x="272" y="805"/>
                    <a:pt x="272" y="805"/>
                  </a:cubicBezTo>
                  <a:cubicBezTo>
                    <a:pt x="273" y="806"/>
                    <a:pt x="273" y="806"/>
                    <a:pt x="273" y="806"/>
                  </a:cubicBezTo>
                  <a:cubicBezTo>
                    <a:pt x="274" y="806"/>
                    <a:pt x="274" y="806"/>
                    <a:pt x="274" y="806"/>
                  </a:cubicBezTo>
                  <a:cubicBezTo>
                    <a:pt x="277" y="807"/>
                    <a:pt x="277" y="807"/>
                    <a:pt x="277" y="807"/>
                  </a:cubicBezTo>
                  <a:cubicBezTo>
                    <a:pt x="278" y="807"/>
                    <a:pt x="278" y="807"/>
                    <a:pt x="278" y="807"/>
                  </a:cubicBezTo>
                  <a:cubicBezTo>
                    <a:pt x="279" y="807"/>
                    <a:pt x="279" y="807"/>
                    <a:pt x="279" y="807"/>
                  </a:cubicBezTo>
                  <a:cubicBezTo>
                    <a:pt x="279" y="808"/>
                    <a:pt x="279" y="808"/>
                    <a:pt x="279" y="808"/>
                  </a:cubicBezTo>
                  <a:cubicBezTo>
                    <a:pt x="279" y="809"/>
                    <a:pt x="279" y="809"/>
                    <a:pt x="279" y="809"/>
                  </a:cubicBezTo>
                  <a:cubicBezTo>
                    <a:pt x="279" y="810"/>
                    <a:pt x="279" y="810"/>
                    <a:pt x="279" y="810"/>
                  </a:cubicBezTo>
                  <a:cubicBezTo>
                    <a:pt x="271" y="826"/>
                    <a:pt x="271" y="826"/>
                    <a:pt x="271" y="826"/>
                  </a:cubicBezTo>
                  <a:cubicBezTo>
                    <a:pt x="269" y="829"/>
                    <a:pt x="269" y="829"/>
                    <a:pt x="269" y="829"/>
                  </a:cubicBezTo>
                  <a:cubicBezTo>
                    <a:pt x="276" y="827"/>
                    <a:pt x="276" y="827"/>
                    <a:pt x="276" y="827"/>
                  </a:cubicBezTo>
                  <a:cubicBezTo>
                    <a:pt x="274" y="843"/>
                    <a:pt x="274" y="843"/>
                    <a:pt x="274" y="843"/>
                  </a:cubicBezTo>
                  <a:cubicBezTo>
                    <a:pt x="272" y="844"/>
                    <a:pt x="272" y="844"/>
                    <a:pt x="272" y="844"/>
                  </a:cubicBezTo>
                  <a:cubicBezTo>
                    <a:pt x="267" y="851"/>
                    <a:pt x="267" y="851"/>
                    <a:pt x="267" y="851"/>
                  </a:cubicBezTo>
                  <a:cubicBezTo>
                    <a:pt x="266" y="853"/>
                    <a:pt x="266" y="853"/>
                    <a:pt x="266" y="853"/>
                  </a:cubicBezTo>
                  <a:cubicBezTo>
                    <a:pt x="257" y="870"/>
                    <a:pt x="257" y="870"/>
                    <a:pt x="257" y="870"/>
                  </a:cubicBezTo>
                  <a:cubicBezTo>
                    <a:pt x="256" y="872"/>
                    <a:pt x="256" y="872"/>
                    <a:pt x="256" y="872"/>
                  </a:cubicBezTo>
                  <a:cubicBezTo>
                    <a:pt x="256" y="874"/>
                    <a:pt x="256" y="874"/>
                    <a:pt x="256" y="874"/>
                  </a:cubicBezTo>
                  <a:cubicBezTo>
                    <a:pt x="256" y="879"/>
                    <a:pt x="256" y="879"/>
                    <a:pt x="256" y="879"/>
                  </a:cubicBezTo>
                  <a:cubicBezTo>
                    <a:pt x="256" y="880"/>
                    <a:pt x="256" y="880"/>
                    <a:pt x="256" y="880"/>
                  </a:cubicBezTo>
                  <a:cubicBezTo>
                    <a:pt x="257" y="880"/>
                    <a:pt x="257" y="880"/>
                    <a:pt x="257" y="880"/>
                  </a:cubicBezTo>
                  <a:cubicBezTo>
                    <a:pt x="258" y="880"/>
                    <a:pt x="258" y="880"/>
                    <a:pt x="258" y="880"/>
                  </a:cubicBezTo>
                  <a:cubicBezTo>
                    <a:pt x="259" y="880"/>
                    <a:pt x="259" y="880"/>
                    <a:pt x="259" y="880"/>
                  </a:cubicBezTo>
                  <a:cubicBezTo>
                    <a:pt x="269" y="861"/>
                    <a:pt x="269" y="861"/>
                    <a:pt x="269" y="861"/>
                  </a:cubicBezTo>
                  <a:cubicBezTo>
                    <a:pt x="269" y="860"/>
                    <a:pt x="269" y="860"/>
                    <a:pt x="269" y="860"/>
                  </a:cubicBezTo>
                  <a:cubicBezTo>
                    <a:pt x="269" y="860"/>
                    <a:pt x="269" y="860"/>
                    <a:pt x="269" y="860"/>
                  </a:cubicBezTo>
                  <a:cubicBezTo>
                    <a:pt x="268" y="858"/>
                    <a:pt x="268" y="858"/>
                    <a:pt x="268" y="858"/>
                  </a:cubicBezTo>
                  <a:cubicBezTo>
                    <a:pt x="273" y="855"/>
                    <a:pt x="273" y="855"/>
                    <a:pt x="273" y="855"/>
                  </a:cubicBezTo>
                  <a:cubicBezTo>
                    <a:pt x="274" y="854"/>
                    <a:pt x="274" y="854"/>
                    <a:pt x="274" y="854"/>
                  </a:cubicBezTo>
                  <a:cubicBezTo>
                    <a:pt x="276" y="854"/>
                    <a:pt x="276" y="854"/>
                    <a:pt x="276" y="854"/>
                  </a:cubicBezTo>
                  <a:cubicBezTo>
                    <a:pt x="275" y="860"/>
                    <a:pt x="275" y="860"/>
                    <a:pt x="275" y="860"/>
                  </a:cubicBezTo>
                  <a:cubicBezTo>
                    <a:pt x="274" y="861"/>
                    <a:pt x="274" y="861"/>
                    <a:pt x="274" y="861"/>
                  </a:cubicBezTo>
                  <a:cubicBezTo>
                    <a:pt x="266" y="873"/>
                    <a:pt x="266" y="873"/>
                    <a:pt x="266" y="873"/>
                  </a:cubicBezTo>
                  <a:cubicBezTo>
                    <a:pt x="264" y="876"/>
                    <a:pt x="264" y="876"/>
                    <a:pt x="264" y="876"/>
                  </a:cubicBezTo>
                  <a:cubicBezTo>
                    <a:pt x="259" y="881"/>
                    <a:pt x="259" y="881"/>
                    <a:pt x="259" y="881"/>
                  </a:cubicBezTo>
                  <a:cubicBezTo>
                    <a:pt x="259" y="882"/>
                    <a:pt x="259" y="882"/>
                    <a:pt x="259" y="882"/>
                  </a:cubicBezTo>
                  <a:cubicBezTo>
                    <a:pt x="258" y="883"/>
                    <a:pt x="258" y="883"/>
                    <a:pt x="258" y="883"/>
                  </a:cubicBezTo>
                  <a:cubicBezTo>
                    <a:pt x="258" y="891"/>
                    <a:pt x="258" y="891"/>
                    <a:pt x="258" y="891"/>
                  </a:cubicBezTo>
                  <a:cubicBezTo>
                    <a:pt x="261" y="912"/>
                    <a:pt x="261" y="912"/>
                    <a:pt x="261" y="912"/>
                  </a:cubicBezTo>
                  <a:cubicBezTo>
                    <a:pt x="261" y="914"/>
                    <a:pt x="261" y="914"/>
                    <a:pt x="261" y="914"/>
                  </a:cubicBezTo>
                  <a:cubicBezTo>
                    <a:pt x="270" y="924"/>
                    <a:pt x="270" y="924"/>
                    <a:pt x="270" y="924"/>
                  </a:cubicBezTo>
                  <a:cubicBezTo>
                    <a:pt x="261" y="949"/>
                    <a:pt x="261" y="949"/>
                    <a:pt x="261" y="949"/>
                  </a:cubicBezTo>
                  <a:cubicBezTo>
                    <a:pt x="253" y="973"/>
                    <a:pt x="253" y="973"/>
                    <a:pt x="253" y="973"/>
                  </a:cubicBezTo>
                  <a:cubicBezTo>
                    <a:pt x="253" y="997"/>
                    <a:pt x="253" y="997"/>
                    <a:pt x="253" y="997"/>
                  </a:cubicBezTo>
                  <a:cubicBezTo>
                    <a:pt x="254" y="1001"/>
                    <a:pt x="254" y="1001"/>
                    <a:pt x="254" y="1001"/>
                  </a:cubicBezTo>
                  <a:cubicBezTo>
                    <a:pt x="254" y="1003"/>
                    <a:pt x="254" y="1003"/>
                    <a:pt x="254" y="1003"/>
                  </a:cubicBezTo>
                  <a:cubicBezTo>
                    <a:pt x="253" y="1005"/>
                    <a:pt x="253" y="1005"/>
                    <a:pt x="253" y="1005"/>
                  </a:cubicBezTo>
                  <a:cubicBezTo>
                    <a:pt x="252" y="1007"/>
                    <a:pt x="252" y="1007"/>
                    <a:pt x="252" y="1007"/>
                  </a:cubicBezTo>
                  <a:cubicBezTo>
                    <a:pt x="252" y="1008"/>
                    <a:pt x="252" y="1008"/>
                    <a:pt x="252" y="1008"/>
                  </a:cubicBezTo>
                  <a:cubicBezTo>
                    <a:pt x="251" y="1009"/>
                    <a:pt x="251" y="1009"/>
                    <a:pt x="251" y="1009"/>
                  </a:cubicBezTo>
                  <a:cubicBezTo>
                    <a:pt x="248" y="1010"/>
                    <a:pt x="248" y="1010"/>
                    <a:pt x="248" y="1010"/>
                  </a:cubicBezTo>
                  <a:cubicBezTo>
                    <a:pt x="247" y="1011"/>
                    <a:pt x="247" y="1011"/>
                    <a:pt x="247" y="1011"/>
                  </a:cubicBezTo>
                  <a:cubicBezTo>
                    <a:pt x="242" y="1017"/>
                    <a:pt x="242" y="1017"/>
                    <a:pt x="242" y="1017"/>
                  </a:cubicBezTo>
                  <a:cubicBezTo>
                    <a:pt x="239" y="1025"/>
                    <a:pt x="239" y="1025"/>
                    <a:pt x="239" y="1025"/>
                  </a:cubicBezTo>
                  <a:cubicBezTo>
                    <a:pt x="239" y="1028"/>
                    <a:pt x="239" y="1028"/>
                    <a:pt x="239" y="1028"/>
                  </a:cubicBezTo>
                  <a:cubicBezTo>
                    <a:pt x="238" y="1037"/>
                    <a:pt x="238" y="1037"/>
                    <a:pt x="238" y="1037"/>
                  </a:cubicBezTo>
                  <a:cubicBezTo>
                    <a:pt x="238" y="1039"/>
                    <a:pt x="238" y="1039"/>
                    <a:pt x="238" y="1039"/>
                  </a:cubicBezTo>
                  <a:cubicBezTo>
                    <a:pt x="239" y="1041"/>
                    <a:pt x="239" y="1041"/>
                    <a:pt x="239" y="1041"/>
                  </a:cubicBezTo>
                  <a:cubicBezTo>
                    <a:pt x="240" y="1042"/>
                    <a:pt x="240" y="1042"/>
                    <a:pt x="240" y="1042"/>
                  </a:cubicBezTo>
                  <a:cubicBezTo>
                    <a:pt x="240" y="1042"/>
                    <a:pt x="240" y="1042"/>
                    <a:pt x="240" y="1042"/>
                  </a:cubicBezTo>
                  <a:cubicBezTo>
                    <a:pt x="242" y="1043"/>
                    <a:pt x="242" y="1043"/>
                    <a:pt x="242" y="1043"/>
                  </a:cubicBezTo>
                  <a:cubicBezTo>
                    <a:pt x="243" y="1044"/>
                    <a:pt x="243" y="1044"/>
                    <a:pt x="243" y="1044"/>
                  </a:cubicBezTo>
                  <a:cubicBezTo>
                    <a:pt x="245" y="1044"/>
                    <a:pt x="245" y="1044"/>
                    <a:pt x="245" y="1044"/>
                  </a:cubicBezTo>
                  <a:cubicBezTo>
                    <a:pt x="253" y="1045"/>
                    <a:pt x="253" y="1045"/>
                    <a:pt x="253" y="1045"/>
                  </a:cubicBezTo>
                  <a:cubicBezTo>
                    <a:pt x="271" y="1038"/>
                    <a:pt x="271" y="1038"/>
                    <a:pt x="271" y="1038"/>
                  </a:cubicBezTo>
                  <a:cubicBezTo>
                    <a:pt x="274" y="1037"/>
                    <a:pt x="274" y="1037"/>
                    <a:pt x="274" y="1037"/>
                  </a:cubicBezTo>
                  <a:cubicBezTo>
                    <a:pt x="275" y="1037"/>
                    <a:pt x="275" y="1037"/>
                    <a:pt x="275" y="1037"/>
                  </a:cubicBezTo>
                  <a:cubicBezTo>
                    <a:pt x="280" y="1031"/>
                    <a:pt x="280" y="1031"/>
                    <a:pt x="280" y="1031"/>
                  </a:cubicBezTo>
                  <a:cubicBezTo>
                    <a:pt x="283" y="1025"/>
                    <a:pt x="283" y="1025"/>
                    <a:pt x="283" y="1025"/>
                  </a:cubicBezTo>
                  <a:cubicBezTo>
                    <a:pt x="283" y="1024"/>
                    <a:pt x="283" y="1024"/>
                    <a:pt x="283" y="1024"/>
                  </a:cubicBezTo>
                  <a:cubicBezTo>
                    <a:pt x="281" y="1018"/>
                    <a:pt x="281" y="1018"/>
                    <a:pt x="281" y="1018"/>
                  </a:cubicBezTo>
                  <a:cubicBezTo>
                    <a:pt x="280" y="1016"/>
                    <a:pt x="280" y="1016"/>
                    <a:pt x="280" y="1016"/>
                  </a:cubicBezTo>
                  <a:cubicBezTo>
                    <a:pt x="277" y="1012"/>
                    <a:pt x="277" y="1012"/>
                    <a:pt x="277" y="1012"/>
                  </a:cubicBezTo>
                  <a:cubicBezTo>
                    <a:pt x="287" y="954"/>
                    <a:pt x="287" y="954"/>
                    <a:pt x="287" y="954"/>
                  </a:cubicBezTo>
                  <a:cubicBezTo>
                    <a:pt x="293" y="938"/>
                    <a:pt x="293" y="938"/>
                    <a:pt x="293" y="938"/>
                  </a:cubicBezTo>
                  <a:cubicBezTo>
                    <a:pt x="293" y="938"/>
                    <a:pt x="293" y="938"/>
                    <a:pt x="293" y="938"/>
                  </a:cubicBezTo>
                  <a:cubicBezTo>
                    <a:pt x="294" y="937"/>
                    <a:pt x="294" y="937"/>
                    <a:pt x="294" y="937"/>
                  </a:cubicBezTo>
                  <a:cubicBezTo>
                    <a:pt x="299" y="930"/>
                    <a:pt x="299" y="930"/>
                    <a:pt x="299" y="930"/>
                  </a:cubicBezTo>
                  <a:cubicBezTo>
                    <a:pt x="302" y="927"/>
                    <a:pt x="302" y="927"/>
                    <a:pt x="302" y="927"/>
                  </a:cubicBezTo>
                  <a:cubicBezTo>
                    <a:pt x="305" y="926"/>
                    <a:pt x="305" y="926"/>
                    <a:pt x="305" y="926"/>
                  </a:cubicBezTo>
                  <a:cubicBezTo>
                    <a:pt x="301" y="901"/>
                    <a:pt x="301" y="901"/>
                    <a:pt x="301" y="901"/>
                  </a:cubicBezTo>
                  <a:cubicBezTo>
                    <a:pt x="299" y="894"/>
                    <a:pt x="299" y="894"/>
                    <a:pt x="299" y="894"/>
                  </a:cubicBezTo>
                  <a:cubicBezTo>
                    <a:pt x="294" y="877"/>
                    <a:pt x="294" y="877"/>
                    <a:pt x="294" y="877"/>
                  </a:cubicBezTo>
                  <a:cubicBezTo>
                    <a:pt x="293" y="862"/>
                    <a:pt x="293" y="862"/>
                    <a:pt x="293" y="862"/>
                  </a:cubicBezTo>
                  <a:cubicBezTo>
                    <a:pt x="293" y="861"/>
                    <a:pt x="293" y="861"/>
                    <a:pt x="293" y="861"/>
                  </a:cubicBezTo>
                  <a:cubicBezTo>
                    <a:pt x="294" y="858"/>
                    <a:pt x="294" y="858"/>
                    <a:pt x="294" y="858"/>
                  </a:cubicBezTo>
                  <a:cubicBezTo>
                    <a:pt x="294" y="858"/>
                    <a:pt x="294" y="858"/>
                    <a:pt x="294" y="858"/>
                  </a:cubicBezTo>
                  <a:cubicBezTo>
                    <a:pt x="309" y="851"/>
                    <a:pt x="309" y="851"/>
                    <a:pt x="309" y="851"/>
                  </a:cubicBezTo>
                  <a:cubicBezTo>
                    <a:pt x="320" y="838"/>
                    <a:pt x="320" y="838"/>
                    <a:pt x="320" y="838"/>
                  </a:cubicBezTo>
                  <a:cubicBezTo>
                    <a:pt x="322" y="835"/>
                    <a:pt x="322" y="835"/>
                    <a:pt x="322" y="835"/>
                  </a:cubicBezTo>
                  <a:cubicBezTo>
                    <a:pt x="323" y="834"/>
                    <a:pt x="323" y="834"/>
                    <a:pt x="323" y="834"/>
                  </a:cubicBezTo>
                  <a:cubicBezTo>
                    <a:pt x="351" y="807"/>
                    <a:pt x="351" y="807"/>
                    <a:pt x="351" y="807"/>
                  </a:cubicBezTo>
                  <a:cubicBezTo>
                    <a:pt x="361" y="800"/>
                    <a:pt x="361" y="800"/>
                    <a:pt x="361" y="800"/>
                  </a:cubicBezTo>
                  <a:cubicBezTo>
                    <a:pt x="363" y="799"/>
                    <a:pt x="363" y="799"/>
                    <a:pt x="363" y="799"/>
                  </a:cubicBezTo>
                  <a:cubicBezTo>
                    <a:pt x="364" y="799"/>
                    <a:pt x="364" y="799"/>
                    <a:pt x="364" y="799"/>
                  </a:cubicBezTo>
                  <a:cubicBezTo>
                    <a:pt x="366" y="798"/>
                    <a:pt x="366" y="798"/>
                    <a:pt x="366" y="798"/>
                  </a:cubicBezTo>
                  <a:cubicBezTo>
                    <a:pt x="367" y="799"/>
                    <a:pt x="367" y="799"/>
                    <a:pt x="367" y="799"/>
                  </a:cubicBezTo>
                  <a:cubicBezTo>
                    <a:pt x="367" y="800"/>
                    <a:pt x="367" y="800"/>
                    <a:pt x="367" y="800"/>
                  </a:cubicBezTo>
                  <a:cubicBezTo>
                    <a:pt x="366" y="801"/>
                    <a:pt x="366" y="801"/>
                    <a:pt x="366" y="801"/>
                  </a:cubicBezTo>
                  <a:cubicBezTo>
                    <a:pt x="365" y="802"/>
                    <a:pt x="365" y="802"/>
                    <a:pt x="365" y="802"/>
                  </a:cubicBezTo>
                  <a:cubicBezTo>
                    <a:pt x="363" y="803"/>
                    <a:pt x="363" y="803"/>
                    <a:pt x="363" y="803"/>
                  </a:cubicBezTo>
                  <a:cubicBezTo>
                    <a:pt x="359" y="806"/>
                    <a:pt x="359" y="806"/>
                    <a:pt x="359" y="806"/>
                  </a:cubicBezTo>
                  <a:cubicBezTo>
                    <a:pt x="350" y="811"/>
                    <a:pt x="350" y="811"/>
                    <a:pt x="350" y="811"/>
                  </a:cubicBezTo>
                  <a:cubicBezTo>
                    <a:pt x="328" y="835"/>
                    <a:pt x="328" y="835"/>
                    <a:pt x="328" y="835"/>
                  </a:cubicBezTo>
                  <a:cubicBezTo>
                    <a:pt x="317" y="848"/>
                    <a:pt x="317" y="848"/>
                    <a:pt x="317" y="848"/>
                  </a:cubicBezTo>
                  <a:cubicBezTo>
                    <a:pt x="315" y="851"/>
                    <a:pt x="315" y="851"/>
                    <a:pt x="315" y="851"/>
                  </a:cubicBezTo>
                  <a:cubicBezTo>
                    <a:pt x="314" y="852"/>
                    <a:pt x="314" y="852"/>
                    <a:pt x="314" y="852"/>
                  </a:cubicBezTo>
                  <a:cubicBezTo>
                    <a:pt x="313" y="853"/>
                    <a:pt x="313" y="853"/>
                    <a:pt x="313" y="853"/>
                  </a:cubicBezTo>
                  <a:cubicBezTo>
                    <a:pt x="313" y="854"/>
                    <a:pt x="313" y="854"/>
                    <a:pt x="313" y="854"/>
                  </a:cubicBezTo>
                  <a:cubicBezTo>
                    <a:pt x="312" y="858"/>
                    <a:pt x="312" y="858"/>
                    <a:pt x="312" y="858"/>
                  </a:cubicBezTo>
                  <a:cubicBezTo>
                    <a:pt x="307" y="869"/>
                    <a:pt x="307" y="869"/>
                    <a:pt x="307" y="869"/>
                  </a:cubicBezTo>
                  <a:cubicBezTo>
                    <a:pt x="306" y="873"/>
                    <a:pt x="306" y="873"/>
                    <a:pt x="306" y="873"/>
                  </a:cubicBezTo>
                  <a:cubicBezTo>
                    <a:pt x="306" y="875"/>
                    <a:pt x="306" y="875"/>
                    <a:pt x="306" y="875"/>
                  </a:cubicBezTo>
                  <a:cubicBezTo>
                    <a:pt x="306" y="889"/>
                    <a:pt x="306" y="889"/>
                    <a:pt x="306" y="889"/>
                  </a:cubicBezTo>
                  <a:cubicBezTo>
                    <a:pt x="307" y="893"/>
                    <a:pt x="307" y="893"/>
                    <a:pt x="307" y="893"/>
                  </a:cubicBezTo>
                  <a:cubicBezTo>
                    <a:pt x="307" y="894"/>
                    <a:pt x="307" y="894"/>
                    <a:pt x="307" y="894"/>
                  </a:cubicBezTo>
                  <a:cubicBezTo>
                    <a:pt x="311" y="900"/>
                    <a:pt x="311" y="900"/>
                    <a:pt x="311" y="900"/>
                  </a:cubicBezTo>
                  <a:cubicBezTo>
                    <a:pt x="311" y="901"/>
                    <a:pt x="311" y="901"/>
                    <a:pt x="311" y="901"/>
                  </a:cubicBezTo>
                  <a:cubicBezTo>
                    <a:pt x="315" y="903"/>
                    <a:pt x="315" y="903"/>
                    <a:pt x="315" y="903"/>
                  </a:cubicBezTo>
                  <a:cubicBezTo>
                    <a:pt x="325" y="908"/>
                    <a:pt x="325" y="908"/>
                    <a:pt x="325" y="908"/>
                  </a:cubicBezTo>
                  <a:cubicBezTo>
                    <a:pt x="327" y="908"/>
                    <a:pt x="327" y="908"/>
                    <a:pt x="327" y="908"/>
                  </a:cubicBezTo>
                  <a:cubicBezTo>
                    <a:pt x="328" y="907"/>
                    <a:pt x="328" y="907"/>
                    <a:pt x="328" y="907"/>
                  </a:cubicBezTo>
                  <a:cubicBezTo>
                    <a:pt x="328" y="906"/>
                    <a:pt x="328" y="906"/>
                    <a:pt x="328" y="906"/>
                  </a:cubicBezTo>
                  <a:cubicBezTo>
                    <a:pt x="326" y="903"/>
                    <a:pt x="326" y="903"/>
                    <a:pt x="326" y="903"/>
                  </a:cubicBezTo>
                  <a:cubicBezTo>
                    <a:pt x="324" y="898"/>
                    <a:pt x="324" y="898"/>
                    <a:pt x="324" y="898"/>
                  </a:cubicBezTo>
                  <a:cubicBezTo>
                    <a:pt x="323" y="892"/>
                    <a:pt x="323" y="892"/>
                    <a:pt x="323" y="892"/>
                  </a:cubicBezTo>
                  <a:cubicBezTo>
                    <a:pt x="323" y="892"/>
                    <a:pt x="323" y="892"/>
                    <a:pt x="323" y="892"/>
                  </a:cubicBezTo>
                  <a:cubicBezTo>
                    <a:pt x="328" y="879"/>
                    <a:pt x="328" y="879"/>
                    <a:pt x="328" y="879"/>
                  </a:cubicBezTo>
                  <a:cubicBezTo>
                    <a:pt x="331" y="881"/>
                    <a:pt x="331" y="881"/>
                    <a:pt x="331" y="881"/>
                  </a:cubicBezTo>
                  <a:cubicBezTo>
                    <a:pt x="351" y="900"/>
                    <a:pt x="351" y="900"/>
                    <a:pt x="351" y="900"/>
                  </a:cubicBezTo>
                  <a:cubicBezTo>
                    <a:pt x="355" y="901"/>
                    <a:pt x="355" y="901"/>
                    <a:pt x="355" y="901"/>
                  </a:cubicBezTo>
                  <a:cubicBezTo>
                    <a:pt x="356" y="901"/>
                    <a:pt x="356" y="901"/>
                    <a:pt x="356" y="901"/>
                  </a:cubicBezTo>
                  <a:cubicBezTo>
                    <a:pt x="358" y="901"/>
                    <a:pt x="358" y="901"/>
                    <a:pt x="358" y="901"/>
                  </a:cubicBezTo>
                  <a:cubicBezTo>
                    <a:pt x="360" y="899"/>
                    <a:pt x="360" y="899"/>
                    <a:pt x="360" y="899"/>
                  </a:cubicBezTo>
                  <a:cubicBezTo>
                    <a:pt x="363" y="893"/>
                    <a:pt x="363" y="893"/>
                    <a:pt x="363" y="893"/>
                  </a:cubicBezTo>
                  <a:cubicBezTo>
                    <a:pt x="368" y="879"/>
                    <a:pt x="368" y="879"/>
                    <a:pt x="368" y="879"/>
                  </a:cubicBezTo>
                  <a:cubicBezTo>
                    <a:pt x="368" y="878"/>
                    <a:pt x="368" y="878"/>
                    <a:pt x="368" y="878"/>
                  </a:cubicBezTo>
                  <a:cubicBezTo>
                    <a:pt x="371" y="867"/>
                    <a:pt x="371" y="867"/>
                    <a:pt x="371" y="867"/>
                  </a:cubicBezTo>
                  <a:cubicBezTo>
                    <a:pt x="371" y="851"/>
                    <a:pt x="371" y="851"/>
                    <a:pt x="371" y="851"/>
                  </a:cubicBezTo>
                  <a:cubicBezTo>
                    <a:pt x="373" y="840"/>
                    <a:pt x="373" y="840"/>
                    <a:pt x="373" y="840"/>
                  </a:cubicBezTo>
                  <a:cubicBezTo>
                    <a:pt x="381" y="834"/>
                    <a:pt x="381" y="834"/>
                    <a:pt x="381" y="834"/>
                  </a:cubicBezTo>
                  <a:cubicBezTo>
                    <a:pt x="382" y="834"/>
                    <a:pt x="382" y="834"/>
                    <a:pt x="382" y="834"/>
                  </a:cubicBezTo>
                  <a:cubicBezTo>
                    <a:pt x="381" y="836"/>
                    <a:pt x="381" y="836"/>
                    <a:pt x="381" y="836"/>
                  </a:cubicBezTo>
                  <a:cubicBezTo>
                    <a:pt x="377" y="843"/>
                    <a:pt x="377" y="843"/>
                    <a:pt x="377" y="843"/>
                  </a:cubicBezTo>
                  <a:cubicBezTo>
                    <a:pt x="373" y="853"/>
                    <a:pt x="373" y="853"/>
                    <a:pt x="373" y="853"/>
                  </a:cubicBezTo>
                  <a:cubicBezTo>
                    <a:pt x="373" y="854"/>
                    <a:pt x="373" y="854"/>
                    <a:pt x="373" y="854"/>
                  </a:cubicBezTo>
                  <a:cubicBezTo>
                    <a:pt x="374" y="857"/>
                    <a:pt x="374" y="857"/>
                    <a:pt x="374" y="857"/>
                  </a:cubicBezTo>
                  <a:cubicBezTo>
                    <a:pt x="375" y="863"/>
                    <a:pt x="375" y="863"/>
                    <a:pt x="375" y="863"/>
                  </a:cubicBezTo>
                  <a:cubicBezTo>
                    <a:pt x="378" y="867"/>
                    <a:pt x="378" y="867"/>
                    <a:pt x="378" y="867"/>
                  </a:cubicBezTo>
                  <a:cubicBezTo>
                    <a:pt x="378" y="869"/>
                    <a:pt x="378" y="869"/>
                    <a:pt x="378" y="869"/>
                  </a:cubicBezTo>
                  <a:cubicBezTo>
                    <a:pt x="379" y="869"/>
                    <a:pt x="379" y="869"/>
                    <a:pt x="379" y="869"/>
                  </a:cubicBezTo>
                  <a:cubicBezTo>
                    <a:pt x="384" y="871"/>
                    <a:pt x="384" y="871"/>
                    <a:pt x="384" y="871"/>
                  </a:cubicBezTo>
                  <a:cubicBezTo>
                    <a:pt x="387" y="870"/>
                    <a:pt x="387" y="870"/>
                    <a:pt x="387" y="870"/>
                  </a:cubicBezTo>
                  <a:cubicBezTo>
                    <a:pt x="429" y="882"/>
                    <a:pt x="429" y="882"/>
                    <a:pt x="429" y="882"/>
                  </a:cubicBezTo>
                  <a:cubicBezTo>
                    <a:pt x="429" y="883"/>
                    <a:pt x="429" y="883"/>
                    <a:pt x="429" y="883"/>
                  </a:cubicBezTo>
                  <a:cubicBezTo>
                    <a:pt x="427" y="884"/>
                    <a:pt x="427" y="884"/>
                    <a:pt x="427" y="884"/>
                  </a:cubicBezTo>
                  <a:cubicBezTo>
                    <a:pt x="426" y="884"/>
                    <a:pt x="426" y="884"/>
                    <a:pt x="426" y="884"/>
                  </a:cubicBezTo>
                  <a:cubicBezTo>
                    <a:pt x="423" y="884"/>
                    <a:pt x="423" y="884"/>
                    <a:pt x="423" y="884"/>
                  </a:cubicBezTo>
                  <a:cubicBezTo>
                    <a:pt x="421" y="884"/>
                    <a:pt x="421" y="884"/>
                    <a:pt x="421" y="884"/>
                  </a:cubicBezTo>
                  <a:cubicBezTo>
                    <a:pt x="416" y="883"/>
                    <a:pt x="416" y="883"/>
                    <a:pt x="416" y="883"/>
                  </a:cubicBezTo>
                  <a:cubicBezTo>
                    <a:pt x="411" y="883"/>
                    <a:pt x="411" y="883"/>
                    <a:pt x="411" y="883"/>
                  </a:cubicBezTo>
                  <a:cubicBezTo>
                    <a:pt x="396" y="879"/>
                    <a:pt x="396" y="879"/>
                    <a:pt x="396" y="879"/>
                  </a:cubicBezTo>
                  <a:cubicBezTo>
                    <a:pt x="395" y="878"/>
                    <a:pt x="395" y="878"/>
                    <a:pt x="395" y="878"/>
                  </a:cubicBezTo>
                  <a:cubicBezTo>
                    <a:pt x="388" y="875"/>
                    <a:pt x="388" y="875"/>
                    <a:pt x="388" y="875"/>
                  </a:cubicBezTo>
                  <a:cubicBezTo>
                    <a:pt x="386" y="875"/>
                    <a:pt x="386" y="875"/>
                    <a:pt x="386" y="875"/>
                  </a:cubicBezTo>
                  <a:cubicBezTo>
                    <a:pt x="381" y="876"/>
                    <a:pt x="381" y="876"/>
                    <a:pt x="381" y="876"/>
                  </a:cubicBezTo>
                  <a:cubicBezTo>
                    <a:pt x="374" y="879"/>
                    <a:pt x="374" y="879"/>
                    <a:pt x="374" y="879"/>
                  </a:cubicBezTo>
                  <a:cubicBezTo>
                    <a:pt x="373" y="880"/>
                    <a:pt x="373" y="880"/>
                    <a:pt x="373" y="880"/>
                  </a:cubicBezTo>
                  <a:cubicBezTo>
                    <a:pt x="370" y="893"/>
                    <a:pt x="370" y="893"/>
                    <a:pt x="370" y="893"/>
                  </a:cubicBezTo>
                  <a:cubicBezTo>
                    <a:pt x="370" y="897"/>
                    <a:pt x="370" y="897"/>
                    <a:pt x="370" y="897"/>
                  </a:cubicBezTo>
                  <a:cubicBezTo>
                    <a:pt x="370" y="901"/>
                    <a:pt x="370" y="901"/>
                    <a:pt x="370" y="901"/>
                  </a:cubicBezTo>
                  <a:cubicBezTo>
                    <a:pt x="370" y="910"/>
                    <a:pt x="370" y="910"/>
                    <a:pt x="370" y="910"/>
                  </a:cubicBezTo>
                  <a:cubicBezTo>
                    <a:pt x="371" y="911"/>
                    <a:pt x="371" y="911"/>
                    <a:pt x="371" y="911"/>
                  </a:cubicBezTo>
                  <a:cubicBezTo>
                    <a:pt x="372" y="914"/>
                    <a:pt x="372" y="914"/>
                    <a:pt x="372" y="914"/>
                  </a:cubicBezTo>
                  <a:cubicBezTo>
                    <a:pt x="373" y="918"/>
                    <a:pt x="373" y="918"/>
                    <a:pt x="373" y="918"/>
                  </a:cubicBezTo>
                  <a:cubicBezTo>
                    <a:pt x="374" y="921"/>
                    <a:pt x="374" y="921"/>
                    <a:pt x="374" y="921"/>
                  </a:cubicBezTo>
                  <a:cubicBezTo>
                    <a:pt x="376" y="924"/>
                    <a:pt x="376" y="924"/>
                    <a:pt x="376" y="924"/>
                  </a:cubicBezTo>
                  <a:cubicBezTo>
                    <a:pt x="377" y="925"/>
                    <a:pt x="377" y="925"/>
                    <a:pt x="377" y="925"/>
                  </a:cubicBezTo>
                  <a:cubicBezTo>
                    <a:pt x="377" y="927"/>
                    <a:pt x="377" y="927"/>
                    <a:pt x="377" y="927"/>
                  </a:cubicBezTo>
                  <a:cubicBezTo>
                    <a:pt x="377" y="928"/>
                    <a:pt x="377" y="928"/>
                    <a:pt x="377" y="928"/>
                  </a:cubicBezTo>
                  <a:cubicBezTo>
                    <a:pt x="376" y="931"/>
                    <a:pt x="376" y="931"/>
                    <a:pt x="376" y="931"/>
                  </a:cubicBezTo>
                  <a:cubicBezTo>
                    <a:pt x="374" y="932"/>
                    <a:pt x="374" y="932"/>
                    <a:pt x="374" y="932"/>
                  </a:cubicBezTo>
                  <a:cubicBezTo>
                    <a:pt x="368" y="939"/>
                    <a:pt x="368" y="939"/>
                    <a:pt x="368" y="939"/>
                  </a:cubicBezTo>
                  <a:cubicBezTo>
                    <a:pt x="369" y="941"/>
                    <a:pt x="369" y="941"/>
                    <a:pt x="369" y="941"/>
                  </a:cubicBezTo>
                  <a:cubicBezTo>
                    <a:pt x="370" y="942"/>
                    <a:pt x="370" y="942"/>
                    <a:pt x="370" y="942"/>
                  </a:cubicBezTo>
                  <a:cubicBezTo>
                    <a:pt x="383" y="952"/>
                    <a:pt x="383" y="952"/>
                    <a:pt x="383" y="952"/>
                  </a:cubicBezTo>
                  <a:cubicBezTo>
                    <a:pt x="399" y="962"/>
                    <a:pt x="399" y="962"/>
                    <a:pt x="399" y="962"/>
                  </a:cubicBezTo>
                  <a:cubicBezTo>
                    <a:pt x="400" y="964"/>
                    <a:pt x="400" y="964"/>
                    <a:pt x="400" y="964"/>
                  </a:cubicBezTo>
                  <a:cubicBezTo>
                    <a:pt x="402" y="966"/>
                    <a:pt x="402" y="966"/>
                    <a:pt x="402" y="966"/>
                  </a:cubicBezTo>
                  <a:cubicBezTo>
                    <a:pt x="405" y="975"/>
                    <a:pt x="405" y="975"/>
                    <a:pt x="405" y="975"/>
                  </a:cubicBezTo>
                  <a:cubicBezTo>
                    <a:pt x="412" y="991"/>
                    <a:pt x="412" y="991"/>
                    <a:pt x="412" y="991"/>
                  </a:cubicBezTo>
                  <a:cubicBezTo>
                    <a:pt x="412" y="994"/>
                    <a:pt x="412" y="994"/>
                    <a:pt x="412" y="994"/>
                  </a:cubicBezTo>
                  <a:cubicBezTo>
                    <a:pt x="411" y="997"/>
                    <a:pt x="411" y="997"/>
                    <a:pt x="411" y="997"/>
                  </a:cubicBezTo>
                  <a:cubicBezTo>
                    <a:pt x="409" y="1004"/>
                    <a:pt x="409" y="1004"/>
                    <a:pt x="409" y="1004"/>
                  </a:cubicBezTo>
                  <a:cubicBezTo>
                    <a:pt x="408" y="1005"/>
                    <a:pt x="408" y="1005"/>
                    <a:pt x="408" y="1005"/>
                  </a:cubicBezTo>
                  <a:cubicBezTo>
                    <a:pt x="408" y="1005"/>
                    <a:pt x="408" y="1005"/>
                    <a:pt x="408" y="1005"/>
                  </a:cubicBezTo>
                  <a:cubicBezTo>
                    <a:pt x="406" y="1006"/>
                    <a:pt x="406" y="1006"/>
                    <a:pt x="406" y="1006"/>
                  </a:cubicBezTo>
                  <a:cubicBezTo>
                    <a:pt x="402" y="1007"/>
                    <a:pt x="402" y="1007"/>
                    <a:pt x="402" y="1007"/>
                  </a:cubicBezTo>
                  <a:cubicBezTo>
                    <a:pt x="397" y="1010"/>
                    <a:pt x="397" y="1010"/>
                    <a:pt x="397" y="1010"/>
                  </a:cubicBezTo>
                  <a:cubicBezTo>
                    <a:pt x="395" y="1011"/>
                    <a:pt x="395" y="1011"/>
                    <a:pt x="395" y="1011"/>
                  </a:cubicBezTo>
                  <a:cubicBezTo>
                    <a:pt x="393" y="1013"/>
                    <a:pt x="393" y="1013"/>
                    <a:pt x="393" y="1013"/>
                  </a:cubicBezTo>
                  <a:cubicBezTo>
                    <a:pt x="392" y="1014"/>
                    <a:pt x="392" y="1014"/>
                    <a:pt x="392" y="1014"/>
                  </a:cubicBezTo>
                  <a:cubicBezTo>
                    <a:pt x="391" y="1015"/>
                    <a:pt x="391" y="1015"/>
                    <a:pt x="391" y="1015"/>
                  </a:cubicBezTo>
                  <a:cubicBezTo>
                    <a:pt x="380" y="1036"/>
                    <a:pt x="380" y="1036"/>
                    <a:pt x="380" y="1036"/>
                  </a:cubicBezTo>
                  <a:cubicBezTo>
                    <a:pt x="380" y="1038"/>
                    <a:pt x="380" y="1038"/>
                    <a:pt x="380" y="1038"/>
                  </a:cubicBezTo>
                  <a:cubicBezTo>
                    <a:pt x="380" y="1040"/>
                    <a:pt x="380" y="1040"/>
                    <a:pt x="380" y="1040"/>
                  </a:cubicBezTo>
                  <a:cubicBezTo>
                    <a:pt x="381" y="1043"/>
                    <a:pt x="381" y="1043"/>
                    <a:pt x="381" y="1043"/>
                  </a:cubicBezTo>
                  <a:cubicBezTo>
                    <a:pt x="380" y="1045"/>
                    <a:pt x="380" y="1045"/>
                    <a:pt x="380" y="1045"/>
                  </a:cubicBezTo>
                  <a:cubicBezTo>
                    <a:pt x="379" y="1047"/>
                    <a:pt x="379" y="1047"/>
                    <a:pt x="379" y="1047"/>
                  </a:cubicBezTo>
                  <a:cubicBezTo>
                    <a:pt x="376" y="1060"/>
                    <a:pt x="376" y="1060"/>
                    <a:pt x="376" y="1060"/>
                  </a:cubicBezTo>
                  <a:cubicBezTo>
                    <a:pt x="376" y="1060"/>
                    <a:pt x="376" y="1060"/>
                    <a:pt x="376" y="1060"/>
                  </a:cubicBezTo>
                  <a:cubicBezTo>
                    <a:pt x="376" y="1061"/>
                    <a:pt x="376" y="1061"/>
                    <a:pt x="376" y="1061"/>
                  </a:cubicBezTo>
                  <a:cubicBezTo>
                    <a:pt x="366" y="1071"/>
                    <a:pt x="366" y="1071"/>
                    <a:pt x="366" y="1071"/>
                  </a:cubicBezTo>
                  <a:cubicBezTo>
                    <a:pt x="357" y="1081"/>
                    <a:pt x="357" y="1081"/>
                    <a:pt x="357" y="1081"/>
                  </a:cubicBezTo>
                  <a:cubicBezTo>
                    <a:pt x="355" y="1082"/>
                    <a:pt x="355" y="1082"/>
                    <a:pt x="355" y="1082"/>
                  </a:cubicBezTo>
                  <a:cubicBezTo>
                    <a:pt x="355" y="1083"/>
                    <a:pt x="355" y="1083"/>
                    <a:pt x="355" y="1083"/>
                  </a:cubicBezTo>
                  <a:cubicBezTo>
                    <a:pt x="347" y="1108"/>
                    <a:pt x="347" y="1108"/>
                    <a:pt x="347" y="1108"/>
                  </a:cubicBezTo>
                  <a:cubicBezTo>
                    <a:pt x="347" y="1110"/>
                    <a:pt x="347" y="1110"/>
                    <a:pt x="347" y="1110"/>
                  </a:cubicBezTo>
                  <a:cubicBezTo>
                    <a:pt x="347" y="1113"/>
                    <a:pt x="347" y="1113"/>
                    <a:pt x="347" y="1113"/>
                  </a:cubicBezTo>
                  <a:cubicBezTo>
                    <a:pt x="347" y="1113"/>
                    <a:pt x="347" y="1113"/>
                    <a:pt x="347" y="1113"/>
                  </a:cubicBezTo>
                  <a:cubicBezTo>
                    <a:pt x="347" y="1113"/>
                    <a:pt x="347" y="1113"/>
                    <a:pt x="347" y="1113"/>
                  </a:cubicBezTo>
                  <a:cubicBezTo>
                    <a:pt x="350" y="1122"/>
                    <a:pt x="350" y="1122"/>
                    <a:pt x="350" y="1122"/>
                  </a:cubicBezTo>
                  <a:cubicBezTo>
                    <a:pt x="351" y="1123"/>
                    <a:pt x="351" y="1123"/>
                    <a:pt x="351" y="1123"/>
                  </a:cubicBezTo>
                  <a:cubicBezTo>
                    <a:pt x="354" y="1127"/>
                    <a:pt x="354" y="1127"/>
                    <a:pt x="354" y="1127"/>
                  </a:cubicBezTo>
                  <a:cubicBezTo>
                    <a:pt x="359" y="1135"/>
                    <a:pt x="359" y="1135"/>
                    <a:pt x="359" y="1135"/>
                  </a:cubicBezTo>
                  <a:cubicBezTo>
                    <a:pt x="359" y="1136"/>
                    <a:pt x="359" y="1136"/>
                    <a:pt x="359" y="1136"/>
                  </a:cubicBezTo>
                  <a:cubicBezTo>
                    <a:pt x="359" y="1139"/>
                    <a:pt x="359" y="1139"/>
                    <a:pt x="359" y="1139"/>
                  </a:cubicBezTo>
                  <a:cubicBezTo>
                    <a:pt x="359" y="1139"/>
                    <a:pt x="359" y="1139"/>
                    <a:pt x="359" y="1139"/>
                  </a:cubicBezTo>
                  <a:cubicBezTo>
                    <a:pt x="358" y="1142"/>
                    <a:pt x="358" y="1142"/>
                    <a:pt x="358" y="1142"/>
                  </a:cubicBezTo>
                  <a:cubicBezTo>
                    <a:pt x="357" y="1142"/>
                    <a:pt x="357" y="1142"/>
                    <a:pt x="357" y="1142"/>
                  </a:cubicBezTo>
                  <a:cubicBezTo>
                    <a:pt x="356" y="1142"/>
                    <a:pt x="356" y="1142"/>
                    <a:pt x="356" y="1142"/>
                  </a:cubicBezTo>
                  <a:cubicBezTo>
                    <a:pt x="355" y="1142"/>
                    <a:pt x="355" y="1142"/>
                    <a:pt x="355" y="1142"/>
                  </a:cubicBezTo>
                  <a:cubicBezTo>
                    <a:pt x="349" y="1138"/>
                    <a:pt x="349" y="1138"/>
                    <a:pt x="349" y="1138"/>
                  </a:cubicBezTo>
                  <a:cubicBezTo>
                    <a:pt x="348" y="1137"/>
                    <a:pt x="348" y="1137"/>
                    <a:pt x="348" y="1137"/>
                  </a:cubicBezTo>
                  <a:cubicBezTo>
                    <a:pt x="347" y="1135"/>
                    <a:pt x="347" y="1135"/>
                    <a:pt x="347" y="1135"/>
                  </a:cubicBezTo>
                  <a:cubicBezTo>
                    <a:pt x="346" y="1128"/>
                    <a:pt x="346" y="1128"/>
                    <a:pt x="346" y="1128"/>
                  </a:cubicBezTo>
                  <a:cubicBezTo>
                    <a:pt x="347" y="1127"/>
                    <a:pt x="347" y="1127"/>
                    <a:pt x="347" y="1127"/>
                  </a:cubicBezTo>
                  <a:cubicBezTo>
                    <a:pt x="347" y="1125"/>
                    <a:pt x="347" y="1125"/>
                    <a:pt x="347" y="1125"/>
                  </a:cubicBezTo>
                  <a:cubicBezTo>
                    <a:pt x="347" y="1124"/>
                    <a:pt x="347" y="1124"/>
                    <a:pt x="347" y="1124"/>
                  </a:cubicBezTo>
                  <a:cubicBezTo>
                    <a:pt x="347" y="1123"/>
                    <a:pt x="347" y="1123"/>
                    <a:pt x="347" y="1123"/>
                  </a:cubicBezTo>
                  <a:cubicBezTo>
                    <a:pt x="346" y="1118"/>
                    <a:pt x="346" y="1118"/>
                    <a:pt x="346" y="1118"/>
                  </a:cubicBezTo>
                  <a:cubicBezTo>
                    <a:pt x="345" y="1117"/>
                    <a:pt x="345" y="1117"/>
                    <a:pt x="345" y="1117"/>
                  </a:cubicBezTo>
                  <a:cubicBezTo>
                    <a:pt x="343" y="1115"/>
                    <a:pt x="343" y="1115"/>
                    <a:pt x="343" y="1115"/>
                  </a:cubicBezTo>
                  <a:cubicBezTo>
                    <a:pt x="340" y="1114"/>
                    <a:pt x="340" y="1114"/>
                    <a:pt x="340" y="1114"/>
                  </a:cubicBezTo>
                  <a:cubicBezTo>
                    <a:pt x="339" y="1114"/>
                    <a:pt x="339" y="1114"/>
                    <a:pt x="339" y="1114"/>
                  </a:cubicBezTo>
                  <a:cubicBezTo>
                    <a:pt x="334" y="1115"/>
                    <a:pt x="334" y="1115"/>
                    <a:pt x="334" y="1115"/>
                  </a:cubicBezTo>
                  <a:cubicBezTo>
                    <a:pt x="333" y="1116"/>
                    <a:pt x="333" y="1116"/>
                    <a:pt x="333" y="1116"/>
                  </a:cubicBezTo>
                  <a:cubicBezTo>
                    <a:pt x="333" y="1117"/>
                    <a:pt x="333" y="1117"/>
                    <a:pt x="333" y="1117"/>
                  </a:cubicBezTo>
                  <a:cubicBezTo>
                    <a:pt x="332" y="1117"/>
                    <a:pt x="332" y="1117"/>
                    <a:pt x="332" y="1117"/>
                  </a:cubicBezTo>
                  <a:cubicBezTo>
                    <a:pt x="330" y="1130"/>
                    <a:pt x="330" y="1130"/>
                    <a:pt x="330" y="1130"/>
                  </a:cubicBezTo>
                  <a:cubicBezTo>
                    <a:pt x="329" y="1135"/>
                    <a:pt x="329" y="1135"/>
                    <a:pt x="329" y="1135"/>
                  </a:cubicBezTo>
                  <a:cubicBezTo>
                    <a:pt x="330" y="1138"/>
                    <a:pt x="330" y="1138"/>
                    <a:pt x="330" y="1138"/>
                  </a:cubicBezTo>
                  <a:cubicBezTo>
                    <a:pt x="330" y="1139"/>
                    <a:pt x="330" y="1139"/>
                    <a:pt x="330" y="1139"/>
                  </a:cubicBezTo>
                  <a:cubicBezTo>
                    <a:pt x="331" y="1142"/>
                    <a:pt x="331" y="1142"/>
                    <a:pt x="331" y="1142"/>
                  </a:cubicBezTo>
                  <a:cubicBezTo>
                    <a:pt x="335" y="1150"/>
                    <a:pt x="335" y="1150"/>
                    <a:pt x="335" y="1150"/>
                  </a:cubicBezTo>
                  <a:cubicBezTo>
                    <a:pt x="335" y="1152"/>
                    <a:pt x="335" y="1152"/>
                    <a:pt x="335" y="1152"/>
                  </a:cubicBezTo>
                  <a:cubicBezTo>
                    <a:pt x="336" y="1153"/>
                    <a:pt x="336" y="1153"/>
                    <a:pt x="336" y="1153"/>
                  </a:cubicBezTo>
                  <a:cubicBezTo>
                    <a:pt x="338" y="1157"/>
                    <a:pt x="338" y="1157"/>
                    <a:pt x="338" y="1157"/>
                  </a:cubicBezTo>
                  <a:cubicBezTo>
                    <a:pt x="341" y="1162"/>
                    <a:pt x="341" y="1162"/>
                    <a:pt x="341" y="1162"/>
                  </a:cubicBezTo>
                  <a:cubicBezTo>
                    <a:pt x="349" y="1168"/>
                    <a:pt x="349" y="1168"/>
                    <a:pt x="349" y="1168"/>
                  </a:cubicBezTo>
                  <a:cubicBezTo>
                    <a:pt x="362" y="1186"/>
                    <a:pt x="362" y="1186"/>
                    <a:pt x="362" y="1186"/>
                  </a:cubicBezTo>
                  <a:cubicBezTo>
                    <a:pt x="362" y="1195"/>
                    <a:pt x="362" y="1195"/>
                    <a:pt x="362" y="1195"/>
                  </a:cubicBezTo>
                  <a:cubicBezTo>
                    <a:pt x="362" y="1197"/>
                    <a:pt x="362" y="1197"/>
                    <a:pt x="362" y="1197"/>
                  </a:cubicBezTo>
                  <a:cubicBezTo>
                    <a:pt x="362" y="1198"/>
                    <a:pt x="362" y="1198"/>
                    <a:pt x="362" y="1198"/>
                  </a:cubicBezTo>
                  <a:cubicBezTo>
                    <a:pt x="364" y="1203"/>
                    <a:pt x="364" y="1203"/>
                    <a:pt x="364" y="1203"/>
                  </a:cubicBezTo>
                  <a:cubicBezTo>
                    <a:pt x="365" y="1205"/>
                    <a:pt x="365" y="1205"/>
                    <a:pt x="365" y="1205"/>
                  </a:cubicBezTo>
                  <a:cubicBezTo>
                    <a:pt x="368" y="1207"/>
                    <a:pt x="368" y="1207"/>
                    <a:pt x="368" y="1207"/>
                  </a:cubicBezTo>
                  <a:cubicBezTo>
                    <a:pt x="376" y="1211"/>
                    <a:pt x="376" y="1211"/>
                    <a:pt x="376" y="1211"/>
                  </a:cubicBezTo>
                  <a:cubicBezTo>
                    <a:pt x="377" y="1211"/>
                    <a:pt x="377" y="1211"/>
                    <a:pt x="377" y="1211"/>
                  </a:cubicBezTo>
                  <a:cubicBezTo>
                    <a:pt x="377" y="1211"/>
                    <a:pt x="377" y="1211"/>
                    <a:pt x="377" y="1211"/>
                  </a:cubicBezTo>
                  <a:cubicBezTo>
                    <a:pt x="378" y="1210"/>
                    <a:pt x="378" y="1210"/>
                    <a:pt x="378" y="1210"/>
                  </a:cubicBezTo>
                  <a:cubicBezTo>
                    <a:pt x="378" y="1209"/>
                    <a:pt x="378" y="1209"/>
                    <a:pt x="378" y="1209"/>
                  </a:cubicBezTo>
                  <a:cubicBezTo>
                    <a:pt x="377" y="1198"/>
                    <a:pt x="377" y="1198"/>
                    <a:pt x="377" y="1198"/>
                  </a:cubicBezTo>
                  <a:cubicBezTo>
                    <a:pt x="376" y="1197"/>
                    <a:pt x="376" y="1197"/>
                    <a:pt x="376" y="1197"/>
                  </a:cubicBezTo>
                  <a:cubicBezTo>
                    <a:pt x="376" y="1195"/>
                    <a:pt x="376" y="1195"/>
                    <a:pt x="376" y="1195"/>
                  </a:cubicBezTo>
                  <a:cubicBezTo>
                    <a:pt x="375" y="1195"/>
                    <a:pt x="375" y="1195"/>
                    <a:pt x="375" y="1195"/>
                  </a:cubicBezTo>
                  <a:cubicBezTo>
                    <a:pt x="373" y="1194"/>
                    <a:pt x="373" y="1194"/>
                    <a:pt x="373" y="1194"/>
                  </a:cubicBezTo>
                  <a:cubicBezTo>
                    <a:pt x="371" y="1193"/>
                    <a:pt x="371" y="1193"/>
                    <a:pt x="371" y="1193"/>
                  </a:cubicBezTo>
                  <a:cubicBezTo>
                    <a:pt x="361" y="1168"/>
                    <a:pt x="361" y="1168"/>
                    <a:pt x="361" y="1168"/>
                  </a:cubicBezTo>
                  <a:cubicBezTo>
                    <a:pt x="361" y="1167"/>
                    <a:pt x="361" y="1167"/>
                    <a:pt x="361" y="1167"/>
                  </a:cubicBezTo>
                  <a:cubicBezTo>
                    <a:pt x="363" y="1164"/>
                    <a:pt x="363" y="1164"/>
                    <a:pt x="363" y="1164"/>
                  </a:cubicBezTo>
                  <a:cubicBezTo>
                    <a:pt x="368" y="1159"/>
                    <a:pt x="368" y="1159"/>
                    <a:pt x="368" y="1159"/>
                  </a:cubicBezTo>
                  <a:cubicBezTo>
                    <a:pt x="370" y="1158"/>
                    <a:pt x="370" y="1158"/>
                    <a:pt x="370" y="1158"/>
                  </a:cubicBezTo>
                  <a:cubicBezTo>
                    <a:pt x="381" y="1152"/>
                    <a:pt x="381" y="1152"/>
                    <a:pt x="381" y="1152"/>
                  </a:cubicBezTo>
                  <a:cubicBezTo>
                    <a:pt x="383" y="1151"/>
                    <a:pt x="383" y="1151"/>
                    <a:pt x="383" y="1151"/>
                  </a:cubicBezTo>
                  <a:cubicBezTo>
                    <a:pt x="384" y="1151"/>
                    <a:pt x="384" y="1151"/>
                    <a:pt x="384" y="1151"/>
                  </a:cubicBezTo>
                  <a:cubicBezTo>
                    <a:pt x="385" y="1152"/>
                    <a:pt x="385" y="1152"/>
                    <a:pt x="385" y="1152"/>
                  </a:cubicBezTo>
                  <a:cubicBezTo>
                    <a:pt x="401" y="1164"/>
                    <a:pt x="401" y="1164"/>
                    <a:pt x="401" y="1164"/>
                  </a:cubicBezTo>
                  <a:cubicBezTo>
                    <a:pt x="421" y="1182"/>
                    <a:pt x="421" y="1182"/>
                    <a:pt x="421" y="1182"/>
                  </a:cubicBezTo>
                  <a:cubicBezTo>
                    <a:pt x="422" y="1183"/>
                    <a:pt x="422" y="1183"/>
                    <a:pt x="422" y="1183"/>
                  </a:cubicBezTo>
                  <a:cubicBezTo>
                    <a:pt x="425" y="1187"/>
                    <a:pt x="425" y="1187"/>
                    <a:pt x="425" y="1187"/>
                  </a:cubicBezTo>
                  <a:cubicBezTo>
                    <a:pt x="429" y="1192"/>
                    <a:pt x="429" y="1192"/>
                    <a:pt x="429" y="1192"/>
                  </a:cubicBezTo>
                  <a:cubicBezTo>
                    <a:pt x="446" y="1198"/>
                    <a:pt x="446" y="1198"/>
                    <a:pt x="446" y="1198"/>
                  </a:cubicBezTo>
                  <a:cubicBezTo>
                    <a:pt x="447" y="1198"/>
                    <a:pt x="447" y="1198"/>
                    <a:pt x="447" y="1198"/>
                  </a:cubicBezTo>
                  <a:cubicBezTo>
                    <a:pt x="448" y="1198"/>
                    <a:pt x="448" y="1198"/>
                    <a:pt x="448" y="1198"/>
                  </a:cubicBezTo>
                  <a:cubicBezTo>
                    <a:pt x="449" y="1197"/>
                    <a:pt x="449" y="1197"/>
                    <a:pt x="449" y="1197"/>
                  </a:cubicBezTo>
                  <a:cubicBezTo>
                    <a:pt x="451" y="1194"/>
                    <a:pt x="451" y="1194"/>
                    <a:pt x="451" y="1194"/>
                  </a:cubicBezTo>
                  <a:cubicBezTo>
                    <a:pt x="452" y="1193"/>
                    <a:pt x="452" y="1193"/>
                    <a:pt x="452" y="1193"/>
                  </a:cubicBezTo>
                  <a:cubicBezTo>
                    <a:pt x="453" y="1190"/>
                    <a:pt x="453" y="1190"/>
                    <a:pt x="453" y="1190"/>
                  </a:cubicBezTo>
                  <a:cubicBezTo>
                    <a:pt x="453" y="1169"/>
                    <a:pt x="453" y="1169"/>
                    <a:pt x="453" y="1169"/>
                  </a:cubicBezTo>
                  <a:cubicBezTo>
                    <a:pt x="453" y="1168"/>
                    <a:pt x="453" y="1168"/>
                    <a:pt x="453" y="1168"/>
                  </a:cubicBezTo>
                  <a:cubicBezTo>
                    <a:pt x="453" y="1167"/>
                    <a:pt x="453" y="1167"/>
                    <a:pt x="453" y="1167"/>
                  </a:cubicBezTo>
                  <a:cubicBezTo>
                    <a:pt x="452" y="1166"/>
                    <a:pt x="452" y="1166"/>
                    <a:pt x="452" y="1166"/>
                  </a:cubicBezTo>
                  <a:cubicBezTo>
                    <a:pt x="445" y="1161"/>
                    <a:pt x="445" y="1161"/>
                    <a:pt x="445" y="1161"/>
                  </a:cubicBezTo>
                  <a:cubicBezTo>
                    <a:pt x="443" y="1160"/>
                    <a:pt x="443" y="1160"/>
                    <a:pt x="443" y="1160"/>
                  </a:cubicBezTo>
                  <a:cubicBezTo>
                    <a:pt x="442" y="1159"/>
                    <a:pt x="442" y="1159"/>
                    <a:pt x="442" y="1159"/>
                  </a:cubicBezTo>
                  <a:cubicBezTo>
                    <a:pt x="442" y="1159"/>
                    <a:pt x="442" y="1159"/>
                    <a:pt x="442" y="1159"/>
                  </a:cubicBezTo>
                  <a:cubicBezTo>
                    <a:pt x="440" y="1151"/>
                    <a:pt x="440" y="1151"/>
                    <a:pt x="440" y="1151"/>
                  </a:cubicBezTo>
                  <a:cubicBezTo>
                    <a:pt x="440" y="1150"/>
                    <a:pt x="440" y="1150"/>
                    <a:pt x="440" y="1150"/>
                  </a:cubicBezTo>
                  <a:cubicBezTo>
                    <a:pt x="440" y="1148"/>
                    <a:pt x="440" y="1148"/>
                    <a:pt x="440" y="1148"/>
                  </a:cubicBezTo>
                  <a:cubicBezTo>
                    <a:pt x="441" y="1148"/>
                    <a:pt x="441" y="1148"/>
                    <a:pt x="441" y="1148"/>
                  </a:cubicBezTo>
                  <a:cubicBezTo>
                    <a:pt x="444" y="1144"/>
                    <a:pt x="444" y="1144"/>
                    <a:pt x="444" y="1144"/>
                  </a:cubicBezTo>
                  <a:cubicBezTo>
                    <a:pt x="445" y="1143"/>
                    <a:pt x="445" y="1143"/>
                    <a:pt x="445" y="1143"/>
                  </a:cubicBezTo>
                  <a:cubicBezTo>
                    <a:pt x="464" y="1158"/>
                    <a:pt x="464" y="1158"/>
                    <a:pt x="464" y="1158"/>
                  </a:cubicBezTo>
                  <a:cubicBezTo>
                    <a:pt x="477" y="1169"/>
                    <a:pt x="477" y="1169"/>
                    <a:pt x="477" y="1169"/>
                  </a:cubicBezTo>
                  <a:cubicBezTo>
                    <a:pt x="482" y="1173"/>
                    <a:pt x="482" y="1173"/>
                    <a:pt x="482" y="1173"/>
                  </a:cubicBezTo>
                  <a:cubicBezTo>
                    <a:pt x="496" y="1175"/>
                    <a:pt x="496" y="1175"/>
                    <a:pt x="496" y="1175"/>
                  </a:cubicBezTo>
                  <a:cubicBezTo>
                    <a:pt x="505" y="1175"/>
                    <a:pt x="505" y="1175"/>
                    <a:pt x="505" y="1175"/>
                  </a:cubicBezTo>
                  <a:cubicBezTo>
                    <a:pt x="508" y="1175"/>
                    <a:pt x="508" y="1175"/>
                    <a:pt x="508" y="1175"/>
                  </a:cubicBezTo>
                  <a:cubicBezTo>
                    <a:pt x="509" y="1174"/>
                    <a:pt x="509" y="1174"/>
                    <a:pt x="509" y="1174"/>
                  </a:cubicBezTo>
                  <a:cubicBezTo>
                    <a:pt x="522" y="1164"/>
                    <a:pt x="522" y="1164"/>
                    <a:pt x="522" y="1164"/>
                  </a:cubicBezTo>
                  <a:cubicBezTo>
                    <a:pt x="539" y="1151"/>
                    <a:pt x="539" y="1151"/>
                    <a:pt x="539" y="1151"/>
                  </a:cubicBezTo>
                  <a:cubicBezTo>
                    <a:pt x="558" y="1146"/>
                    <a:pt x="558" y="1146"/>
                    <a:pt x="558" y="1146"/>
                  </a:cubicBezTo>
                  <a:cubicBezTo>
                    <a:pt x="563" y="1131"/>
                    <a:pt x="563" y="1131"/>
                    <a:pt x="563" y="1131"/>
                  </a:cubicBezTo>
                  <a:cubicBezTo>
                    <a:pt x="567" y="1118"/>
                    <a:pt x="567" y="1118"/>
                    <a:pt x="567" y="1118"/>
                  </a:cubicBezTo>
                  <a:cubicBezTo>
                    <a:pt x="583" y="1117"/>
                    <a:pt x="583" y="1117"/>
                    <a:pt x="583" y="1117"/>
                  </a:cubicBezTo>
                  <a:cubicBezTo>
                    <a:pt x="584" y="1117"/>
                    <a:pt x="584" y="1117"/>
                    <a:pt x="584" y="1117"/>
                  </a:cubicBezTo>
                  <a:cubicBezTo>
                    <a:pt x="586" y="1118"/>
                    <a:pt x="586" y="1118"/>
                    <a:pt x="586" y="1118"/>
                  </a:cubicBezTo>
                  <a:cubicBezTo>
                    <a:pt x="588" y="1119"/>
                    <a:pt x="588" y="1119"/>
                    <a:pt x="588" y="1119"/>
                  </a:cubicBezTo>
                  <a:cubicBezTo>
                    <a:pt x="598" y="1121"/>
                    <a:pt x="598" y="1121"/>
                    <a:pt x="598" y="1121"/>
                  </a:cubicBezTo>
                  <a:cubicBezTo>
                    <a:pt x="612" y="1123"/>
                    <a:pt x="612" y="1123"/>
                    <a:pt x="612" y="1123"/>
                  </a:cubicBezTo>
                  <a:cubicBezTo>
                    <a:pt x="627" y="1123"/>
                    <a:pt x="627" y="1123"/>
                    <a:pt x="627" y="1123"/>
                  </a:cubicBezTo>
                  <a:cubicBezTo>
                    <a:pt x="629" y="1122"/>
                    <a:pt x="629" y="1122"/>
                    <a:pt x="629" y="1122"/>
                  </a:cubicBezTo>
                  <a:cubicBezTo>
                    <a:pt x="633" y="1120"/>
                    <a:pt x="633" y="1120"/>
                    <a:pt x="633" y="1120"/>
                  </a:cubicBezTo>
                  <a:cubicBezTo>
                    <a:pt x="642" y="1116"/>
                    <a:pt x="642" y="1116"/>
                    <a:pt x="642" y="1116"/>
                  </a:cubicBezTo>
                  <a:cubicBezTo>
                    <a:pt x="645" y="1116"/>
                    <a:pt x="645" y="1116"/>
                    <a:pt x="645" y="1116"/>
                  </a:cubicBezTo>
                  <a:cubicBezTo>
                    <a:pt x="645" y="1117"/>
                    <a:pt x="645" y="1117"/>
                    <a:pt x="645" y="1117"/>
                  </a:cubicBezTo>
                  <a:cubicBezTo>
                    <a:pt x="646" y="1118"/>
                    <a:pt x="646" y="1118"/>
                    <a:pt x="646" y="1118"/>
                  </a:cubicBezTo>
                  <a:cubicBezTo>
                    <a:pt x="646" y="1119"/>
                    <a:pt x="646" y="1119"/>
                    <a:pt x="646" y="1119"/>
                  </a:cubicBezTo>
                  <a:cubicBezTo>
                    <a:pt x="648" y="1118"/>
                    <a:pt x="648" y="1118"/>
                    <a:pt x="648" y="1118"/>
                  </a:cubicBezTo>
                  <a:cubicBezTo>
                    <a:pt x="649" y="1118"/>
                    <a:pt x="649" y="1117"/>
                    <a:pt x="650" y="1117"/>
                  </a:cubicBezTo>
                  <a:cubicBezTo>
                    <a:pt x="650" y="1116"/>
                    <a:pt x="650" y="1116"/>
                    <a:pt x="650" y="1115"/>
                  </a:cubicBezTo>
                  <a:cubicBezTo>
                    <a:pt x="649" y="1115"/>
                    <a:pt x="649" y="1114"/>
                    <a:pt x="650" y="1112"/>
                  </a:cubicBezTo>
                  <a:cubicBezTo>
                    <a:pt x="648" y="1110"/>
                    <a:pt x="649" y="1109"/>
                    <a:pt x="651" y="1108"/>
                  </a:cubicBezTo>
                  <a:cubicBezTo>
                    <a:pt x="652" y="1107"/>
                    <a:pt x="656" y="1105"/>
                    <a:pt x="656" y="1105"/>
                  </a:cubicBezTo>
                  <a:cubicBezTo>
                    <a:pt x="656" y="1105"/>
                    <a:pt x="656" y="1105"/>
                    <a:pt x="657" y="1105"/>
                  </a:cubicBezTo>
                  <a:cubicBezTo>
                    <a:pt x="665" y="1105"/>
                    <a:pt x="665" y="1105"/>
                    <a:pt x="665" y="1105"/>
                  </a:cubicBezTo>
                  <a:cubicBezTo>
                    <a:pt x="665" y="1105"/>
                    <a:pt x="666" y="1105"/>
                    <a:pt x="666" y="1106"/>
                  </a:cubicBezTo>
                  <a:cubicBezTo>
                    <a:pt x="667" y="1105"/>
                    <a:pt x="667" y="1104"/>
                    <a:pt x="668" y="1103"/>
                  </a:cubicBezTo>
                  <a:cubicBezTo>
                    <a:pt x="668" y="1103"/>
                    <a:pt x="668" y="1103"/>
                    <a:pt x="668" y="1103"/>
                  </a:cubicBezTo>
                  <a:cubicBezTo>
                    <a:pt x="668" y="1103"/>
                    <a:pt x="668" y="1102"/>
                    <a:pt x="669" y="1102"/>
                  </a:cubicBezTo>
                  <a:cubicBezTo>
                    <a:pt x="672" y="1100"/>
                    <a:pt x="672" y="1100"/>
                    <a:pt x="672" y="1100"/>
                  </a:cubicBezTo>
                  <a:cubicBezTo>
                    <a:pt x="675" y="1098"/>
                    <a:pt x="675" y="1098"/>
                    <a:pt x="675" y="1098"/>
                  </a:cubicBezTo>
                  <a:cubicBezTo>
                    <a:pt x="675" y="1098"/>
                    <a:pt x="676" y="1098"/>
                    <a:pt x="676" y="1097"/>
                  </a:cubicBezTo>
                  <a:cubicBezTo>
                    <a:pt x="677" y="1096"/>
                    <a:pt x="677" y="1095"/>
                    <a:pt x="677" y="1095"/>
                  </a:cubicBezTo>
                  <a:cubicBezTo>
                    <a:pt x="678" y="1094"/>
                    <a:pt x="679" y="1092"/>
                    <a:pt x="681" y="1092"/>
                  </a:cubicBezTo>
                  <a:cubicBezTo>
                    <a:pt x="681" y="1091"/>
                    <a:pt x="682" y="1091"/>
                    <a:pt x="682" y="1091"/>
                  </a:cubicBezTo>
                  <a:cubicBezTo>
                    <a:pt x="681" y="1090"/>
                    <a:pt x="681" y="1090"/>
                    <a:pt x="681" y="1090"/>
                  </a:cubicBezTo>
                  <a:cubicBezTo>
                    <a:pt x="685" y="1088"/>
                    <a:pt x="685" y="1088"/>
                    <a:pt x="685" y="1088"/>
                  </a:cubicBezTo>
                  <a:cubicBezTo>
                    <a:pt x="685" y="1088"/>
                    <a:pt x="685" y="1088"/>
                    <a:pt x="686" y="1089"/>
                  </a:cubicBezTo>
                  <a:cubicBezTo>
                    <a:pt x="686" y="1089"/>
                    <a:pt x="686" y="1089"/>
                    <a:pt x="686" y="1088"/>
                  </a:cubicBezTo>
                  <a:cubicBezTo>
                    <a:pt x="687" y="1088"/>
                    <a:pt x="687" y="1088"/>
                    <a:pt x="688" y="1088"/>
                  </a:cubicBezTo>
                  <a:cubicBezTo>
                    <a:pt x="689" y="1087"/>
                    <a:pt x="689" y="1087"/>
                    <a:pt x="689" y="1087"/>
                  </a:cubicBezTo>
                  <a:cubicBezTo>
                    <a:pt x="689" y="1086"/>
                    <a:pt x="690" y="1086"/>
                    <a:pt x="691" y="1086"/>
                  </a:cubicBezTo>
                  <a:cubicBezTo>
                    <a:pt x="691" y="1085"/>
                    <a:pt x="691" y="1085"/>
                    <a:pt x="691" y="1085"/>
                  </a:cubicBezTo>
                  <a:cubicBezTo>
                    <a:pt x="691" y="1083"/>
                    <a:pt x="691" y="1083"/>
                    <a:pt x="691" y="1083"/>
                  </a:cubicBezTo>
                  <a:cubicBezTo>
                    <a:pt x="692" y="1082"/>
                    <a:pt x="693" y="1081"/>
                    <a:pt x="695" y="1081"/>
                  </a:cubicBezTo>
                  <a:cubicBezTo>
                    <a:pt x="701" y="1078"/>
                    <a:pt x="702" y="1078"/>
                    <a:pt x="702" y="1078"/>
                  </a:cubicBezTo>
                  <a:cubicBezTo>
                    <a:pt x="702" y="1077"/>
                    <a:pt x="703" y="1077"/>
                    <a:pt x="703" y="1077"/>
                  </a:cubicBezTo>
                  <a:cubicBezTo>
                    <a:pt x="703" y="1077"/>
                    <a:pt x="703" y="1077"/>
                    <a:pt x="703" y="1077"/>
                  </a:cubicBezTo>
                  <a:cubicBezTo>
                    <a:pt x="703" y="1073"/>
                    <a:pt x="703" y="1073"/>
                    <a:pt x="703" y="1073"/>
                  </a:cubicBezTo>
                  <a:cubicBezTo>
                    <a:pt x="703" y="1072"/>
                    <a:pt x="703" y="1072"/>
                    <a:pt x="703" y="1072"/>
                  </a:cubicBezTo>
                  <a:cubicBezTo>
                    <a:pt x="702" y="1071"/>
                    <a:pt x="702" y="1070"/>
                    <a:pt x="703" y="1068"/>
                  </a:cubicBezTo>
                  <a:cubicBezTo>
                    <a:pt x="703" y="1066"/>
                    <a:pt x="703" y="1065"/>
                    <a:pt x="703" y="1065"/>
                  </a:cubicBezTo>
                  <a:cubicBezTo>
                    <a:pt x="703" y="1065"/>
                    <a:pt x="703" y="1065"/>
                    <a:pt x="703" y="1064"/>
                  </a:cubicBezTo>
                  <a:cubicBezTo>
                    <a:pt x="703" y="1063"/>
                    <a:pt x="703" y="1063"/>
                    <a:pt x="703" y="1063"/>
                  </a:cubicBezTo>
                  <a:cubicBezTo>
                    <a:pt x="703" y="1062"/>
                    <a:pt x="703" y="1062"/>
                    <a:pt x="703" y="1062"/>
                  </a:cubicBezTo>
                  <a:cubicBezTo>
                    <a:pt x="703" y="1061"/>
                    <a:pt x="705" y="1059"/>
                    <a:pt x="708" y="1059"/>
                  </a:cubicBezTo>
                  <a:cubicBezTo>
                    <a:pt x="708" y="1059"/>
                    <a:pt x="708" y="1059"/>
                    <a:pt x="709" y="1059"/>
                  </a:cubicBezTo>
                  <a:cubicBezTo>
                    <a:pt x="709" y="1059"/>
                    <a:pt x="709" y="1058"/>
                    <a:pt x="710" y="1058"/>
                  </a:cubicBezTo>
                  <a:cubicBezTo>
                    <a:pt x="710" y="1058"/>
                    <a:pt x="710" y="1058"/>
                    <a:pt x="710" y="1057"/>
                  </a:cubicBezTo>
                  <a:cubicBezTo>
                    <a:pt x="710" y="1055"/>
                    <a:pt x="710" y="1054"/>
                    <a:pt x="709" y="1054"/>
                  </a:cubicBezTo>
                  <a:cubicBezTo>
                    <a:pt x="709" y="1053"/>
                    <a:pt x="708" y="1051"/>
                    <a:pt x="711" y="1049"/>
                  </a:cubicBezTo>
                  <a:cubicBezTo>
                    <a:pt x="712" y="1048"/>
                    <a:pt x="714" y="1047"/>
                    <a:pt x="716" y="1046"/>
                  </a:cubicBezTo>
                  <a:cubicBezTo>
                    <a:pt x="717" y="1045"/>
                    <a:pt x="718" y="1045"/>
                    <a:pt x="718" y="1045"/>
                  </a:cubicBezTo>
                  <a:cubicBezTo>
                    <a:pt x="719" y="1044"/>
                    <a:pt x="719" y="1044"/>
                    <a:pt x="720" y="1043"/>
                  </a:cubicBezTo>
                  <a:cubicBezTo>
                    <a:pt x="720" y="1043"/>
                    <a:pt x="721" y="1043"/>
                    <a:pt x="721" y="1042"/>
                  </a:cubicBezTo>
                  <a:cubicBezTo>
                    <a:pt x="722" y="1038"/>
                    <a:pt x="722" y="1038"/>
                    <a:pt x="722" y="1038"/>
                  </a:cubicBezTo>
                  <a:cubicBezTo>
                    <a:pt x="722" y="1038"/>
                    <a:pt x="722" y="1038"/>
                    <a:pt x="722" y="1038"/>
                  </a:cubicBezTo>
                  <a:cubicBezTo>
                    <a:pt x="723" y="1035"/>
                    <a:pt x="723" y="1035"/>
                    <a:pt x="723" y="1035"/>
                  </a:cubicBezTo>
                  <a:cubicBezTo>
                    <a:pt x="726" y="1028"/>
                    <a:pt x="726" y="1028"/>
                    <a:pt x="726" y="1028"/>
                  </a:cubicBezTo>
                  <a:cubicBezTo>
                    <a:pt x="727" y="1027"/>
                    <a:pt x="727" y="1027"/>
                    <a:pt x="728" y="1027"/>
                  </a:cubicBezTo>
                  <a:cubicBezTo>
                    <a:pt x="729" y="1027"/>
                    <a:pt x="729" y="1027"/>
                    <a:pt x="729" y="1027"/>
                  </a:cubicBezTo>
                  <a:cubicBezTo>
                    <a:pt x="731" y="1025"/>
                    <a:pt x="732" y="1024"/>
                    <a:pt x="733" y="1023"/>
                  </a:cubicBezTo>
                  <a:cubicBezTo>
                    <a:pt x="734" y="1023"/>
                    <a:pt x="734" y="1023"/>
                    <a:pt x="735" y="1022"/>
                  </a:cubicBezTo>
                  <a:cubicBezTo>
                    <a:pt x="736" y="1021"/>
                    <a:pt x="739" y="1020"/>
                    <a:pt x="739" y="1020"/>
                  </a:cubicBezTo>
                  <a:cubicBezTo>
                    <a:pt x="740" y="1020"/>
                    <a:pt x="740" y="1020"/>
                    <a:pt x="740" y="1020"/>
                  </a:cubicBezTo>
                  <a:cubicBezTo>
                    <a:pt x="746" y="1020"/>
                    <a:pt x="746" y="1020"/>
                    <a:pt x="746" y="1020"/>
                  </a:cubicBezTo>
                  <a:cubicBezTo>
                    <a:pt x="747" y="1020"/>
                    <a:pt x="747" y="1020"/>
                    <a:pt x="749" y="1020"/>
                  </a:cubicBezTo>
                  <a:cubicBezTo>
                    <a:pt x="750" y="1020"/>
                    <a:pt x="750" y="1020"/>
                    <a:pt x="750" y="1020"/>
                  </a:cubicBezTo>
                  <a:cubicBezTo>
                    <a:pt x="751" y="1020"/>
                    <a:pt x="751" y="1020"/>
                    <a:pt x="752" y="1020"/>
                  </a:cubicBezTo>
                  <a:cubicBezTo>
                    <a:pt x="753" y="1020"/>
                    <a:pt x="753" y="1020"/>
                    <a:pt x="753" y="1020"/>
                  </a:cubicBezTo>
                  <a:cubicBezTo>
                    <a:pt x="753" y="1020"/>
                    <a:pt x="753" y="1020"/>
                    <a:pt x="753" y="1020"/>
                  </a:cubicBezTo>
                  <a:cubicBezTo>
                    <a:pt x="753" y="1019"/>
                    <a:pt x="753" y="1018"/>
                    <a:pt x="754" y="1017"/>
                  </a:cubicBezTo>
                  <a:cubicBezTo>
                    <a:pt x="754" y="1016"/>
                    <a:pt x="754" y="1016"/>
                    <a:pt x="754" y="1016"/>
                  </a:cubicBezTo>
                  <a:cubicBezTo>
                    <a:pt x="754" y="1015"/>
                    <a:pt x="754" y="1015"/>
                    <a:pt x="754" y="1015"/>
                  </a:cubicBezTo>
                  <a:cubicBezTo>
                    <a:pt x="754" y="1015"/>
                    <a:pt x="754" y="1015"/>
                    <a:pt x="755" y="1015"/>
                  </a:cubicBezTo>
                  <a:cubicBezTo>
                    <a:pt x="755" y="1014"/>
                    <a:pt x="754" y="1014"/>
                    <a:pt x="754" y="1014"/>
                  </a:cubicBezTo>
                  <a:cubicBezTo>
                    <a:pt x="754" y="1013"/>
                    <a:pt x="755" y="1013"/>
                    <a:pt x="756" y="1012"/>
                  </a:cubicBezTo>
                  <a:cubicBezTo>
                    <a:pt x="756" y="1012"/>
                    <a:pt x="756" y="1012"/>
                    <a:pt x="757" y="1011"/>
                  </a:cubicBezTo>
                  <a:cubicBezTo>
                    <a:pt x="758" y="1010"/>
                    <a:pt x="759" y="1009"/>
                    <a:pt x="759" y="1009"/>
                  </a:cubicBezTo>
                  <a:cubicBezTo>
                    <a:pt x="761" y="1007"/>
                    <a:pt x="762" y="1006"/>
                    <a:pt x="765" y="1006"/>
                  </a:cubicBezTo>
                  <a:cubicBezTo>
                    <a:pt x="766" y="1006"/>
                    <a:pt x="767" y="1006"/>
                    <a:pt x="768" y="1007"/>
                  </a:cubicBezTo>
                  <a:cubicBezTo>
                    <a:pt x="768" y="1007"/>
                    <a:pt x="768" y="1007"/>
                    <a:pt x="768" y="1007"/>
                  </a:cubicBezTo>
                  <a:cubicBezTo>
                    <a:pt x="768" y="1006"/>
                    <a:pt x="768" y="1006"/>
                    <a:pt x="768" y="1006"/>
                  </a:cubicBezTo>
                  <a:cubicBezTo>
                    <a:pt x="768" y="1006"/>
                    <a:pt x="768" y="1006"/>
                    <a:pt x="768" y="1006"/>
                  </a:cubicBezTo>
                  <a:cubicBezTo>
                    <a:pt x="768" y="1006"/>
                    <a:pt x="769" y="1005"/>
                    <a:pt x="771" y="1004"/>
                  </a:cubicBezTo>
                  <a:cubicBezTo>
                    <a:pt x="772" y="1003"/>
                    <a:pt x="773" y="1002"/>
                    <a:pt x="773" y="1002"/>
                  </a:cubicBezTo>
                  <a:cubicBezTo>
                    <a:pt x="773" y="1002"/>
                    <a:pt x="773" y="1002"/>
                    <a:pt x="774" y="1002"/>
                  </a:cubicBezTo>
                  <a:cubicBezTo>
                    <a:pt x="775" y="1000"/>
                    <a:pt x="775" y="1000"/>
                    <a:pt x="775" y="1000"/>
                  </a:cubicBezTo>
                  <a:cubicBezTo>
                    <a:pt x="775" y="999"/>
                    <a:pt x="776" y="999"/>
                    <a:pt x="776" y="999"/>
                  </a:cubicBezTo>
                  <a:cubicBezTo>
                    <a:pt x="776" y="999"/>
                    <a:pt x="776" y="999"/>
                    <a:pt x="776" y="999"/>
                  </a:cubicBezTo>
                  <a:cubicBezTo>
                    <a:pt x="776" y="999"/>
                    <a:pt x="776" y="999"/>
                    <a:pt x="777" y="998"/>
                  </a:cubicBezTo>
                  <a:cubicBezTo>
                    <a:pt x="776" y="998"/>
                    <a:pt x="776" y="996"/>
                    <a:pt x="777" y="994"/>
                  </a:cubicBezTo>
                  <a:cubicBezTo>
                    <a:pt x="778" y="993"/>
                    <a:pt x="779" y="993"/>
                    <a:pt x="780" y="993"/>
                  </a:cubicBezTo>
                  <a:cubicBezTo>
                    <a:pt x="780" y="992"/>
                    <a:pt x="779" y="992"/>
                    <a:pt x="779" y="992"/>
                  </a:cubicBezTo>
                  <a:cubicBezTo>
                    <a:pt x="778" y="991"/>
                    <a:pt x="778" y="991"/>
                    <a:pt x="777" y="990"/>
                  </a:cubicBezTo>
                  <a:cubicBezTo>
                    <a:pt x="776" y="990"/>
                    <a:pt x="775" y="989"/>
                    <a:pt x="775" y="987"/>
                  </a:cubicBezTo>
                  <a:cubicBezTo>
                    <a:pt x="775" y="985"/>
                    <a:pt x="776" y="984"/>
                    <a:pt x="776" y="984"/>
                  </a:cubicBezTo>
                  <a:cubicBezTo>
                    <a:pt x="776" y="984"/>
                    <a:pt x="776" y="984"/>
                    <a:pt x="776" y="983"/>
                  </a:cubicBezTo>
                  <a:cubicBezTo>
                    <a:pt x="776" y="983"/>
                    <a:pt x="776" y="983"/>
                    <a:pt x="776" y="983"/>
                  </a:cubicBezTo>
                  <a:cubicBezTo>
                    <a:pt x="776" y="983"/>
                    <a:pt x="776" y="983"/>
                    <a:pt x="776" y="983"/>
                  </a:cubicBezTo>
                  <a:cubicBezTo>
                    <a:pt x="775" y="983"/>
                    <a:pt x="774" y="982"/>
                    <a:pt x="774" y="981"/>
                  </a:cubicBezTo>
                  <a:cubicBezTo>
                    <a:pt x="774" y="980"/>
                    <a:pt x="774" y="980"/>
                    <a:pt x="774" y="980"/>
                  </a:cubicBezTo>
                  <a:cubicBezTo>
                    <a:pt x="774" y="980"/>
                    <a:pt x="774" y="980"/>
                    <a:pt x="774" y="980"/>
                  </a:cubicBezTo>
                  <a:cubicBezTo>
                    <a:pt x="774" y="980"/>
                    <a:pt x="774" y="980"/>
                    <a:pt x="774" y="980"/>
                  </a:cubicBezTo>
                  <a:cubicBezTo>
                    <a:pt x="772" y="973"/>
                    <a:pt x="772" y="973"/>
                    <a:pt x="772" y="973"/>
                  </a:cubicBezTo>
                  <a:cubicBezTo>
                    <a:pt x="770" y="971"/>
                    <a:pt x="770" y="971"/>
                    <a:pt x="770" y="971"/>
                  </a:cubicBezTo>
                  <a:cubicBezTo>
                    <a:pt x="768" y="969"/>
                    <a:pt x="768" y="969"/>
                    <a:pt x="768" y="969"/>
                  </a:cubicBezTo>
                  <a:cubicBezTo>
                    <a:pt x="766" y="967"/>
                    <a:pt x="765" y="964"/>
                    <a:pt x="765" y="963"/>
                  </a:cubicBezTo>
                  <a:cubicBezTo>
                    <a:pt x="765" y="962"/>
                    <a:pt x="765" y="962"/>
                    <a:pt x="765" y="962"/>
                  </a:cubicBezTo>
                  <a:cubicBezTo>
                    <a:pt x="765" y="962"/>
                    <a:pt x="765" y="962"/>
                    <a:pt x="765" y="961"/>
                  </a:cubicBezTo>
                  <a:cubicBezTo>
                    <a:pt x="764" y="959"/>
                    <a:pt x="764" y="959"/>
                    <a:pt x="764" y="959"/>
                  </a:cubicBezTo>
                  <a:cubicBezTo>
                    <a:pt x="762" y="958"/>
                    <a:pt x="761" y="957"/>
                    <a:pt x="760" y="957"/>
                  </a:cubicBezTo>
                  <a:cubicBezTo>
                    <a:pt x="759" y="957"/>
                    <a:pt x="759" y="956"/>
                    <a:pt x="758" y="956"/>
                  </a:cubicBezTo>
                  <a:cubicBezTo>
                    <a:pt x="758" y="948"/>
                    <a:pt x="758" y="948"/>
                    <a:pt x="758" y="948"/>
                  </a:cubicBezTo>
                  <a:cubicBezTo>
                    <a:pt x="759" y="948"/>
                    <a:pt x="759" y="947"/>
                    <a:pt x="760" y="946"/>
                  </a:cubicBezTo>
                  <a:cubicBezTo>
                    <a:pt x="758" y="944"/>
                    <a:pt x="759" y="943"/>
                    <a:pt x="760" y="942"/>
                  </a:cubicBezTo>
                  <a:cubicBezTo>
                    <a:pt x="762" y="941"/>
                    <a:pt x="762" y="941"/>
                    <a:pt x="762" y="941"/>
                  </a:cubicBezTo>
                  <a:cubicBezTo>
                    <a:pt x="762" y="940"/>
                    <a:pt x="764" y="938"/>
                    <a:pt x="766" y="937"/>
                  </a:cubicBezTo>
                  <a:cubicBezTo>
                    <a:pt x="766" y="937"/>
                    <a:pt x="766" y="937"/>
                    <a:pt x="767" y="936"/>
                  </a:cubicBezTo>
                  <a:cubicBezTo>
                    <a:pt x="767" y="936"/>
                    <a:pt x="767" y="936"/>
                    <a:pt x="768" y="936"/>
                  </a:cubicBezTo>
                  <a:cubicBezTo>
                    <a:pt x="768" y="935"/>
                    <a:pt x="769" y="935"/>
                    <a:pt x="769" y="935"/>
                  </a:cubicBezTo>
                  <a:cubicBezTo>
                    <a:pt x="770" y="935"/>
                    <a:pt x="770" y="934"/>
                    <a:pt x="770" y="934"/>
                  </a:cubicBezTo>
                  <a:cubicBezTo>
                    <a:pt x="772" y="933"/>
                    <a:pt x="772" y="932"/>
                    <a:pt x="773" y="932"/>
                  </a:cubicBezTo>
                  <a:cubicBezTo>
                    <a:pt x="773" y="931"/>
                    <a:pt x="773" y="931"/>
                    <a:pt x="773" y="931"/>
                  </a:cubicBezTo>
                  <a:cubicBezTo>
                    <a:pt x="774" y="929"/>
                    <a:pt x="778" y="927"/>
                    <a:pt x="778" y="927"/>
                  </a:cubicBezTo>
                  <a:cubicBezTo>
                    <a:pt x="779" y="926"/>
                    <a:pt x="781" y="925"/>
                    <a:pt x="782" y="924"/>
                  </a:cubicBezTo>
                  <a:cubicBezTo>
                    <a:pt x="782" y="922"/>
                    <a:pt x="782" y="922"/>
                    <a:pt x="782" y="922"/>
                  </a:cubicBezTo>
                  <a:cubicBezTo>
                    <a:pt x="783" y="921"/>
                    <a:pt x="783" y="920"/>
                    <a:pt x="783" y="920"/>
                  </a:cubicBezTo>
                  <a:cubicBezTo>
                    <a:pt x="783" y="920"/>
                    <a:pt x="783" y="920"/>
                    <a:pt x="783" y="919"/>
                  </a:cubicBezTo>
                  <a:cubicBezTo>
                    <a:pt x="783" y="918"/>
                    <a:pt x="782" y="917"/>
                    <a:pt x="783" y="915"/>
                  </a:cubicBezTo>
                  <a:cubicBezTo>
                    <a:pt x="783" y="915"/>
                    <a:pt x="783" y="914"/>
                    <a:pt x="784" y="914"/>
                  </a:cubicBezTo>
                  <a:cubicBezTo>
                    <a:pt x="785" y="912"/>
                    <a:pt x="785" y="912"/>
                    <a:pt x="785" y="912"/>
                  </a:cubicBezTo>
                  <a:cubicBezTo>
                    <a:pt x="785" y="912"/>
                    <a:pt x="785" y="912"/>
                    <a:pt x="785" y="912"/>
                  </a:cubicBezTo>
                  <a:cubicBezTo>
                    <a:pt x="785" y="912"/>
                    <a:pt x="785" y="912"/>
                    <a:pt x="785" y="912"/>
                  </a:cubicBezTo>
                  <a:cubicBezTo>
                    <a:pt x="785" y="912"/>
                    <a:pt x="785" y="912"/>
                    <a:pt x="785" y="912"/>
                  </a:cubicBezTo>
                  <a:cubicBezTo>
                    <a:pt x="764" y="879"/>
                    <a:pt x="764" y="879"/>
                    <a:pt x="764" y="879"/>
                  </a:cubicBezTo>
                  <a:cubicBezTo>
                    <a:pt x="763" y="879"/>
                    <a:pt x="763" y="879"/>
                    <a:pt x="763" y="879"/>
                  </a:cubicBezTo>
                  <a:cubicBezTo>
                    <a:pt x="753" y="875"/>
                    <a:pt x="753" y="875"/>
                    <a:pt x="753" y="875"/>
                  </a:cubicBezTo>
                  <a:cubicBezTo>
                    <a:pt x="749" y="875"/>
                    <a:pt x="749" y="875"/>
                    <a:pt x="749" y="875"/>
                  </a:cubicBezTo>
                  <a:cubicBezTo>
                    <a:pt x="748" y="876"/>
                    <a:pt x="748" y="876"/>
                    <a:pt x="748" y="876"/>
                  </a:cubicBezTo>
                  <a:cubicBezTo>
                    <a:pt x="747" y="877"/>
                    <a:pt x="747" y="877"/>
                    <a:pt x="747" y="877"/>
                  </a:cubicBezTo>
                  <a:cubicBezTo>
                    <a:pt x="746" y="877"/>
                    <a:pt x="746" y="877"/>
                    <a:pt x="746" y="877"/>
                  </a:cubicBezTo>
                  <a:cubicBezTo>
                    <a:pt x="737" y="874"/>
                    <a:pt x="737" y="874"/>
                    <a:pt x="737" y="874"/>
                  </a:cubicBezTo>
                  <a:cubicBezTo>
                    <a:pt x="732" y="871"/>
                    <a:pt x="732" y="871"/>
                    <a:pt x="732" y="871"/>
                  </a:cubicBezTo>
                  <a:cubicBezTo>
                    <a:pt x="730" y="870"/>
                    <a:pt x="730" y="870"/>
                    <a:pt x="730" y="870"/>
                  </a:cubicBezTo>
                  <a:cubicBezTo>
                    <a:pt x="720" y="862"/>
                    <a:pt x="720" y="862"/>
                    <a:pt x="720" y="862"/>
                  </a:cubicBezTo>
                  <a:cubicBezTo>
                    <a:pt x="694" y="846"/>
                    <a:pt x="694" y="846"/>
                    <a:pt x="694" y="846"/>
                  </a:cubicBezTo>
                  <a:cubicBezTo>
                    <a:pt x="693" y="845"/>
                    <a:pt x="693" y="845"/>
                    <a:pt x="693" y="845"/>
                  </a:cubicBezTo>
                  <a:cubicBezTo>
                    <a:pt x="690" y="844"/>
                    <a:pt x="690" y="844"/>
                    <a:pt x="690" y="844"/>
                  </a:cubicBezTo>
                  <a:cubicBezTo>
                    <a:pt x="688" y="843"/>
                    <a:pt x="688" y="843"/>
                    <a:pt x="688" y="843"/>
                  </a:cubicBezTo>
                  <a:cubicBezTo>
                    <a:pt x="679" y="843"/>
                    <a:pt x="679" y="843"/>
                    <a:pt x="679" y="843"/>
                  </a:cubicBezTo>
                  <a:cubicBezTo>
                    <a:pt x="678" y="843"/>
                    <a:pt x="678" y="843"/>
                    <a:pt x="678" y="843"/>
                  </a:cubicBezTo>
                  <a:cubicBezTo>
                    <a:pt x="670" y="844"/>
                    <a:pt x="670" y="844"/>
                    <a:pt x="670" y="844"/>
                  </a:cubicBezTo>
                  <a:cubicBezTo>
                    <a:pt x="667" y="844"/>
                    <a:pt x="667" y="844"/>
                    <a:pt x="667" y="844"/>
                  </a:cubicBezTo>
                  <a:cubicBezTo>
                    <a:pt x="667" y="844"/>
                    <a:pt x="667" y="844"/>
                    <a:pt x="667" y="844"/>
                  </a:cubicBezTo>
                  <a:cubicBezTo>
                    <a:pt x="664" y="847"/>
                    <a:pt x="664" y="847"/>
                    <a:pt x="664" y="847"/>
                  </a:cubicBezTo>
                  <a:cubicBezTo>
                    <a:pt x="660" y="852"/>
                    <a:pt x="660" y="852"/>
                    <a:pt x="660" y="852"/>
                  </a:cubicBezTo>
                  <a:cubicBezTo>
                    <a:pt x="658" y="858"/>
                    <a:pt x="658" y="858"/>
                    <a:pt x="658" y="858"/>
                  </a:cubicBezTo>
                  <a:cubicBezTo>
                    <a:pt x="657" y="864"/>
                    <a:pt x="657" y="864"/>
                    <a:pt x="657" y="864"/>
                  </a:cubicBezTo>
                  <a:cubicBezTo>
                    <a:pt x="654" y="866"/>
                    <a:pt x="654" y="866"/>
                    <a:pt x="654" y="866"/>
                  </a:cubicBezTo>
                  <a:cubicBezTo>
                    <a:pt x="654" y="867"/>
                    <a:pt x="654" y="867"/>
                    <a:pt x="654" y="867"/>
                  </a:cubicBezTo>
                  <a:cubicBezTo>
                    <a:pt x="640" y="875"/>
                    <a:pt x="640" y="875"/>
                    <a:pt x="640" y="875"/>
                  </a:cubicBezTo>
                  <a:cubicBezTo>
                    <a:pt x="639" y="875"/>
                    <a:pt x="639" y="875"/>
                    <a:pt x="639" y="875"/>
                  </a:cubicBezTo>
                  <a:cubicBezTo>
                    <a:pt x="631" y="874"/>
                    <a:pt x="631" y="874"/>
                    <a:pt x="631" y="874"/>
                  </a:cubicBezTo>
                  <a:cubicBezTo>
                    <a:pt x="629" y="874"/>
                    <a:pt x="629" y="874"/>
                    <a:pt x="629" y="874"/>
                  </a:cubicBezTo>
                  <a:cubicBezTo>
                    <a:pt x="627" y="873"/>
                    <a:pt x="627" y="873"/>
                    <a:pt x="627" y="873"/>
                  </a:cubicBezTo>
                  <a:cubicBezTo>
                    <a:pt x="616" y="867"/>
                    <a:pt x="616" y="867"/>
                    <a:pt x="616" y="867"/>
                  </a:cubicBezTo>
                  <a:cubicBezTo>
                    <a:pt x="590" y="863"/>
                    <a:pt x="590" y="863"/>
                    <a:pt x="590" y="863"/>
                  </a:cubicBezTo>
                  <a:cubicBezTo>
                    <a:pt x="566" y="860"/>
                    <a:pt x="566" y="860"/>
                    <a:pt x="566" y="860"/>
                  </a:cubicBezTo>
                  <a:cubicBezTo>
                    <a:pt x="548" y="861"/>
                    <a:pt x="548" y="861"/>
                    <a:pt x="548" y="861"/>
                  </a:cubicBezTo>
                  <a:cubicBezTo>
                    <a:pt x="546" y="861"/>
                    <a:pt x="546" y="861"/>
                    <a:pt x="546" y="861"/>
                  </a:cubicBezTo>
                  <a:cubicBezTo>
                    <a:pt x="543" y="857"/>
                    <a:pt x="543" y="857"/>
                    <a:pt x="543" y="857"/>
                  </a:cubicBezTo>
                  <a:cubicBezTo>
                    <a:pt x="541" y="853"/>
                    <a:pt x="541" y="853"/>
                    <a:pt x="541" y="853"/>
                  </a:cubicBezTo>
                  <a:cubicBezTo>
                    <a:pt x="541" y="851"/>
                    <a:pt x="541" y="851"/>
                    <a:pt x="541" y="851"/>
                  </a:cubicBezTo>
                  <a:cubicBezTo>
                    <a:pt x="542" y="851"/>
                    <a:pt x="542" y="851"/>
                    <a:pt x="542" y="851"/>
                  </a:cubicBezTo>
                  <a:cubicBezTo>
                    <a:pt x="543" y="850"/>
                    <a:pt x="543" y="850"/>
                    <a:pt x="543" y="850"/>
                  </a:cubicBezTo>
                  <a:cubicBezTo>
                    <a:pt x="546" y="849"/>
                    <a:pt x="546" y="849"/>
                    <a:pt x="546" y="849"/>
                  </a:cubicBezTo>
                  <a:cubicBezTo>
                    <a:pt x="557" y="848"/>
                    <a:pt x="557" y="848"/>
                    <a:pt x="557" y="848"/>
                  </a:cubicBezTo>
                  <a:cubicBezTo>
                    <a:pt x="559" y="849"/>
                    <a:pt x="559" y="849"/>
                    <a:pt x="559" y="849"/>
                  </a:cubicBezTo>
                  <a:cubicBezTo>
                    <a:pt x="561" y="850"/>
                    <a:pt x="561" y="850"/>
                    <a:pt x="561" y="850"/>
                  </a:cubicBezTo>
                  <a:cubicBezTo>
                    <a:pt x="562" y="852"/>
                    <a:pt x="562" y="852"/>
                    <a:pt x="562" y="852"/>
                  </a:cubicBezTo>
                  <a:cubicBezTo>
                    <a:pt x="564" y="853"/>
                    <a:pt x="564" y="853"/>
                    <a:pt x="564" y="853"/>
                  </a:cubicBezTo>
                  <a:cubicBezTo>
                    <a:pt x="566" y="853"/>
                    <a:pt x="566" y="853"/>
                    <a:pt x="566" y="853"/>
                  </a:cubicBezTo>
                  <a:cubicBezTo>
                    <a:pt x="572" y="856"/>
                    <a:pt x="572" y="856"/>
                    <a:pt x="572" y="856"/>
                  </a:cubicBezTo>
                  <a:cubicBezTo>
                    <a:pt x="582" y="858"/>
                    <a:pt x="582" y="858"/>
                    <a:pt x="582" y="858"/>
                  </a:cubicBezTo>
                  <a:cubicBezTo>
                    <a:pt x="583" y="859"/>
                    <a:pt x="583" y="859"/>
                    <a:pt x="583" y="859"/>
                  </a:cubicBezTo>
                  <a:cubicBezTo>
                    <a:pt x="584" y="859"/>
                    <a:pt x="584" y="859"/>
                    <a:pt x="584" y="859"/>
                  </a:cubicBezTo>
                  <a:cubicBezTo>
                    <a:pt x="585" y="858"/>
                    <a:pt x="585" y="858"/>
                    <a:pt x="585" y="858"/>
                  </a:cubicBezTo>
                  <a:cubicBezTo>
                    <a:pt x="588" y="855"/>
                    <a:pt x="588" y="855"/>
                    <a:pt x="588" y="855"/>
                  </a:cubicBezTo>
                  <a:cubicBezTo>
                    <a:pt x="603" y="847"/>
                    <a:pt x="603" y="847"/>
                    <a:pt x="603" y="847"/>
                  </a:cubicBezTo>
                  <a:cubicBezTo>
                    <a:pt x="603" y="847"/>
                    <a:pt x="603" y="847"/>
                    <a:pt x="603" y="847"/>
                  </a:cubicBezTo>
                  <a:cubicBezTo>
                    <a:pt x="604" y="847"/>
                    <a:pt x="604" y="847"/>
                    <a:pt x="604" y="847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614" y="847"/>
                    <a:pt x="614" y="847"/>
                    <a:pt x="614" y="847"/>
                  </a:cubicBezTo>
                  <a:cubicBezTo>
                    <a:pt x="616" y="847"/>
                    <a:pt x="616" y="847"/>
                    <a:pt x="616" y="847"/>
                  </a:cubicBezTo>
                  <a:cubicBezTo>
                    <a:pt x="617" y="845"/>
                    <a:pt x="617" y="845"/>
                    <a:pt x="617" y="845"/>
                  </a:cubicBezTo>
                  <a:cubicBezTo>
                    <a:pt x="618" y="844"/>
                    <a:pt x="618" y="844"/>
                    <a:pt x="618" y="844"/>
                  </a:cubicBezTo>
                  <a:cubicBezTo>
                    <a:pt x="618" y="843"/>
                    <a:pt x="618" y="843"/>
                    <a:pt x="618" y="843"/>
                  </a:cubicBezTo>
                  <a:cubicBezTo>
                    <a:pt x="618" y="841"/>
                    <a:pt x="618" y="841"/>
                    <a:pt x="618" y="841"/>
                  </a:cubicBezTo>
                  <a:cubicBezTo>
                    <a:pt x="617" y="839"/>
                    <a:pt x="617" y="839"/>
                    <a:pt x="617" y="839"/>
                  </a:cubicBezTo>
                  <a:cubicBezTo>
                    <a:pt x="617" y="838"/>
                    <a:pt x="617" y="838"/>
                    <a:pt x="617" y="838"/>
                  </a:cubicBezTo>
                  <a:cubicBezTo>
                    <a:pt x="619" y="834"/>
                    <a:pt x="619" y="834"/>
                    <a:pt x="619" y="834"/>
                  </a:cubicBezTo>
                  <a:cubicBezTo>
                    <a:pt x="620" y="832"/>
                    <a:pt x="620" y="832"/>
                    <a:pt x="620" y="832"/>
                  </a:cubicBezTo>
                  <a:cubicBezTo>
                    <a:pt x="642" y="811"/>
                    <a:pt x="642" y="811"/>
                    <a:pt x="642" y="811"/>
                  </a:cubicBezTo>
                  <a:cubicBezTo>
                    <a:pt x="644" y="809"/>
                    <a:pt x="644" y="809"/>
                    <a:pt x="644" y="809"/>
                  </a:cubicBezTo>
                  <a:cubicBezTo>
                    <a:pt x="646" y="808"/>
                    <a:pt x="646" y="808"/>
                    <a:pt x="646" y="808"/>
                  </a:cubicBezTo>
                  <a:cubicBezTo>
                    <a:pt x="650" y="808"/>
                    <a:pt x="650" y="808"/>
                    <a:pt x="650" y="808"/>
                  </a:cubicBezTo>
                  <a:cubicBezTo>
                    <a:pt x="652" y="808"/>
                    <a:pt x="652" y="808"/>
                    <a:pt x="652" y="808"/>
                  </a:cubicBezTo>
                  <a:cubicBezTo>
                    <a:pt x="655" y="809"/>
                    <a:pt x="655" y="809"/>
                    <a:pt x="655" y="809"/>
                  </a:cubicBezTo>
                  <a:cubicBezTo>
                    <a:pt x="656" y="809"/>
                    <a:pt x="656" y="809"/>
                    <a:pt x="656" y="809"/>
                  </a:cubicBezTo>
                  <a:cubicBezTo>
                    <a:pt x="658" y="811"/>
                    <a:pt x="658" y="811"/>
                    <a:pt x="658" y="811"/>
                  </a:cubicBezTo>
                  <a:cubicBezTo>
                    <a:pt x="661" y="813"/>
                    <a:pt x="661" y="813"/>
                    <a:pt x="661" y="813"/>
                  </a:cubicBezTo>
                  <a:cubicBezTo>
                    <a:pt x="663" y="813"/>
                    <a:pt x="663" y="813"/>
                    <a:pt x="663" y="813"/>
                  </a:cubicBezTo>
                  <a:cubicBezTo>
                    <a:pt x="668" y="812"/>
                    <a:pt x="668" y="812"/>
                    <a:pt x="668" y="812"/>
                  </a:cubicBezTo>
                  <a:cubicBezTo>
                    <a:pt x="686" y="801"/>
                    <a:pt x="686" y="801"/>
                    <a:pt x="686" y="801"/>
                  </a:cubicBezTo>
                  <a:cubicBezTo>
                    <a:pt x="696" y="791"/>
                    <a:pt x="696" y="791"/>
                    <a:pt x="696" y="791"/>
                  </a:cubicBezTo>
                  <a:cubicBezTo>
                    <a:pt x="697" y="790"/>
                    <a:pt x="697" y="790"/>
                    <a:pt x="697" y="790"/>
                  </a:cubicBezTo>
                  <a:cubicBezTo>
                    <a:pt x="697" y="789"/>
                    <a:pt x="697" y="789"/>
                    <a:pt x="697" y="789"/>
                  </a:cubicBezTo>
                  <a:cubicBezTo>
                    <a:pt x="696" y="788"/>
                    <a:pt x="696" y="788"/>
                    <a:pt x="696" y="788"/>
                  </a:cubicBezTo>
                  <a:cubicBezTo>
                    <a:pt x="688" y="779"/>
                    <a:pt x="688" y="779"/>
                    <a:pt x="688" y="779"/>
                  </a:cubicBezTo>
                  <a:cubicBezTo>
                    <a:pt x="687" y="779"/>
                    <a:pt x="687" y="779"/>
                    <a:pt x="687" y="779"/>
                  </a:cubicBezTo>
                  <a:cubicBezTo>
                    <a:pt x="683" y="777"/>
                    <a:pt x="683" y="777"/>
                    <a:pt x="683" y="777"/>
                  </a:cubicBezTo>
                  <a:cubicBezTo>
                    <a:pt x="679" y="777"/>
                    <a:pt x="679" y="777"/>
                    <a:pt x="679" y="777"/>
                  </a:cubicBezTo>
                  <a:cubicBezTo>
                    <a:pt x="663" y="764"/>
                    <a:pt x="663" y="764"/>
                    <a:pt x="663" y="764"/>
                  </a:cubicBezTo>
                  <a:cubicBezTo>
                    <a:pt x="663" y="763"/>
                    <a:pt x="663" y="763"/>
                    <a:pt x="663" y="763"/>
                  </a:cubicBezTo>
                  <a:cubicBezTo>
                    <a:pt x="665" y="754"/>
                    <a:pt x="665" y="754"/>
                    <a:pt x="665" y="754"/>
                  </a:cubicBezTo>
                  <a:cubicBezTo>
                    <a:pt x="665" y="754"/>
                    <a:pt x="665" y="754"/>
                    <a:pt x="665" y="754"/>
                  </a:cubicBezTo>
                  <a:cubicBezTo>
                    <a:pt x="664" y="750"/>
                    <a:pt x="664" y="750"/>
                    <a:pt x="664" y="750"/>
                  </a:cubicBezTo>
                  <a:cubicBezTo>
                    <a:pt x="663" y="749"/>
                    <a:pt x="663" y="749"/>
                    <a:pt x="663" y="749"/>
                  </a:cubicBezTo>
                  <a:cubicBezTo>
                    <a:pt x="663" y="748"/>
                    <a:pt x="663" y="748"/>
                    <a:pt x="663" y="748"/>
                  </a:cubicBezTo>
                  <a:cubicBezTo>
                    <a:pt x="662" y="748"/>
                    <a:pt x="662" y="748"/>
                    <a:pt x="662" y="748"/>
                  </a:cubicBezTo>
                  <a:cubicBezTo>
                    <a:pt x="653" y="746"/>
                    <a:pt x="653" y="746"/>
                    <a:pt x="653" y="746"/>
                  </a:cubicBezTo>
                  <a:cubicBezTo>
                    <a:pt x="650" y="746"/>
                    <a:pt x="650" y="746"/>
                    <a:pt x="650" y="746"/>
                  </a:cubicBezTo>
                  <a:cubicBezTo>
                    <a:pt x="648" y="746"/>
                    <a:pt x="648" y="746"/>
                    <a:pt x="648" y="746"/>
                  </a:cubicBezTo>
                  <a:cubicBezTo>
                    <a:pt x="646" y="747"/>
                    <a:pt x="646" y="747"/>
                    <a:pt x="646" y="747"/>
                  </a:cubicBezTo>
                  <a:cubicBezTo>
                    <a:pt x="644" y="750"/>
                    <a:pt x="644" y="750"/>
                    <a:pt x="644" y="750"/>
                  </a:cubicBezTo>
                  <a:cubicBezTo>
                    <a:pt x="644" y="751"/>
                    <a:pt x="644" y="751"/>
                    <a:pt x="644" y="751"/>
                  </a:cubicBezTo>
                  <a:cubicBezTo>
                    <a:pt x="643" y="752"/>
                    <a:pt x="643" y="752"/>
                    <a:pt x="643" y="752"/>
                  </a:cubicBezTo>
                  <a:cubicBezTo>
                    <a:pt x="639" y="755"/>
                    <a:pt x="639" y="755"/>
                    <a:pt x="639" y="755"/>
                  </a:cubicBezTo>
                  <a:cubicBezTo>
                    <a:pt x="637" y="755"/>
                    <a:pt x="637" y="755"/>
                    <a:pt x="637" y="755"/>
                  </a:cubicBezTo>
                  <a:cubicBezTo>
                    <a:pt x="610" y="770"/>
                    <a:pt x="610" y="770"/>
                    <a:pt x="610" y="770"/>
                  </a:cubicBezTo>
                  <a:cubicBezTo>
                    <a:pt x="601" y="773"/>
                    <a:pt x="601" y="773"/>
                    <a:pt x="601" y="773"/>
                  </a:cubicBezTo>
                  <a:cubicBezTo>
                    <a:pt x="599" y="774"/>
                    <a:pt x="599" y="774"/>
                    <a:pt x="599" y="774"/>
                  </a:cubicBezTo>
                  <a:cubicBezTo>
                    <a:pt x="598" y="774"/>
                    <a:pt x="598" y="774"/>
                    <a:pt x="598" y="774"/>
                  </a:cubicBezTo>
                  <a:cubicBezTo>
                    <a:pt x="595" y="773"/>
                    <a:pt x="595" y="773"/>
                    <a:pt x="595" y="773"/>
                  </a:cubicBezTo>
                  <a:cubicBezTo>
                    <a:pt x="593" y="772"/>
                    <a:pt x="593" y="772"/>
                    <a:pt x="593" y="772"/>
                  </a:cubicBezTo>
                  <a:cubicBezTo>
                    <a:pt x="592" y="771"/>
                    <a:pt x="592" y="771"/>
                    <a:pt x="592" y="771"/>
                  </a:cubicBezTo>
                  <a:cubicBezTo>
                    <a:pt x="591" y="771"/>
                    <a:pt x="591" y="771"/>
                    <a:pt x="591" y="771"/>
                  </a:cubicBezTo>
                  <a:cubicBezTo>
                    <a:pt x="591" y="770"/>
                    <a:pt x="591" y="770"/>
                    <a:pt x="591" y="770"/>
                  </a:cubicBezTo>
                  <a:cubicBezTo>
                    <a:pt x="592" y="769"/>
                    <a:pt x="592" y="769"/>
                    <a:pt x="592" y="769"/>
                  </a:cubicBezTo>
                  <a:cubicBezTo>
                    <a:pt x="595" y="771"/>
                    <a:pt x="595" y="771"/>
                    <a:pt x="595" y="771"/>
                  </a:cubicBezTo>
                  <a:cubicBezTo>
                    <a:pt x="598" y="771"/>
                    <a:pt x="598" y="771"/>
                    <a:pt x="598" y="771"/>
                  </a:cubicBezTo>
                  <a:cubicBezTo>
                    <a:pt x="604" y="769"/>
                    <a:pt x="604" y="769"/>
                    <a:pt x="604" y="769"/>
                  </a:cubicBezTo>
                  <a:cubicBezTo>
                    <a:pt x="605" y="768"/>
                    <a:pt x="605" y="768"/>
                    <a:pt x="605" y="768"/>
                  </a:cubicBezTo>
                  <a:cubicBezTo>
                    <a:pt x="607" y="765"/>
                    <a:pt x="607" y="765"/>
                    <a:pt x="607" y="765"/>
                  </a:cubicBezTo>
                  <a:cubicBezTo>
                    <a:pt x="618" y="754"/>
                    <a:pt x="618" y="754"/>
                    <a:pt x="618" y="754"/>
                  </a:cubicBezTo>
                  <a:cubicBezTo>
                    <a:pt x="627" y="748"/>
                    <a:pt x="627" y="748"/>
                    <a:pt x="627" y="748"/>
                  </a:cubicBezTo>
                  <a:cubicBezTo>
                    <a:pt x="630" y="746"/>
                    <a:pt x="630" y="746"/>
                    <a:pt x="630" y="746"/>
                  </a:cubicBezTo>
                  <a:cubicBezTo>
                    <a:pt x="645" y="743"/>
                    <a:pt x="645" y="743"/>
                    <a:pt x="645" y="743"/>
                  </a:cubicBezTo>
                  <a:cubicBezTo>
                    <a:pt x="651" y="743"/>
                    <a:pt x="651" y="743"/>
                    <a:pt x="651" y="743"/>
                  </a:cubicBezTo>
                  <a:cubicBezTo>
                    <a:pt x="666" y="740"/>
                    <a:pt x="666" y="740"/>
                    <a:pt x="666" y="740"/>
                  </a:cubicBezTo>
                  <a:cubicBezTo>
                    <a:pt x="675" y="738"/>
                    <a:pt x="675" y="738"/>
                    <a:pt x="675" y="738"/>
                  </a:cubicBezTo>
                  <a:cubicBezTo>
                    <a:pt x="684" y="730"/>
                    <a:pt x="684" y="730"/>
                    <a:pt x="684" y="730"/>
                  </a:cubicBezTo>
                  <a:cubicBezTo>
                    <a:pt x="699" y="717"/>
                    <a:pt x="699" y="717"/>
                    <a:pt x="699" y="717"/>
                  </a:cubicBezTo>
                  <a:cubicBezTo>
                    <a:pt x="701" y="715"/>
                    <a:pt x="701" y="715"/>
                    <a:pt x="701" y="715"/>
                  </a:cubicBezTo>
                  <a:cubicBezTo>
                    <a:pt x="708" y="702"/>
                    <a:pt x="708" y="702"/>
                    <a:pt x="708" y="702"/>
                  </a:cubicBezTo>
                  <a:cubicBezTo>
                    <a:pt x="708" y="701"/>
                    <a:pt x="708" y="701"/>
                    <a:pt x="708" y="701"/>
                  </a:cubicBezTo>
                  <a:cubicBezTo>
                    <a:pt x="708" y="700"/>
                    <a:pt x="708" y="700"/>
                    <a:pt x="708" y="700"/>
                  </a:cubicBezTo>
                  <a:cubicBezTo>
                    <a:pt x="707" y="700"/>
                    <a:pt x="707" y="700"/>
                    <a:pt x="707" y="700"/>
                  </a:cubicBezTo>
                  <a:cubicBezTo>
                    <a:pt x="708" y="690"/>
                    <a:pt x="708" y="690"/>
                    <a:pt x="708" y="690"/>
                  </a:cubicBezTo>
                  <a:cubicBezTo>
                    <a:pt x="716" y="666"/>
                    <a:pt x="716" y="666"/>
                    <a:pt x="716" y="666"/>
                  </a:cubicBezTo>
                  <a:cubicBezTo>
                    <a:pt x="716" y="665"/>
                    <a:pt x="716" y="665"/>
                    <a:pt x="716" y="665"/>
                  </a:cubicBezTo>
                  <a:cubicBezTo>
                    <a:pt x="717" y="664"/>
                    <a:pt x="717" y="664"/>
                    <a:pt x="717" y="664"/>
                  </a:cubicBezTo>
                  <a:cubicBezTo>
                    <a:pt x="719" y="663"/>
                    <a:pt x="719" y="663"/>
                    <a:pt x="719" y="663"/>
                  </a:cubicBezTo>
                  <a:cubicBezTo>
                    <a:pt x="719" y="662"/>
                    <a:pt x="719" y="662"/>
                    <a:pt x="719" y="662"/>
                  </a:cubicBezTo>
                  <a:cubicBezTo>
                    <a:pt x="723" y="663"/>
                    <a:pt x="723" y="663"/>
                    <a:pt x="723" y="663"/>
                  </a:cubicBezTo>
                  <a:cubicBezTo>
                    <a:pt x="723" y="662"/>
                    <a:pt x="723" y="662"/>
                    <a:pt x="723" y="662"/>
                  </a:cubicBezTo>
                  <a:cubicBezTo>
                    <a:pt x="729" y="656"/>
                    <a:pt x="729" y="656"/>
                    <a:pt x="729" y="656"/>
                  </a:cubicBezTo>
                  <a:cubicBezTo>
                    <a:pt x="731" y="655"/>
                    <a:pt x="731" y="655"/>
                    <a:pt x="731" y="655"/>
                  </a:cubicBezTo>
                  <a:cubicBezTo>
                    <a:pt x="735" y="649"/>
                    <a:pt x="735" y="649"/>
                    <a:pt x="735" y="649"/>
                  </a:cubicBezTo>
                  <a:cubicBezTo>
                    <a:pt x="742" y="639"/>
                    <a:pt x="742" y="639"/>
                    <a:pt x="742" y="639"/>
                  </a:cubicBezTo>
                  <a:cubicBezTo>
                    <a:pt x="746" y="626"/>
                    <a:pt x="746" y="626"/>
                    <a:pt x="746" y="626"/>
                  </a:cubicBezTo>
                  <a:cubicBezTo>
                    <a:pt x="747" y="625"/>
                    <a:pt x="747" y="625"/>
                    <a:pt x="747" y="625"/>
                  </a:cubicBezTo>
                  <a:cubicBezTo>
                    <a:pt x="747" y="619"/>
                    <a:pt x="747" y="619"/>
                    <a:pt x="747" y="619"/>
                  </a:cubicBezTo>
                  <a:cubicBezTo>
                    <a:pt x="747" y="617"/>
                    <a:pt x="747" y="617"/>
                    <a:pt x="747" y="617"/>
                  </a:cubicBezTo>
                  <a:cubicBezTo>
                    <a:pt x="754" y="595"/>
                    <a:pt x="754" y="595"/>
                    <a:pt x="754" y="595"/>
                  </a:cubicBezTo>
                  <a:cubicBezTo>
                    <a:pt x="757" y="589"/>
                    <a:pt x="757" y="589"/>
                    <a:pt x="757" y="589"/>
                  </a:cubicBezTo>
                  <a:cubicBezTo>
                    <a:pt x="762" y="575"/>
                    <a:pt x="762" y="575"/>
                    <a:pt x="762" y="575"/>
                  </a:cubicBezTo>
                  <a:cubicBezTo>
                    <a:pt x="763" y="573"/>
                    <a:pt x="763" y="573"/>
                    <a:pt x="763" y="573"/>
                  </a:cubicBezTo>
                  <a:cubicBezTo>
                    <a:pt x="763" y="572"/>
                    <a:pt x="763" y="572"/>
                    <a:pt x="763" y="572"/>
                  </a:cubicBezTo>
                  <a:cubicBezTo>
                    <a:pt x="760" y="570"/>
                    <a:pt x="760" y="570"/>
                    <a:pt x="760" y="570"/>
                  </a:cubicBezTo>
                  <a:cubicBezTo>
                    <a:pt x="758" y="566"/>
                    <a:pt x="758" y="566"/>
                    <a:pt x="758" y="566"/>
                  </a:cubicBezTo>
                  <a:cubicBezTo>
                    <a:pt x="758" y="565"/>
                    <a:pt x="758" y="565"/>
                    <a:pt x="758" y="565"/>
                  </a:cubicBezTo>
                  <a:cubicBezTo>
                    <a:pt x="758" y="564"/>
                    <a:pt x="758" y="564"/>
                    <a:pt x="758" y="564"/>
                  </a:cubicBezTo>
                  <a:cubicBezTo>
                    <a:pt x="758" y="561"/>
                    <a:pt x="758" y="561"/>
                    <a:pt x="758" y="561"/>
                  </a:cubicBezTo>
                  <a:cubicBezTo>
                    <a:pt x="759" y="553"/>
                    <a:pt x="759" y="553"/>
                    <a:pt x="759" y="553"/>
                  </a:cubicBezTo>
                  <a:cubicBezTo>
                    <a:pt x="759" y="551"/>
                    <a:pt x="759" y="551"/>
                    <a:pt x="759" y="551"/>
                  </a:cubicBezTo>
                  <a:cubicBezTo>
                    <a:pt x="765" y="535"/>
                    <a:pt x="765" y="535"/>
                    <a:pt x="765" y="535"/>
                  </a:cubicBezTo>
                  <a:cubicBezTo>
                    <a:pt x="767" y="531"/>
                    <a:pt x="767" y="531"/>
                    <a:pt x="767" y="531"/>
                  </a:cubicBezTo>
                  <a:cubicBezTo>
                    <a:pt x="778" y="514"/>
                    <a:pt x="778" y="514"/>
                    <a:pt x="778" y="514"/>
                  </a:cubicBezTo>
                  <a:cubicBezTo>
                    <a:pt x="780" y="511"/>
                    <a:pt x="780" y="511"/>
                    <a:pt x="780" y="511"/>
                  </a:cubicBezTo>
                  <a:cubicBezTo>
                    <a:pt x="786" y="504"/>
                    <a:pt x="786" y="504"/>
                    <a:pt x="786" y="504"/>
                  </a:cubicBezTo>
                  <a:cubicBezTo>
                    <a:pt x="792" y="495"/>
                    <a:pt x="792" y="495"/>
                    <a:pt x="792" y="495"/>
                  </a:cubicBezTo>
                  <a:cubicBezTo>
                    <a:pt x="793" y="494"/>
                    <a:pt x="793" y="494"/>
                    <a:pt x="793" y="494"/>
                  </a:cubicBezTo>
                  <a:cubicBezTo>
                    <a:pt x="798" y="483"/>
                    <a:pt x="798" y="483"/>
                    <a:pt x="798" y="483"/>
                  </a:cubicBezTo>
                  <a:lnTo>
                    <a:pt x="787" y="455"/>
                  </a:lnTo>
                  <a:close/>
                  <a:moveTo>
                    <a:pt x="369" y="929"/>
                  </a:moveTo>
                  <a:cubicBezTo>
                    <a:pt x="370" y="928"/>
                    <a:pt x="370" y="928"/>
                    <a:pt x="370" y="928"/>
                  </a:cubicBezTo>
                  <a:cubicBezTo>
                    <a:pt x="370" y="928"/>
                    <a:pt x="370" y="928"/>
                    <a:pt x="370" y="928"/>
                  </a:cubicBezTo>
                  <a:cubicBezTo>
                    <a:pt x="372" y="925"/>
                    <a:pt x="372" y="925"/>
                    <a:pt x="372" y="925"/>
                  </a:cubicBezTo>
                  <a:cubicBezTo>
                    <a:pt x="372" y="925"/>
                    <a:pt x="372" y="925"/>
                    <a:pt x="372" y="925"/>
                  </a:cubicBezTo>
                  <a:cubicBezTo>
                    <a:pt x="371" y="918"/>
                    <a:pt x="371" y="918"/>
                    <a:pt x="371" y="918"/>
                  </a:cubicBezTo>
                  <a:cubicBezTo>
                    <a:pt x="370" y="917"/>
                    <a:pt x="370" y="917"/>
                    <a:pt x="370" y="917"/>
                  </a:cubicBezTo>
                  <a:cubicBezTo>
                    <a:pt x="370" y="917"/>
                    <a:pt x="370" y="917"/>
                    <a:pt x="370" y="917"/>
                  </a:cubicBezTo>
                  <a:cubicBezTo>
                    <a:pt x="370" y="916"/>
                    <a:pt x="370" y="916"/>
                    <a:pt x="370" y="916"/>
                  </a:cubicBezTo>
                  <a:cubicBezTo>
                    <a:pt x="369" y="917"/>
                    <a:pt x="369" y="917"/>
                    <a:pt x="369" y="917"/>
                  </a:cubicBezTo>
                  <a:cubicBezTo>
                    <a:pt x="366" y="919"/>
                    <a:pt x="366" y="919"/>
                    <a:pt x="366" y="919"/>
                  </a:cubicBezTo>
                  <a:cubicBezTo>
                    <a:pt x="366" y="920"/>
                    <a:pt x="366" y="920"/>
                    <a:pt x="366" y="920"/>
                  </a:cubicBezTo>
                  <a:cubicBezTo>
                    <a:pt x="363" y="926"/>
                    <a:pt x="363" y="926"/>
                    <a:pt x="363" y="926"/>
                  </a:cubicBezTo>
                  <a:cubicBezTo>
                    <a:pt x="363" y="928"/>
                    <a:pt x="363" y="928"/>
                    <a:pt x="363" y="928"/>
                  </a:cubicBezTo>
                  <a:cubicBezTo>
                    <a:pt x="363" y="929"/>
                    <a:pt x="363" y="929"/>
                    <a:pt x="363" y="929"/>
                  </a:cubicBezTo>
                  <a:cubicBezTo>
                    <a:pt x="364" y="929"/>
                    <a:pt x="364" y="929"/>
                    <a:pt x="364" y="929"/>
                  </a:cubicBezTo>
                  <a:lnTo>
                    <a:pt x="369" y="929"/>
                  </a:lnTo>
                  <a:close/>
                  <a:moveTo>
                    <a:pt x="186" y="747"/>
                  </a:moveTo>
                  <a:cubicBezTo>
                    <a:pt x="191" y="749"/>
                    <a:pt x="191" y="749"/>
                    <a:pt x="191" y="749"/>
                  </a:cubicBezTo>
                  <a:cubicBezTo>
                    <a:pt x="193" y="749"/>
                    <a:pt x="193" y="749"/>
                    <a:pt x="193" y="749"/>
                  </a:cubicBezTo>
                  <a:cubicBezTo>
                    <a:pt x="194" y="748"/>
                    <a:pt x="194" y="748"/>
                    <a:pt x="194" y="748"/>
                  </a:cubicBezTo>
                  <a:cubicBezTo>
                    <a:pt x="195" y="748"/>
                    <a:pt x="195" y="748"/>
                    <a:pt x="195" y="748"/>
                  </a:cubicBezTo>
                  <a:cubicBezTo>
                    <a:pt x="195" y="747"/>
                    <a:pt x="195" y="747"/>
                    <a:pt x="195" y="747"/>
                  </a:cubicBezTo>
                  <a:cubicBezTo>
                    <a:pt x="195" y="746"/>
                    <a:pt x="195" y="746"/>
                    <a:pt x="195" y="746"/>
                  </a:cubicBezTo>
                  <a:cubicBezTo>
                    <a:pt x="195" y="745"/>
                    <a:pt x="195" y="745"/>
                    <a:pt x="195" y="745"/>
                  </a:cubicBezTo>
                  <a:cubicBezTo>
                    <a:pt x="191" y="743"/>
                    <a:pt x="191" y="743"/>
                    <a:pt x="191" y="743"/>
                  </a:cubicBezTo>
                  <a:cubicBezTo>
                    <a:pt x="185" y="739"/>
                    <a:pt x="185" y="739"/>
                    <a:pt x="185" y="739"/>
                  </a:cubicBezTo>
                  <a:cubicBezTo>
                    <a:pt x="182" y="740"/>
                    <a:pt x="182" y="740"/>
                    <a:pt x="182" y="740"/>
                  </a:cubicBezTo>
                  <a:cubicBezTo>
                    <a:pt x="181" y="741"/>
                    <a:pt x="181" y="741"/>
                    <a:pt x="181" y="741"/>
                  </a:cubicBezTo>
                  <a:cubicBezTo>
                    <a:pt x="180" y="743"/>
                    <a:pt x="180" y="743"/>
                    <a:pt x="180" y="743"/>
                  </a:cubicBezTo>
                  <a:cubicBezTo>
                    <a:pt x="180" y="744"/>
                    <a:pt x="180" y="744"/>
                    <a:pt x="180" y="744"/>
                  </a:cubicBezTo>
                  <a:cubicBezTo>
                    <a:pt x="180" y="745"/>
                    <a:pt x="180" y="745"/>
                    <a:pt x="180" y="745"/>
                  </a:cubicBezTo>
                  <a:cubicBezTo>
                    <a:pt x="182" y="746"/>
                    <a:pt x="182" y="746"/>
                    <a:pt x="182" y="746"/>
                  </a:cubicBezTo>
                  <a:lnTo>
                    <a:pt x="186" y="747"/>
                  </a:lnTo>
                  <a:close/>
                  <a:moveTo>
                    <a:pt x="235" y="874"/>
                  </a:moveTo>
                  <a:cubicBezTo>
                    <a:pt x="235" y="874"/>
                    <a:pt x="235" y="874"/>
                    <a:pt x="235" y="874"/>
                  </a:cubicBezTo>
                  <a:cubicBezTo>
                    <a:pt x="235" y="873"/>
                    <a:pt x="235" y="873"/>
                    <a:pt x="235" y="873"/>
                  </a:cubicBezTo>
                  <a:cubicBezTo>
                    <a:pt x="227" y="876"/>
                    <a:pt x="227" y="876"/>
                    <a:pt x="227" y="876"/>
                  </a:cubicBezTo>
                  <a:cubicBezTo>
                    <a:pt x="224" y="877"/>
                    <a:pt x="224" y="877"/>
                    <a:pt x="224" y="877"/>
                  </a:cubicBezTo>
                  <a:cubicBezTo>
                    <a:pt x="218" y="877"/>
                    <a:pt x="218" y="877"/>
                    <a:pt x="218" y="877"/>
                  </a:cubicBezTo>
                  <a:cubicBezTo>
                    <a:pt x="214" y="876"/>
                    <a:pt x="214" y="876"/>
                    <a:pt x="214" y="876"/>
                  </a:cubicBezTo>
                  <a:cubicBezTo>
                    <a:pt x="208" y="878"/>
                    <a:pt x="208" y="878"/>
                    <a:pt x="208" y="878"/>
                  </a:cubicBezTo>
                  <a:cubicBezTo>
                    <a:pt x="206" y="879"/>
                    <a:pt x="206" y="879"/>
                    <a:pt x="206" y="879"/>
                  </a:cubicBezTo>
                  <a:cubicBezTo>
                    <a:pt x="201" y="889"/>
                    <a:pt x="201" y="889"/>
                    <a:pt x="201" y="889"/>
                  </a:cubicBezTo>
                  <a:cubicBezTo>
                    <a:pt x="199" y="891"/>
                    <a:pt x="199" y="891"/>
                    <a:pt x="199" y="891"/>
                  </a:cubicBezTo>
                  <a:cubicBezTo>
                    <a:pt x="199" y="893"/>
                    <a:pt x="199" y="893"/>
                    <a:pt x="199" y="893"/>
                  </a:cubicBezTo>
                  <a:cubicBezTo>
                    <a:pt x="199" y="901"/>
                    <a:pt x="199" y="901"/>
                    <a:pt x="199" y="901"/>
                  </a:cubicBezTo>
                  <a:cubicBezTo>
                    <a:pt x="200" y="903"/>
                    <a:pt x="200" y="903"/>
                    <a:pt x="200" y="903"/>
                  </a:cubicBezTo>
                  <a:cubicBezTo>
                    <a:pt x="202" y="909"/>
                    <a:pt x="202" y="909"/>
                    <a:pt x="202" y="909"/>
                  </a:cubicBezTo>
                  <a:cubicBezTo>
                    <a:pt x="203" y="911"/>
                    <a:pt x="203" y="911"/>
                    <a:pt x="203" y="911"/>
                  </a:cubicBezTo>
                  <a:cubicBezTo>
                    <a:pt x="204" y="912"/>
                    <a:pt x="204" y="912"/>
                    <a:pt x="204" y="912"/>
                  </a:cubicBezTo>
                  <a:cubicBezTo>
                    <a:pt x="210" y="916"/>
                    <a:pt x="210" y="916"/>
                    <a:pt x="210" y="916"/>
                  </a:cubicBezTo>
                  <a:cubicBezTo>
                    <a:pt x="218" y="917"/>
                    <a:pt x="218" y="917"/>
                    <a:pt x="218" y="917"/>
                  </a:cubicBezTo>
                  <a:cubicBezTo>
                    <a:pt x="219" y="916"/>
                    <a:pt x="219" y="916"/>
                    <a:pt x="219" y="916"/>
                  </a:cubicBezTo>
                  <a:cubicBezTo>
                    <a:pt x="236" y="879"/>
                    <a:pt x="236" y="879"/>
                    <a:pt x="236" y="879"/>
                  </a:cubicBezTo>
                  <a:cubicBezTo>
                    <a:pt x="236" y="877"/>
                    <a:pt x="236" y="877"/>
                    <a:pt x="236" y="877"/>
                  </a:cubicBezTo>
                  <a:lnTo>
                    <a:pt x="235" y="874"/>
                  </a:lnTo>
                  <a:close/>
                  <a:moveTo>
                    <a:pt x="154" y="780"/>
                  </a:moveTo>
                  <a:cubicBezTo>
                    <a:pt x="152" y="784"/>
                    <a:pt x="152" y="784"/>
                    <a:pt x="152" y="784"/>
                  </a:cubicBezTo>
                  <a:cubicBezTo>
                    <a:pt x="153" y="785"/>
                    <a:pt x="153" y="785"/>
                    <a:pt x="153" y="785"/>
                  </a:cubicBezTo>
                  <a:cubicBezTo>
                    <a:pt x="154" y="786"/>
                    <a:pt x="154" y="786"/>
                    <a:pt x="154" y="786"/>
                  </a:cubicBezTo>
                  <a:cubicBezTo>
                    <a:pt x="155" y="787"/>
                    <a:pt x="155" y="787"/>
                    <a:pt x="155" y="787"/>
                  </a:cubicBezTo>
                  <a:cubicBezTo>
                    <a:pt x="157" y="785"/>
                    <a:pt x="157" y="785"/>
                    <a:pt x="157" y="785"/>
                  </a:cubicBezTo>
                  <a:cubicBezTo>
                    <a:pt x="158" y="783"/>
                    <a:pt x="158" y="783"/>
                    <a:pt x="158" y="783"/>
                  </a:cubicBezTo>
                  <a:cubicBezTo>
                    <a:pt x="160" y="782"/>
                    <a:pt x="160" y="782"/>
                    <a:pt x="160" y="782"/>
                  </a:cubicBezTo>
                  <a:cubicBezTo>
                    <a:pt x="161" y="781"/>
                    <a:pt x="161" y="781"/>
                    <a:pt x="161" y="781"/>
                  </a:cubicBezTo>
                  <a:cubicBezTo>
                    <a:pt x="161" y="779"/>
                    <a:pt x="161" y="779"/>
                    <a:pt x="161" y="779"/>
                  </a:cubicBezTo>
                  <a:cubicBezTo>
                    <a:pt x="161" y="778"/>
                    <a:pt x="161" y="778"/>
                    <a:pt x="161" y="778"/>
                  </a:cubicBezTo>
                  <a:cubicBezTo>
                    <a:pt x="161" y="777"/>
                    <a:pt x="161" y="777"/>
                    <a:pt x="161" y="777"/>
                  </a:cubicBezTo>
                  <a:cubicBezTo>
                    <a:pt x="161" y="777"/>
                    <a:pt x="161" y="777"/>
                    <a:pt x="161" y="777"/>
                  </a:cubicBezTo>
                  <a:cubicBezTo>
                    <a:pt x="157" y="777"/>
                    <a:pt x="157" y="777"/>
                    <a:pt x="157" y="777"/>
                  </a:cubicBezTo>
                  <a:lnTo>
                    <a:pt x="154" y="780"/>
                  </a:lnTo>
                  <a:close/>
                  <a:moveTo>
                    <a:pt x="186" y="607"/>
                  </a:moveTo>
                  <a:cubicBezTo>
                    <a:pt x="185" y="606"/>
                    <a:pt x="185" y="606"/>
                    <a:pt x="185" y="606"/>
                  </a:cubicBezTo>
                  <a:cubicBezTo>
                    <a:pt x="185" y="605"/>
                    <a:pt x="185" y="605"/>
                    <a:pt x="185" y="605"/>
                  </a:cubicBezTo>
                  <a:cubicBezTo>
                    <a:pt x="182" y="602"/>
                    <a:pt x="182" y="602"/>
                    <a:pt x="182" y="602"/>
                  </a:cubicBezTo>
                  <a:cubicBezTo>
                    <a:pt x="176" y="597"/>
                    <a:pt x="176" y="597"/>
                    <a:pt x="176" y="597"/>
                  </a:cubicBezTo>
                  <a:cubicBezTo>
                    <a:pt x="174" y="596"/>
                    <a:pt x="174" y="596"/>
                    <a:pt x="174" y="596"/>
                  </a:cubicBezTo>
                  <a:cubicBezTo>
                    <a:pt x="171" y="596"/>
                    <a:pt x="171" y="596"/>
                    <a:pt x="171" y="596"/>
                  </a:cubicBezTo>
                  <a:cubicBezTo>
                    <a:pt x="167" y="597"/>
                    <a:pt x="167" y="597"/>
                    <a:pt x="167" y="597"/>
                  </a:cubicBezTo>
                  <a:cubicBezTo>
                    <a:pt x="166" y="597"/>
                    <a:pt x="166" y="597"/>
                    <a:pt x="166" y="597"/>
                  </a:cubicBezTo>
                  <a:cubicBezTo>
                    <a:pt x="162" y="601"/>
                    <a:pt x="162" y="601"/>
                    <a:pt x="162" y="601"/>
                  </a:cubicBezTo>
                  <a:cubicBezTo>
                    <a:pt x="157" y="607"/>
                    <a:pt x="157" y="607"/>
                    <a:pt x="157" y="607"/>
                  </a:cubicBezTo>
                  <a:cubicBezTo>
                    <a:pt x="160" y="612"/>
                    <a:pt x="160" y="612"/>
                    <a:pt x="160" y="612"/>
                  </a:cubicBezTo>
                  <a:cubicBezTo>
                    <a:pt x="165" y="618"/>
                    <a:pt x="165" y="618"/>
                    <a:pt x="165" y="618"/>
                  </a:cubicBezTo>
                  <a:cubicBezTo>
                    <a:pt x="173" y="626"/>
                    <a:pt x="173" y="626"/>
                    <a:pt x="173" y="626"/>
                  </a:cubicBezTo>
                  <a:cubicBezTo>
                    <a:pt x="174" y="627"/>
                    <a:pt x="174" y="627"/>
                    <a:pt x="174" y="627"/>
                  </a:cubicBezTo>
                  <a:cubicBezTo>
                    <a:pt x="176" y="626"/>
                    <a:pt x="176" y="626"/>
                    <a:pt x="176" y="626"/>
                  </a:cubicBezTo>
                  <a:cubicBezTo>
                    <a:pt x="178" y="625"/>
                    <a:pt x="178" y="625"/>
                    <a:pt x="178" y="625"/>
                  </a:cubicBezTo>
                  <a:cubicBezTo>
                    <a:pt x="180" y="623"/>
                    <a:pt x="180" y="623"/>
                    <a:pt x="180" y="623"/>
                  </a:cubicBezTo>
                  <a:cubicBezTo>
                    <a:pt x="182" y="621"/>
                    <a:pt x="182" y="621"/>
                    <a:pt x="182" y="621"/>
                  </a:cubicBezTo>
                  <a:cubicBezTo>
                    <a:pt x="183" y="619"/>
                    <a:pt x="183" y="619"/>
                    <a:pt x="183" y="619"/>
                  </a:cubicBezTo>
                  <a:cubicBezTo>
                    <a:pt x="184" y="618"/>
                    <a:pt x="184" y="618"/>
                    <a:pt x="184" y="618"/>
                  </a:cubicBezTo>
                  <a:cubicBezTo>
                    <a:pt x="184" y="612"/>
                    <a:pt x="184" y="612"/>
                    <a:pt x="184" y="612"/>
                  </a:cubicBezTo>
                  <a:cubicBezTo>
                    <a:pt x="185" y="612"/>
                    <a:pt x="185" y="612"/>
                    <a:pt x="185" y="612"/>
                  </a:cubicBezTo>
                  <a:cubicBezTo>
                    <a:pt x="185" y="611"/>
                    <a:pt x="185" y="611"/>
                    <a:pt x="185" y="611"/>
                  </a:cubicBezTo>
                  <a:lnTo>
                    <a:pt x="186" y="607"/>
                  </a:lnTo>
                  <a:close/>
                  <a:moveTo>
                    <a:pt x="147" y="593"/>
                  </a:moveTo>
                  <a:cubicBezTo>
                    <a:pt x="145" y="593"/>
                    <a:pt x="145" y="593"/>
                    <a:pt x="145" y="593"/>
                  </a:cubicBezTo>
                  <a:cubicBezTo>
                    <a:pt x="143" y="593"/>
                    <a:pt x="143" y="593"/>
                    <a:pt x="143" y="593"/>
                  </a:cubicBezTo>
                  <a:cubicBezTo>
                    <a:pt x="141" y="593"/>
                    <a:pt x="141" y="593"/>
                    <a:pt x="141" y="593"/>
                  </a:cubicBezTo>
                  <a:cubicBezTo>
                    <a:pt x="135" y="596"/>
                    <a:pt x="135" y="596"/>
                    <a:pt x="135" y="596"/>
                  </a:cubicBezTo>
                  <a:cubicBezTo>
                    <a:pt x="135" y="596"/>
                    <a:pt x="135" y="596"/>
                    <a:pt x="135" y="596"/>
                  </a:cubicBezTo>
                  <a:cubicBezTo>
                    <a:pt x="134" y="597"/>
                    <a:pt x="134" y="597"/>
                    <a:pt x="134" y="597"/>
                  </a:cubicBezTo>
                  <a:cubicBezTo>
                    <a:pt x="135" y="599"/>
                    <a:pt x="135" y="599"/>
                    <a:pt x="135" y="599"/>
                  </a:cubicBezTo>
                  <a:cubicBezTo>
                    <a:pt x="135" y="600"/>
                    <a:pt x="135" y="600"/>
                    <a:pt x="135" y="600"/>
                  </a:cubicBezTo>
                  <a:cubicBezTo>
                    <a:pt x="136" y="600"/>
                    <a:pt x="136" y="600"/>
                    <a:pt x="136" y="600"/>
                  </a:cubicBezTo>
                  <a:cubicBezTo>
                    <a:pt x="148" y="597"/>
                    <a:pt x="148" y="597"/>
                    <a:pt x="148" y="597"/>
                  </a:cubicBezTo>
                  <a:cubicBezTo>
                    <a:pt x="150" y="596"/>
                    <a:pt x="150" y="596"/>
                    <a:pt x="150" y="596"/>
                  </a:cubicBezTo>
                  <a:cubicBezTo>
                    <a:pt x="151" y="596"/>
                    <a:pt x="151" y="596"/>
                    <a:pt x="151" y="596"/>
                  </a:cubicBezTo>
                  <a:cubicBezTo>
                    <a:pt x="151" y="595"/>
                    <a:pt x="151" y="595"/>
                    <a:pt x="151" y="595"/>
                  </a:cubicBezTo>
                  <a:cubicBezTo>
                    <a:pt x="151" y="595"/>
                    <a:pt x="151" y="595"/>
                    <a:pt x="151" y="595"/>
                  </a:cubicBezTo>
                  <a:cubicBezTo>
                    <a:pt x="151" y="593"/>
                    <a:pt x="151" y="593"/>
                    <a:pt x="151" y="593"/>
                  </a:cubicBezTo>
                  <a:cubicBezTo>
                    <a:pt x="150" y="593"/>
                    <a:pt x="150" y="593"/>
                    <a:pt x="150" y="593"/>
                  </a:cubicBezTo>
                  <a:lnTo>
                    <a:pt x="147" y="593"/>
                  </a:lnTo>
                  <a:close/>
                  <a:moveTo>
                    <a:pt x="207" y="926"/>
                  </a:moveTo>
                  <a:cubicBezTo>
                    <a:pt x="206" y="924"/>
                    <a:pt x="206" y="924"/>
                    <a:pt x="206" y="924"/>
                  </a:cubicBezTo>
                  <a:cubicBezTo>
                    <a:pt x="204" y="921"/>
                    <a:pt x="204" y="921"/>
                    <a:pt x="204" y="921"/>
                  </a:cubicBezTo>
                  <a:cubicBezTo>
                    <a:pt x="201" y="919"/>
                    <a:pt x="201" y="919"/>
                    <a:pt x="201" y="919"/>
                  </a:cubicBezTo>
                  <a:cubicBezTo>
                    <a:pt x="199" y="916"/>
                    <a:pt x="199" y="916"/>
                    <a:pt x="199" y="916"/>
                  </a:cubicBezTo>
                  <a:cubicBezTo>
                    <a:pt x="198" y="911"/>
                    <a:pt x="198" y="911"/>
                    <a:pt x="198" y="911"/>
                  </a:cubicBezTo>
                  <a:cubicBezTo>
                    <a:pt x="196" y="896"/>
                    <a:pt x="196" y="896"/>
                    <a:pt x="196" y="896"/>
                  </a:cubicBezTo>
                  <a:cubicBezTo>
                    <a:pt x="195" y="886"/>
                    <a:pt x="195" y="886"/>
                    <a:pt x="195" y="886"/>
                  </a:cubicBezTo>
                  <a:cubicBezTo>
                    <a:pt x="195" y="884"/>
                    <a:pt x="195" y="884"/>
                    <a:pt x="195" y="884"/>
                  </a:cubicBezTo>
                  <a:cubicBezTo>
                    <a:pt x="196" y="883"/>
                    <a:pt x="196" y="883"/>
                    <a:pt x="196" y="883"/>
                  </a:cubicBezTo>
                  <a:cubicBezTo>
                    <a:pt x="197" y="881"/>
                    <a:pt x="197" y="881"/>
                    <a:pt x="197" y="881"/>
                  </a:cubicBezTo>
                  <a:cubicBezTo>
                    <a:pt x="197" y="880"/>
                    <a:pt x="197" y="880"/>
                    <a:pt x="197" y="880"/>
                  </a:cubicBezTo>
                  <a:cubicBezTo>
                    <a:pt x="197" y="880"/>
                    <a:pt x="197" y="880"/>
                    <a:pt x="197" y="880"/>
                  </a:cubicBezTo>
                  <a:cubicBezTo>
                    <a:pt x="193" y="880"/>
                    <a:pt x="193" y="880"/>
                    <a:pt x="193" y="880"/>
                  </a:cubicBezTo>
                  <a:cubicBezTo>
                    <a:pt x="166" y="892"/>
                    <a:pt x="166" y="892"/>
                    <a:pt x="166" y="892"/>
                  </a:cubicBezTo>
                  <a:cubicBezTo>
                    <a:pt x="151" y="899"/>
                    <a:pt x="151" y="899"/>
                    <a:pt x="151" y="899"/>
                  </a:cubicBezTo>
                  <a:cubicBezTo>
                    <a:pt x="150" y="900"/>
                    <a:pt x="150" y="900"/>
                    <a:pt x="150" y="900"/>
                  </a:cubicBezTo>
                  <a:cubicBezTo>
                    <a:pt x="149" y="902"/>
                    <a:pt x="149" y="902"/>
                    <a:pt x="149" y="902"/>
                  </a:cubicBezTo>
                  <a:cubicBezTo>
                    <a:pt x="148" y="903"/>
                    <a:pt x="148" y="903"/>
                    <a:pt x="148" y="903"/>
                  </a:cubicBezTo>
                  <a:cubicBezTo>
                    <a:pt x="145" y="915"/>
                    <a:pt x="145" y="915"/>
                    <a:pt x="145" y="915"/>
                  </a:cubicBezTo>
                  <a:cubicBezTo>
                    <a:pt x="138" y="940"/>
                    <a:pt x="138" y="940"/>
                    <a:pt x="138" y="940"/>
                  </a:cubicBezTo>
                  <a:cubicBezTo>
                    <a:pt x="138" y="941"/>
                    <a:pt x="138" y="941"/>
                    <a:pt x="138" y="941"/>
                  </a:cubicBezTo>
                  <a:cubicBezTo>
                    <a:pt x="139" y="946"/>
                    <a:pt x="139" y="946"/>
                    <a:pt x="139" y="946"/>
                  </a:cubicBezTo>
                  <a:cubicBezTo>
                    <a:pt x="139" y="946"/>
                    <a:pt x="139" y="946"/>
                    <a:pt x="139" y="946"/>
                  </a:cubicBezTo>
                  <a:cubicBezTo>
                    <a:pt x="140" y="947"/>
                    <a:pt x="140" y="947"/>
                    <a:pt x="140" y="947"/>
                  </a:cubicBezTo>
                  <a:cubicBezTo>
                    <a:pt x="145" y="946"/>
                    <a:pt x="145" y="946"/>
                    <a:pt x="145" y="946"/>
                  </a:cubicBezTo>
                  <a:cubicBezTo>
                    <a:pt x="149" y="943"/>
                    <a:pt x="149" y="943"/>
                    <a:pt x="149" y="943"/>
                  </a:cubicBezTo>
                  <a:cubicBezTo>
                    <a:pt x="152" y="941"/>
                    <a:pt x="152" y="941"/>
                    <a:pt x="152" y="941"/>
                  </a:cubicBezTo>
                  <a:cubicBezTo>
                    <a:pt x="153" y="939"/>
                    <a:pt x="153" y="939"/>
                    <a:pt x="153" y="939"/>
                  </a:cubicBezTo>
                  <a:cubicBezTo>
                    <a:pt x="156" y="936"/>
                    <a:pt x="156" y="936"/>
                    <a:pt x="156" y="936"/>
                  </a:cubicBezTo>
                  <a:cubicBezTo>
                    <a:pt x="157" y="935"/>
                    <a:pt x="157" y="935"/>
                    <a:pt x="157" y="935"/>
                  </a:cubicBezTo>
                  <a:cubicBezTo>
                    <a:pt x="160" y="927"/>
                    <a:pt x="160" y="927"/>
                    <a:pt x="160" y="927"/>
                  </a:cubicBezTo>
                  <a:cubicBezTo>
                    <a:pt x="162" y="923"/>
                    <a:pt x="162" y="923"/>
                    <a:pt x="162" y="923"/>
                  </a:cubicBezTo>
                  <a:cubicBezTo>
                    <a:pt x="163" y="920"/>
                    <a:pt x="163" y="920"/>
                    <a:pt x="163" y="920"/>
                  </a:cubicBezTo>
                  <a:cubicBezTo>
                    <a:pt x="164" y="920"/>
                    <a:pt x="164" y="920"/>
                    <a:pt x="164" y="920"/>
                  </a:cubicBezTo>
                  <a:cubicBezTo>
                    <a:pt x="174" y="920"/>
                    <a:pt x="174" y="920"/>
                    <a:pt x="174" y="920"/>
                  </a:cubicBezTo>
                  <a:cubicBezTo>
                    <a:pt x="175" y="920"/>
                    <a:pt x="175" y="920"/>
                    <a:pt x="175" y="920"/>
                  </a:cubicBezTo>
                  <a:cubicBezTo>
                    <a:pt x="176" y="920"/>
                    <a:pt x="176" y="920"/>
                    <a:pt x="176" y="920"/>
                  </a:cubicBezTo>
                  <a:cubicBezTo>
                    <a:pt x="176" y="921"/>
                    <a:pt x="176" y="921"/>
                    <a:pt x="176" y="921"/>
                  </a:cubicBezTo>
                  <a:cubicBezTo>
                    <a:pt x="176" y="922"/>
                    <a:pt x="176" y="922"/>
                    <a:pt x="176" y="922"/>
                  </a:cubicBezTo>
                  <a:cubicBezTo>
                    <a:pt x="176" y="923"/>
                    <a:pt x="176" y="923"/>
                    <a:pt x="176" y="923"/>
                  </a:cubicBezTo>
                  <a:cubicBezTo>
                    <a:pt x="175" y="924"/>
                    <a:pt x="175" y="924"/>
                    <a:pt x="175" y="924"/>
                  </a:cubicBezTo>
                  <a:cubicBezTo>
                    <a:pt x="173" y="925"/>
                    <a:pt x="173" y="925"/>
                    <a:pt x="173" y="925"/>
                  </a:cubicBezTo>
                  <a:cubicBezTo>
                    <a:pt x="170" y="937"/>
                    <a:pt x="170" y="937"/>
                    <a:pt x="170" y="937"/>
                  </a:cubicBezTo>
                  <a:cubicBezTo>
                    <a:pt x="165" y="959"/>
                    <a:pt x="165" y="959"/>
                    <a:pt x="165" y="959"/>
                  </a:cubicBezTo>
                  <a:cubicBezTo>
                    <a:pt x="164" y="965"/>
                    <a:pt x="164" y="965"/>
                    <a:pt x="164" y="965"/>
                  </a:cubicBezTo>
                  <a:cubicBezTo>
                    <a:pt x="164" y="966"/>
                    <a:pt x="164" y="966"/>
                    <a:pt x="164" y="966"/>
                  </a:cubicBezTo>
                  <a:cubicBezTo>
                    <a:pt x="171" y="970"/>
                    <a:pt x="171" y="970"/>
                    <a:pt x="171" y="970"/>
                  </a:cubicBezTo>
                  <a:cubicBezTo>
                    <a:pt x="174" y="969"/>
                    <a:pt x="174" y="969"/>
                    <a:pt x="174" y="969"/>
                  </a:cubicBezTo>
                  <a:cubicBezTo>
                    <a:pt x="175" y="969"/>
                    <a:pt x="175" y="969"/>
                    <a:pt x="175" y="969"/>
                  </a:cubicBezTo>
                  <a:cubicBezTo>
                    <a:pt x="195" y="957"/>
                    <a:pt x="195" y="957"/>
                    <a:pt x="195" y="957"/>
                  </a:cubicBezTo>
                  <a:cubicBezTo>
                    <a:pt x="200" y="953"/>
                    <a:pt x="200" y="953"/>
                    <a:pt x="200" y="953"/>
                  </a:cubicBezTo>
                  <a:cubicBezTo>
                    <a:pt x="209" y="946"/>
                    <a:pt x="209" y="946"/>
                    <a:pt x="209" y="946"/>
                  </a:cubicBezTo>
                  <a:cubicBezTo>
                    <a:pt x="210" y="944"/>
                    <a:pt x="210" y="944"/>
                    <a:pt x="210" y="944"/>
                  </a:cubicBezTo>
                  <a:cubicBezTo>
                    <a:pt x="210" y="943"/>
                    <a:pt x="210" y="943"/>
                    <a:pt x="210" y="943"/>
                  </a:cubicBezTo>
                  <a:cubicBezTo>
                    <a:pt x="209" y="935"/>
                    <a:pt x="209" y="935"/>
                    <a:pt x="209" y="935"/>
                  </a:cubicBezTo>
                  <a:lnTo>
                    <a:pt x="207" y="926"/>
                  </a:lnTo>
                  <a:close/>
                  <a:moveTo>
                    <a:pt x="141" y="712"/>
                  </a:moveTo>
                  <a:cubicBezTo>
                    <a:pt x="146" y="706"/>
                    <a:pt x="146" y="706"/>
                    <a:pt x="146" y="706"/>
                  </a:cubicBezTo>
                  <a:cubicBezTo>
                    <a:pt x="149" y="703"/>
                    <a:pt x="149" y="703"/>
                    <a:pt x="149" y="703"/>
                  </a:cubicBezTo>
                  <a:cubicBezTo>
                    <a:pt x="154" y="692"/>
                    <a:pt x="154" y="692"/>
                    <a:pt x="154" y="692"/>
                  </a:cubicBezTo>
                  <a:cubicBezTo>
                    <a:pt x="154" y="691"/>
                    <a:pt x="154" y="691"/>
                    <a:pt x="154" y="691"/>
                  </a:cubicBezTo>
                  <a:cubicBezTo>
                    <a:pt x="155" y="690"/>
                    <a:pt x="155" y="690"/>
                    <a:pt x="155" y="690"/>
                  </a:cubicBezTo>
                  <a:cubicBezTo>
                    <a:pt x="155" y="690"/>
                    <a:pt x="155" y="690"/>
                    <a:pt x="155" y="690"/>
                  </a:cubicBezTo>
                  <a:cubicBezTo>
                    <a:pt x="154" y="689"/>
                    <a:pt x="154" y="689"/>
                    <a:pt x="154" y="689"/>
                  </a:cubicBezTo>
                  <a:cubicBezTo>
                    <a:pt x="147" y="691"/>
                    <a:pt x="147" y="691"/>
                    <a:pt x="147" y="691"/>
                  </a:cubicBezTo>
                  <a:cubicBezTo>
                    <a:pt x="141" y="695"/>
                    <a:pt x="141" y="695"/>
                    <a:pt x="141" y="695"/>
                  </a:cubicBezTo>
                  <a:cubicBezTo>
                    <a:pt x="130" y="704"/>
                    <a:pt x="130" y="704"/>
                    <a:pt x="130" y="704"/>
                  </a:cubicBezTo>
                  <a:cubicBezTo>
                    <a:pt x="122" y="714"/>
                    <a:pt x="122" y="714"/>
                    <a:pt x="122" y="714"/>
                  </a:cubicBezTo>
                  <a:cubicBezTo>
                    <a:pt x="120" y="720"/>
                    <a:pt x="120" y="720"/>
                    <a:pt x="120" y="720"/>
                  </a:cubicBezTo>
                  <a:cubicBezTo>
                    <a:pt x="130" y="717"/>
                    <a:pt x="130" y="717"/>
                    <a:pt x="130" y="717"/>
                  </a:cubicBezTo>
                  <a:cubicBezTo>
                    <a:pt x="136" y="715"/>
                    <a:pt x="136" y="715"/>
                    <a:pt x="136" y="715"/>
                  </a:cubicBezTo>
                  <a:cubicBezTo>
                    <a:pt x="140" y="713"/>
                    <a:pt x="140" y="713"/>
                    <a:pt x="140" y="713"/>
                  </a:cubicBezTo>
                  <a:lnTo>
                    <a:pt x="141" y="712"/>
                  </a:lnTo>
                  <a:close/>
                  <a:moveTo>
                    <a:pt x="112" y="303"/>
                  </a:moveTo>
                  <a:cubicBezTo>
                    <a:pt x="118" y="307"/>
                    <a:pt x="118" y="307"/>
                    <a:pt x="118" y="307"/>
                  </a:cubicBezTo>
                  <a:cubicBezTo>
                    <a:pt x="119" y="308"/>
                    <a:pt x="119" y="308"/>
                    <a:pt x="119" y="308"/>
                  </a:cubicBezTo>
                  <a:cubicBezTo>
                    <a:pt x="119" y="307"/>
                    <a:pt x="119" y="307"/>
                    <a:pt x="119" y="307"/>
                  </a:cubicBezTo>
                  <a:cubicBezTo>
                    <a:pt x="119" y="306"/>
                    <a:pt x="119" y="306"/>
                    <a:pt x="119" y="306"/>
                  </a:cubicBezTo>
                  <a:cubicBezTo>
                    <a:pt x="119" y="303"/>
                    <a:pt x="119" y="303"/>
                    <a:pt x="119" y="303"/>
                  </a:cubicBezTo>
                  <a:cubicBezTo>
                    <a:pt x="118" y="302"/>
                    <a:pt x="118" y="302"/>
                    <a:pt x="118" y="302"/>
                  </a:cubicBezTo>
                  <a:cubicBezTo>
                    <a:pt x="116" y="300"/>
                    <a:pt x="116" y="300"/>
                    <a:pt x="116" y="300"/>
                  </a:cubicBezTo>
                  <a:cubicBezTo>
                    <a:pt x="111" y="294"/>
                    <a:pt x="111" y="294"/>
                    <a:pt x="111" y="294"/>
                  </a:cubicBezTo>
                  <a:cubicBezTo>
                    <a:pt x="111" y="294"/>
                    <a:pt x="111" y="294"/>
                    <a:pt x="111" y="294"/>
                  </a:cubicBezTo>
                  <a:cubicBezTo>
                    <a:pt x="107" y="293"/>
                    <a:pt x="107" y="293"/>
                    <a:pt x="107" y="293"/>
                  </a:cubicBezTo>
                  <a:cubicBezTo>
                    <a:pt x="106" y="293"/>
                    <a:pt x="106" y="293"/>
                    <a:pt x="106" y="293"/>
                  </a:cubicBezTo>
                  <a:cubicBezTo>
                    <a:pt x="105" y="294"/>
                    <a:pt x="105" y="294"/>
                    <a:pt x="105" y="294"/>
                  </a:cubicBezTo>
                  <a:cubicBezTo>
                    <a:pt x="105" y="295"/>
                    <a:pt x="105" y="295"/>
                    <a:pt x="105" y="295"/>
                  </a:cubicBezTo>
                  <a:cubicBezTo>
                    <a:pt x="106" y="296"/>
                    <a:pt x="106" y="296"/>
                    <a:pt x="106" y="296"/>
                  </a:cubicBezTo>
                  <a:lnTo>
                    <a:pt x="112" y="303"/>
                  </a:lnTo>
                  <a:close/>
                  <a:moveTo>
                    <a:pt x="630" y="154"/>
                  </a:moveTo>
                  <a:cubicBezTo>
                    <a:pt x="631" y="150"/>
                    <a:pt x="631" y="150"/>
                    <a:pt x="631" y="150"/>
                  </a:cubicBezTo>
                  <a:cubicBezTo>
                    <a:pt x="631" y="149"/>
                    <a:pt x="631" y="149"/>
                    <a:pt x="631" y="149"/>
                  </a:cubicBezTo>
                  <a:cubicBezTo>
                    <a:pt x="633" y="149"/>
                    <a:pt x="633" y="149"/>
                    <a:pt x="633" y="149"/>
                  </a:cubicBezTo>
                  <a:cubicBezTo>
                    <a:pt x="634" y="148"/>
                    <a:pt x="634" y="148"/>
                    <a:pt x="634" y="148"/>
                  </a:cubicBezTo>
                  <a:cubicBezTo>
                    <a:pt x="634" y="148"/>
                    <a:pt x="634" y="148"/>
                    <a:pt x="634" y="148"/>
                  </a:cubicBezTo>
                  <a:cubicBezTo>
                    <a:pt x="635" y="147"/>
                    <a:pt x="635" y="147"/>
                    <a:pt x="635" y="147"/>
                  </a:cubicBezTo>
                  <a:cubicBezTo>
                    <a:pt x="635" y="147"/>
                    <a:pt x="635" y="147"/>
                    <a:pt x="635" y="147"/>
                  </a:cubicBezTo>
                  <a:cubicBezTo>
                    <a:pt x="633" y="145"/>
                    <a:pt x="633" y="145"/>
                    <a:pt x="633" y="145"/>
                  </a:cubicBezTo>
                  <a:cubicBezTo>
                    <a:pt x="632" y="143"/>
                    <a:pt x="632" y="143"/>
                    <a:pt x="632" y="143"/>
                  </a:cubicBezTo>
                  <a:cubicBezTo>
                    <a:pt x="632" y="143"/>
                    <a:pt x="632" y="143"/>
                    <a:pt x="632" y="143"/>
                  </a:cubicBezTo>
                  <a:cubicBezTo>
                    <a:pt x="630" y="143"/>
                    <a:pt x="630" y="143"/>
                    <a:pt x="630" y="143"/>
                  </a:cubicBezTo>
                  <a:cubicBezTo>
                    <a:pt x="618" y="145"/>
                    <a:pt x="618" y="145"/>
                    <a:pt x="618" y="145"/>
                  </a:cubicBezTo>
                  <a:cubicBezTo>
                    <a:pt x="617" y="145"/>
                    <a:pt x="617" y="145"/>
                    <a:pt x="617" y="145"/>
                  </a:cubicBezTo>
                  <a:cubicBezTo>
                    <a:pt x="614" y="148"/>
                    <a:pt x="614" y="148"/>
                    <a:pt x="614" y="148"/>
                  </a:cubicBezTo>
                  <a:cubicBezTo>
                    <a:pt x="614" y="149"/>
                    <a:pt x="614" y="149"/>
                    <a:pt x="614" y="149"/>
                  </a:cubicBezTo>
                  <a:cubicBezTo>
                    <a:pt x="622" y="165"/>
                    <a:pt x="622" y="165"/>
                    <a:pt x="622" y="165"/>
                  </a:cubicBezTo>
                  <a:cubicBezTo>
                    <a:pt x="623" y="168"/>
                    <a:pt x="623" y="168"/>
                    <a:pt x="623" y="168"/>
                  </a:cubicBezTo>
                  <a:cubicBezTo>
                    <a:pt x="625" y="169"/>
                    <a:pt x="625" y="169"/>
                    <a:pt x="625" y="169"/>
                  </a:cubicBezTo>
                  <a:cubicBezTo>
                    <a:pt x="626" y="170"/>
                    <a:pt x="626" y="170"/>
                    <a:pt x="626" y="170"/>
                  </a:cubicBezTo>
                  <a:cubicBezTo>
                    <a:pt x="627" y="170"/>
                    <a:pt x="627" y="170"/>
                    <a:pt x="627" y="170"/>
                  </a:cubicBezTo>
                  <a:cubicBezTo>
                    <a:pt x="630" y="170"/>
                    <a:pt x="630" y="170"/>
                    <a:pt x="630" y="170"/>
                  </a:cubicBezTo>
                  <a:cubicBezTo>
                    <a:pt x="631" y="170"/>
                    <a:pt x="631" y="170"/>
                    <a:pt x="631" y="170"/>
                  </a:cubicBezTo>
                  <a:cubicBezTo>
                    <a:pt x="631" y="166"/>
                    <a:pt x="631" y="166"/>
                    <a:pt x="631" y="166"/>
                  </a:cubicBezTo>
                  <a:cubicBezTo>
                    <a:pt x="631" y="164"/>
                    <a:pt x="631" y="164"/>
                    <a:pt x="631" y="164"/>
                  </a:cubicBezTo>
                  <a:cubicBezTo>
                    <a:pt x="631" y="164"/>
                    <a:pt x="631" y="164"/>
                    <a:pt x="631" y="164"/>
                  </a:cubicBezTo>
                  <a:cubicBezTo>
                    <a:pt x="629" y="162"/>
                    <a:pt x="629" y="162"/>
                    <a:pt x="629" y="162"/>
                  </a:cubicBezTo>
                  <a:cubicBezTo>
                    <a:pt x="629" y="161"/>
                    <a:pt x="629" y="161"/>
                    <a:pt x="629" y="161"/>
                  </a:cubicBezTo>
                  <a:cubicBezTo>
                    <a:pt x="629" y="160"/>
                    <a:pt x="629" y="160"/>
                    <a:pt x="629" y="160"/>
                  </a:cubicBezTo>
                  <a:lnTo>
                    <a:pt x="630" y="154"/>
                  </a:lnTo>
                  <a:close/>
                  <a:moveTo>
                    <a:pt x="666" y="61"/>
                  </a:moveTo>
                  <a:cubicBezTo>
                    <a:pt x="665" y="61"/>
                    <a:pt x="665" y="61"/>
                    <a:pt x="665" y="61"/>
                  </a:cubicBezTo>
                  <a:cubicBezTo>
                    <a:pt x="661" y="62"/>
                    <a:pt x="661" y="62"/>
                    <a:pt x="661" y="62"/>
                  </a:cubicBezTo>
                  <a:cubicBezTo>
                    <a:pt x="660" y="63"/>
                    <a:pt x="660" y="63"/>
                    <a:pt x="660" y="63"/>
                  </a:cubicBezTo>
                  <a:cubicBezTo>
                    <a:pt x="660" y="63"/>
                    <a:pt x="660" y="63"/>
                    <a:pt x="660" y="63"/>
                  </a:cubicBezTo>
                  <a:cubicBezTo>
                    <a:pt x="657" y="80"/>
                    <a:pt x="657" y="80"/>
                    <a:pt x="657" y="80"/>
                  </a:cubicBezTo>
                  <a:cubicBezTo>
                    <a:pt x="658" y="81"/>
                    <a:pt x="658" y="81"/>
                    <a:pt x="658" y="81"/>
                  </a:cubicBezTo>
                  <a:cubicBezTo>
                    <a:pt x="658" y="82"/>
                    <a:pt x="658" y="82"/>
                    <a:pt x="658" y="82"/>
                  </a:cubicBezTo>
                  <a:cubicBezTo>
                    <a:pt x="659" y="83"/>
                    <a:pt x="659" y="83"/>
                    <a:pt x="659" y="83"/>
                  </a:cubicBezTo>
                  <a:cubicBezTo>
                    <a:pt x="661" y="83"/>
                    <a:pt x="661" y="83"/>
                    <a:pt x="661" y="83"/>
                  </a:cubicBezTo>
                  <a:cubicBezTo>
                    <a:pt x="662" y="82"/>
                    <a:pt x="662" y="82"/>
                    <a:pt x="662" y="82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6" y="71"/>
                    <a:pt x="676" y="71"/>
                    <a:pt x="676" y="71"/>
                  </a:cubicBezTo>
                  <a:cubicBezTo>
                    <a:pt x="672" y="66"/>
                    <a:pt x="672" y="66"/>
                    <a:pt x="672" y="66"/>
                  </a:cubicBezTo>
                  <a:cubicBezTo>
                    <a:pt x="671" y="65"/>
                    <a:pt x="671" y="65"/>
                    <a:pt x="671" y="65"/>
                  </a:cubicBezTo>
                  <a:lnTo>
                    <a:pt x="666" y="61"/>
                  </a:lnTo>
                  <a:close/>
                  <a:moveTo>
                    <a:pt x="690" y="12"/>
                  </a:moveTo>
                  <a:cubicBezTo>
                    <a:pt x="694" y="11"/>
                    <a:pt x="694" y="11"/>
                    <a:pt x="694" y="11"/>
                  </a:cubicBezTo>
                  <a:cubicBezTo>
                    <a:pt x="694" y="10"/>
                    <a:pt x="694" y="10"/>
                    <a:pt x="694" y="10"/>
                  </a:cubicBezTo>
                  <a:cubicBezTo>
                    <a:pt x="693" y="9"/>
                    <a:pt x="693" y="9"/>
                    <a:pt x="693" y="9"/>
                  </a:cubicBezTo>
                  <a:cubicBezTo>
                    <a:pt x="692" y="8"/>
                    <a:pt x="692" y="8"/>
                    <a:pt x="692" y="8"/>
                  </a:cubicBezTo>
                  <a:cubicBezTo>
                    <a:pt x="692" y="7"/>
                    <a:pt x="692" y="7"/>
                    <a:pt x="692" y="7"/>
                  </a:cubicBezTo>
                  <a:cubicBezTo>
                    <a:pt x="693" y="4"/>
                    <a:pt x="693" y="4"/>
                    <a:pt x="693" y="4"/>
                  </a:cubicBezTo>
                  <a:cubicBezTo>
                    <a:pt x="694" y="4"/>
                    <a:pt x="694" y="4"/>
                    <a:pt x="694" y="4"/>
                  </a:cubicBezTo>
                  <a:cubicBezTo>
                    <a:pt x="695" y="3"/>
                    <a:pt x="695" y="3"/>
                    <a:pt x="695" y="3"/>
                  </a:cubicBezTo>
                  <a:cubicBezTo>
                    <a:pt x="696" y="3"/>
                    <a:pt x="696" y="3"/>
                    <a:pt x="696" y="3"/>
                  </a:cubicBezTo>
                  <a:cubicBezTo>
                    <a:pt x="696" y="2"/>
                    <a:pt x="696" y="2"/>
                    <a:pt x="696" y="2"/>
                  </a:cubicBezTo>
                  <a:cubicBezTo>
                    <a:pt x="696" y="1"/>
                    <a:pt x="696" y="1"/>
                    <a:pt x="696" y="1"/>
                  </a:cubicBezTo>
                  <a:cubicBezTo>
                    <a:pt x="695" y="0"/>
                    <a:pt x="695" y="0"/>
                    <a:pt x="695" y="0"/>
                  </a:cubicBezTo>
                  <a:cubicBezTo>
                    <a:pt x="694" y="0"/>
                    <a:pt x="694" y="0"/>
                    <a:pt x="694" y="0"/>
                  </a:cubicBezTo>
                  <a:cubicBezTo>
                    <a:pt x="689" y="3"/>
                    <a:pt x="689" y="3"/>
                    <a:pt x="689" y="3"/>
                  </a:cubicBezTo>
                  <a:cubicBezTo>
                    <a:pt x="688" y="4"/>
                    <a:pt x="688" y="4"/>
                    <a:pt x="688" y="4"/>
                  </a:cubicBezTo>
                  <a:cubicBezTo>
                    <a:pt x="687" y="9"/>
                    <a:pt x="687" y="9"/>
                    <a:pt x="687" y="9"/>
                  </a:cubicBezTo>
                  <a:cubicBezTo>
                    <a:pt x="687" y="11"/>
                    <a:pt x="687" y="11"/>
                    <a:pt x="687" y="11"/>
                  </a:cubicBezTo>
                  <a:cubicBezTo>
                    <a:pt x="687" y="11"/>
                    <a:pt x="687" y="11"/>
                    <a:pt x="687" y="11"/>
                  </a:cubicBezTo>
                  <a:lnTo>
                    <a:pt x="690" y="12"/>
                  </a:lnTo>
                  <a:close/>
                  <a:moveTo>
                    <a:pt x="221" y="529"/>
                  </a:moveTo>
                  <a:cubicBezTo>
                    <a:pt x="219" y="529"/>
                    <a:pt x="219" y="529"/>
                    <a:pt x="219" y="529"/>
                  </a:cubicBezTo>
                  <a:cubicBezTo>
                    <a:pt x="218" y="530"/>
                    <a:pt x="218" y="530"/>
                    <a:pt x="218" y="530"/>
                  </a:cubicBezTo>
                  <a:cubicBezTo>
                    <a:pt x="218" y="531"/>
                    <a:pt x="218" y="531"/>
                    <a:pt x="218" y="531"/>
                  </a:cubicBezTo>
                  <a:cubicBezTo>
                    <a:pt x="217" y="532"/>
                    <a:pt x="217" y="532"/>
                    <a:pt x="217" y="532"/>
                  </a:cubicBezTo>
                  <a:cubicBezTo>
                    <a:pt x="217" y="535"/>
                    <a:pt x="217" y="535"/>
                    <a:pt x="217" y="535"/>
                  </a:cubicBezTo>
                  <a:cubicBezTo>
                    <a:pt x="218" y="537"/>
                    <a:pt x="218" y="537"/>
                    <a:pt x="218" y="537"/>
                  </a:cubicBezTo>
                  <a:cubicBezTo>
                    <a:pt x="220" y="539"/>
                    <a:pt x="220" y="539"/>
                    <a:pt x="220" y="539"/>
                  </a:cubicBezTo>
                  <a:cubicBezTo>
                    <a:pt x="222" y="542"/>
                    <a:pt x="222" y="542"/>
                    <a:pt x="222" y="542"/>
                  </a:cubicBezTo>
                  <a:cubicBezTo>
                    <a:pt x="226" y="542"/>
                    <a:pt x="226" y="542"/>
                    <a:pt x="226" y="542"/>
                  </a:cubicBezTo>
                  <a:cubicBezTo>
                    <a:pt x="230" y="539"/>
                    <a:pt x="230" y="539"/>
                    <a:pt x="230" y="539"/>
                  </a:cubicBezTo>
                  <a:cubicBezTo>
                    <a:pt x="231" y="538"/>
                    <a:pt x="231" y="538"/>
                    <a:pt x="231" y="538"/>
                  </a:cubicBezTo>
                  <a:cubicBezTo>
                    <a:pt x="231" y="536"/>
                    <a:pt x="231" y="536"/>
                    <a:pt x="231" y="536"/>
                  </a:cubicBezTo>
                  <a:cubicBezTo>
                    <a:pt x="231" y="535"/>
                    <a:pt x="231" y="535"/>
                    <a:pt x="231" y="535"/>
                  </a:cubicBezTo>
                  <a:cubicBezTo>
                    <a:pt x="231" y="535"/>
                    <a:pt x="231" y="535"/>
                    <a:pt x="231" y="535"/>
                  </a:cubicBezTo>
                  <a:cubicBezTo>
                    <a:pt x="230" y="533"/>
                    <a:pt x="230" y="533"/>
                    <a:pt x="230" y="533"/>
                  </a:cubicBezTo>
                  <a:cubicBezTo>
                    <a:pt x="230" y="533"/>
                    <a:pt x="230" y="533"/>
                    <a:pt x="230" y="533"/>
                  </a:cubicBezTo>
                  <a:cubicBezTo>
                    <a:pt x="228" y="532"/>
                    <a:pt x="228" y="532"/>
                    <a:pt x="228" y="532"/>
                  </a:cubicBezTo>
                  <a:cubicBezTo>
                    <a:pt x="224" y="530"/>
                    <a:pt x="224" y="530"/>
                    <a:pt x="224" y="530"/>
                  </a:cubicBezTo>
                  <a:lnTo>
                    <a:pt x="221" y="529"/>
                  </a:lnTo>
                  <a:close/>
                  <a:moveTo>
                    <a:pt x="580" y="160"/>
                  </a:moveTo>
                  <a:cubicBezTo>
                    <a:pt x="580" y="160"/>
                    <a:pt x="580" y="160"/>
                    <a:pt x="580" y="160"/>
                  </a:cubicBezTo>
                  <a:cubicBezTo>
                    <a:pt x="581" y="161"/>
                    <a:pt x="581" y="161"/>
                    <a:pt x="581" y="161"/>
                  </a:cubicBezTo>
                  <a:cubicBezTo>
                    <a:pt x="589" y="160"/>
                    <a:pt x="589" y="160"/>
                    <a:pt x="589" y="160"/>
                  </a:cubicBezTo>
                  <a:cubicBezTo>
                    <a:pt x="598" y="159"/>
                    <a:pt x="598" y="159"/>
                    <a:pt x="598" y="159"/>
                  </a:cubicBezTo>
                  <a:cubicBezTo>
                    <a:pt x="600" y="158"/>
                    <a:pt x="600" y="158"/>
                    <a:pt x="600" y="158"/>
                  </a:cubicBezTo>
                  <a:cubicBezTo>
                    <a:pt x="601" y="157"/>
                    <a:pt x="601" y="157"/>
                    <a:pt x="601" y="157"/>
                  </a:cubicBezTo>
                  <a:cubicBezTo>
                    <a:pt x="601" y="154"/>
                    <a:pt x="601" y="154"/>
                    <a:pt x="601" y="154"/>
                  </a:cubicBezTo>
                  <a:cubicBezTo>
                    <a:pt x="601" y="152"/>
                    <a:pt x="601" y="152"/>
                    <a:pt x="601" y="152"/>
                  </a:cubicBezTo>
                  <a:cubicBezTo>
                    <a:pt x="600" y="152"/>
                    <a:pt x="600" y="152"/>
                    <a:pt x="600" y="152"/>
                  </a:cubicBezTo>
                  <a:cubicBezTo>
                    <a:pt x="597" y="153"/>
                    <a:pt x="597" y="153"/>
                    <a:pt x="597" y="153"/>
                  </a:cubicBezTo>
                  <a:cubicBezTo>
                    <a:pt x="595" y="153"/>
                    <a:pt x="595" y="153"/>
                    <a:pt x="595" y="153"/>
                  </a:cubicBezTo>
                  <a:cubicBezTo>
                    <a:pt x="593" y="152"/>
                    <a:pt x="593" y="152"/>
                    <a:pt x="593" y="152"/>
                  </a:cubicBezTo>
                  <a:cubicBezTo>
                    <a:pt x="591" y="145"/>
                    <a:pt x="591" y="145"/>
                    <a:pt x="591" y="145"/>
                  </a:cubicBezTo>
                  <a:cubicBezTo>
                    <a:pt x="591" y="144"/>
                    <a:pt x="591" y="144"/>
                    <a:pt x="591" y="144"/>
                  </a:cubicBezTo>
                  <a:cubicBezTo>
                    <a:pt x="592" y="143"/>
                    <a:pt x="592" y="143"/>
                    <a:pt x="592" y="143"/>
                  </a:cubicBezTo>
                  <a:cubicBezTo>
                    <a:pt x="593" y="142"/>
                    <a:pt x="593" y="142"/>
                    <a:pt x="593" y="142"/>
                  </a:cubicBezTo>
                  <a:cubicBezTo>
                    <a:pt x="593" y="141"/>
                    <a:pt x="593" y="141"/>
                    <a:pt x="593" y="141"/>
                  </a:cubicBezTo>
                  <a:cubicBezTo>
                    <a:pt x="593" y="141"/>
                    <a:pt x="593" y="141"/>
                    <a:pt x="593" y="141"/>
                  </a:cubicBezTo>
                  <a:cubicBezTo>
                    <a:pt x="590" y="135"/>
                    <a:pt x="590" y="135"/>
                    <a:pt x="590" y="135"/>
                  </a:cubicBezTo>
                  <a:cubicBezTo>
                    <a:pt x="589" y="134"/>
                    <a:pt x="589" y="134"/>
                    <a:pt x="589" y="134"/>
                  </a:cubicBezTo>
                  <a:cubicBezTo>
                    <a:pt x="588" y="133"/>
                    <a:pt x="588" y="133"/>
                    <a:pt x="588" y="133"/>
                  </a:cubicBezTo>
                  <a:cubicBezTo>
                    <a:pt x="588" y="132"/>
                    <a:pt x="588" y="132"/>
                    <a:pt x="588" y="132"/>
                  </a:cubicBezTo>
                  <a:cubicBezTo>
                    <a:pt x="575" y="123"/>
                    <a:pt x="575" y="123"/>
                    <a:pt x="575" y="123"/>
                  </a:cubicBezTo>
                  <a:cubicBezTo>
                    <a:pt x="574" y="122"/>
                    <a:pt x="574" y="122"/>
                    <a:pt x="574" y="122"/>
                  </a:cubicBezTo>
                  <a:cubicBezTo>
                    <a:pt x="573" y="122"/>
                    <a:pt x="573" y="122"/>
                    <a:pt x="573" y="122"/>
                  </a:cubicBezTo>
                  <a:cubicBezTo>
                    <a:pt x="571" y="123"/>
                    <a:pt x="571" y="123"/>
                    <a:pt x="571" y="123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4" y="126"/>
                    <a:pt x="564" y="126"/>
                    <a:pt x="564" y="126"/>
                  </a:cubicBezTo>
                  <a:cubicBezTo>
                    <a:pt x="563" y="128"/>
                    <a:pt x="563" y="128"/>
                    <a:pt x="563" y="128"/>
                  </a:cubicBezTo>
                  <a:cubicBezTo>
                    <a:pt x="562" y="135"/>
                    <a:pt x="562" y="135"/>
                    <a:pt x="562" y="135"/>
                  </a:cubicBezTo>
                  <a:cubicBezTo>
                    <a:pt x="562" y="136"/>
                    <a:pt x="562" y="136"/>
                    <a:pt x="562" y="136"/>
                  </a:cubicBezTo>
                  <a:cubicBezTo>
                    <a:pt x="562" y="137"/>
                    <a:pt x="562" y="137"/>
                    <a:pt x="562" y="137"/>
                  </a:cubicBezTo>
                  <a:lnTo>
                    <a:pt x="580" y="160"/>
                  </a:lnTo>
                  <a:close/>
                  <a:moveTo>
                    <a:pt x="602" y="143"/>
                  </a:moveTo>
                  <a:cubicBezTo>
                    <a:pt x="600" y="146"/>
                    <a:pt x="600" y="146"/>
                    <a:pt x="600" y="146"/>
                  </a:cubicBezTo>
                  <a:cubicBezTo>
                    <a:pt x="599" y="147"/>
                    <a:pt x="599" y="147"/>
                    <a:pt x="599" y="147"/>
                  </a:cubicBezTo>
                  <a:cubicBezTo>
                    <a:pt x="600" y="149"/>
                    <a:pt x="600" y="149"/>
                    <a:pt x="600" y="149"/>
                  </a:cubicBezTo>
                  <a:cubicBezTo>
                    <a:pt x="600" y="150"/>
                    <a:pt x="600" y="150"/>
                    <a:pt x="600" y="150"/>
                  </a:cubicBezTo>
                  <a:cubicBezTo>
                    <a:pt x="602" y="151"/>
                    <a:pt x="602" y="151"/>
                    <a:pt x="602" y="151"/>
                  </a:cubicBezTo>
                  <a:cubicBezTo>
                    <a:pt x="604" y="151"/>
                    <a:pt x="604" y="151"/>
                    <a:pt x="604" y="151"/>
                  </a:cubicBezTo>
                  <a:cubicBezTo>
                    <a:pt x="608" y="151"/>
                    <a:pt x="608" y="151"/>
                    <a:pt x="608" y="151"/>
                  </a:cubicBezTo>
                  <a:cubicBezTo>
                    <a:pt x="608" y="150"/>
                    <a:pt x="608" y="150"/>
                    <a:pt x="608" y="150"/>
                  </a:cubicBezTo>
                  <a:cubicBezTo>
                    <a:pt x="608" y="147"/>
                    <a:pt x="608" y="147"/>
                    <a:pt x="608" y="147"/>
                  </a:cubicBezTo>
                  <a:cubicBezTo>
                    <a:pt x="609" y="144"/>
                    <a:pt x="609" y="144"/>
                    <a:pt x="609" y="144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09" y="141"/>
                    <a:pt x="609" y="141"/>
                    <a:pt x="609" y="141"/>
                  </a:cubicBezTo>
                  <a:cubicBezTo>
                    <a:pt x="608" y="141"/>
                    <a:pt x="608" y="141"/>
                    <a:pt x="608" y="141"/>
                  </a:cubicBezTo>
                  <a:lnTo>
                    <a:pt x="602" y="143"/>
                  </a:lnTo>
                  <a:close/>
                  <a:moveTo>
                    <a:pt x="656" y="54"/>
                  </a:moveTo>
                  <a:cubicBezTo>
                    <a:pt x="657" y="55"/>
                    <a:pt x="657" y="55"/>
                    <a:pt x="657" y="55"/>
                  </a:cubicBezTo>
                  <a:cubicBezTo>
                    <a:pt x="657" y="55"/>
                    <a:pt x="657" y="55"/>
                    <a:pt x="657" y="55"/>
                  </a:cubicBezTo>
                  <a:cubicBezTo>
                    <a:pt x="682" y="35"/>
                    <a:pt x="682" y="35"/>
                    <a:pt x="682" y="35"/>
                  </a:cubicBezTo>
                  <a:cubicBezTo>
                    <a:pt x="684" y="31"/>
                    <a:pt x="684" y="31"/>
                    <a:pt x="684" y="31"/>
                  </a:cubicBezTo>
                  <a:cubicBezTo>
                    <a:pt x="689" y="29"/>
                    <a:pt x="689" y="29"/>
                    <a:pt x="689" y="29"/>
                  </a:cubicBezTo>
                  <a:cubicBezTo>
                    <a:pt x="693" y="30"/>
                    <a:pt x="693" y="30"/>
                    <a:pt x="693" y="30"/>
                  </a:cubicBezTo>
                  <a:cubicBezTo>
                    <a:pt x="693" y="30"/>
                    <a:pt x="693" y="30"/>
                    <a:pt x="693" y="30"/>
                  </a:cubicBezTo>
                  <a:cubicBezTo>
                    <a:pt x="694" y="29"/>
                    <a:pt x="694" y="29"/>
                    <a:pt x="694" y="29"/>
                  </a:cubicBezTo>
                  <a:cubicBezTo>
                    <a:pt x="694" y="29"/>
                    <a:pt x="694" y="29"/>
                    <a:pt x="694" y="29"/>
                  </a:cubicBezTo>
                  <a:cubicBezTo>
                    <a:pt x="693" y="24"/>
                    <a:pt x="693" y="24"/>
                    <a:pt x="693" y="24"/>
                  </a:cubicBezTo>
                  <a:cubicBezTo>
                    <a:pt x="692" y="21"/>
                    <a:pt x="692" y="21"/>
                    <a:pt x="692" y="21"/>
                  </a:cubicBezTo>
                  <a:cubicBezTo>
                    <a:pt x="692" y="21"/>
                    <a:pt x="692" y="21"/>
                    <a:pt x="692" y="21"/>
                  </a:cubicBezTo>
                  <a:cubicBezTo>
                    <a:pt x="691" y="21"/>
                    <a:pt x="691" y="21"/>
                    <a:pt x="691" y="21"/>
                  </a:cubicBezTo>
                  <a:cubicBezTo>
                    <a:pt x="690" y="21"/>
                    <a:pt x="690" y="21"/>
                    <a:pt x="690" y="21"/>
                  </a:cubicBezTo>
                  <a:cubicBezTo>
                    <a:pt x="675" y="27"/>
                    <a:pt x="675" y="27"/>
                    <a:pt x="675" y="27"/>
                  </a:cubicBezTo>
                  <a:cubicBezTo>
                    <a:pt x="667" y="31"/>
                    <a:pt x="667" y="31"/>
                    <a:pt x="667" y="31"/>
                  </a:cubicBezTo>
                  <a:cubicBezTo>
                    <a:pt x="657" y="45"/>
                    <a:pt x="657" y="45"/>
                    <a:pt x="657" y="45"/>
                  </a:cubicBezTo>
                  <a:cubicBezTo>
                    <a:pt x="656" y="47"/>
                    <a:pt x="656" y="47"/>
                    <a:pt x="656" y="47"/>
                  </a:cubicBezTo>
                  <a:cubicBezTo>
                    <a:pt x="656" y="48"/>
                    <a:pt x="656" y="48"/>
                    <a:pt x="656" y="48"/>
                  </a:cubicBezTo>
                  <a:cubicBezTo>
                    <a:pt x="656" y="52"/>
                    <a:pt x="656" y="52"/>
                    <a:pt x="656" y="52"/>
                  </a:cubicBezTo>
                  <a:cubicBezTo>
                    <a:pt x="656" y="53"/>
                    <a:pt x="656" y="53"/>
                    <a:pt x="656" y="53"/>
                  </a:cubicBezTo>
                  <a:lnTo>
                    <a:pt x="656" y="54"/>
                  </a:lnTo>
                  <a:close/>
                  <a:moveTo>
                    <a:pt x="630" y="85"/>
                  </a:moveTo>
                  <a:cubicBezTo>
                    <a:pt x="628" y="87"/>
                    <a:pt x="628" y="87"/>
                    <a:pt x="628" y="87"/>
                  </a:cubicBezTo>
                  <a:cubicBezTo>
                    <a:pt x="626" y="93"/>
                    <a:pt x="626" y="93"/>
                    <a:pt x="626" y="93"/>
                  </a:cubicBezTo>
                  <a:cubicBezTo>
                    <a:pt x="626" y="94"/>
                    <a:pt x="626" y="94"/>
                    <a:pt x="626" y="94"/>
                  </a:cubicBezTo>
                  <a:cubicBezTo>
                    <a:pt x="627" y="95"/>
                    <a:pt x="627" y="95"/>
                    <a:pt x="627" y="95"/>
                  </a:cubicBezTo>
                  <a:cubicBezTo>
                    <a:pt x="628" y="95"/>
                    <a:pt x="628" y="95"/>
                    <a:pt x="628" y="95"/>
                  </a:cubicBezTo>
                  <a:cubicBezTo>
                    <a:pt x="638" y="96"/>
                    <a:pt x="638" y="96"/>
                    <a:pt x="638" y="96"/>
                  </a:cubicBezTo>
                  <a:cubicBezTo>
                    <a:pt x="642" y="91"/>
                    <a:pt x="642" y="91"/>
                    <a:pt x="642" y="91"/>
                  </a:cubicBezTo>
                  <a:cubicBezTo>
                    <a:pt x="642" y="82"/>
                    <a:pt x="642" y="82"/>
                    <a:pt x="642" y="82"/>
                  </a:cubicBezTo>
                  <a:cubicBezTo>
                    <a:pt x="642" y="81"/>
                    <a:pt x="642" y="81"/>
                    <a:pt x="642" y="81"/>
                  </a:cubicBezTo>
                  <a:cubicBezTo>
                    <a:pt x="642" y="81"/>
                    <a:pt x="642" y="81"/>
                    <a:pt x="642" y="81"/>
                  </a:cubicBezTo>
                  <a:cubicBezTo>
                    <a:pt x="640" y="81"/>
                    <a:pt x="640" y="81"/>
                    <a:pt x="640" y="81"/>
                  </a:cubicBezTo>
                  <a:cubicBezTo>
                    <a:pt x="630" y="84"/>
                    <a:pt x="630" y="84"/>
                    <a:pt x="630" y="84"/>
                  </a:cubicBezTo>
                  <a:lnTo>
                    <a:pt x="630" y="85"/>
                  </a:lnTo>
                  <a:close/>
                  <a:moveTo>
                    <a:pt x="648" y="66"/>
                  </a:moveTo>
                  <a:cubicBezTo>
                    <a:pt x="650" y="65"/>
                    <a:pt x="650" y="65"/>
                    <a:pt x="650" y="65"/>
                  </a:cubicBezTo>
                  <a:cubicBezTo>
                    <a:pt x="650" y="64"/>
                    <a:pt x="650" y="64"/>
                    <a:pt x="650" y="64"/>
                  </a:cubicBezTo>
                  <a:cubicBezTo>
                    <a:pt x="651" y="63"/>
                    <a:pt x="651" y="63"/>
                    <a:pt x="651" y="63"/>
                  </a:cubicBezTo>
                  <a:cubicBezTo>
                    <a:pt x="650" y="63"/>
                    <a:pt x="650" y="63"/>
                    <a:pt x="650" y="63"/>
                  </a:cubicBezTo>
                  <a:cubicBezTo>
                    <a:pt x="648" y="62"/>
                    <a:pt x="648" y="62"/>
                    <a:pt x="648" y="62"/>
                  </a:cubicBezTo>
                  <a:cubicBezTo>
                    <a:pt x="647" y="61"/>
                    <a:pt x="647" y="61"/>
                    <a:pt x="647" y="61"/>
                  </a:cubicBezTo>
                  <a:cubicBezTo>
                    <a:pt x="647" y="61"/>
                    <a:pt x="647" y="61"/>
                    <a:pt x="647" y="61"/>
                  </a:cubicBezTo>
                  <a:cubicBezTo>
                    <a:pt x="647" y="54"/>
                    <a:pt x="647" y="54"/>
                    <a:pt x="647" y="54"/>
                  </a:cubicBezTo>
                  <a:cubicBezTo>
                    <a:pt x="647" y="54"/>
                    <a:pt x="647" y="54"/>
                    <a:pt x="647" y="54"/>
                  </a:cubicBezTo>
                  <a:cubicBezTo>
                    <a:pt x="649" y="49"/>
                    <a:pt x="649" y="49"/>
                    <a:pt x="649" y="49"/>
                  </a:cubicBezTo>
                  <a:cubicBezTo>
                    <a:pt x="651" y="47"/>
                    <a:pt x="651" y="47"/>
                    <a:pt x="651" y="47"/>
                  </a:cubicBezTo>
                  <a:cubicBezTo>
                    <a:pt x="651" y="45"/>
                    <a:pt x="651" y="45"/>
                    <a:pt x="651" y="45"/>
                  </a:cubicBezTo>
                  <a:cubicBezTo>
                    <a:pt x="650" y="44"/>
                    <a:pt x="650" y="44"/>
                    <a:pt x="650" y="44"/>
                  </a:cubicBezTo>
                  <a:cubicBezTo>
                    <a:pt x="650" y="43"/>
                    <a:pt x="650" y="43"/>
                    <a:pt x="650" y="43"/>
                  </a:cubicBezTo>
                  <a:cubicBezTo>
                    <a:pt x="647" y="39"/>
                    <a:pt x="647" y="39"/>
                    <a:pt x="647" y="39"/>
                  </a:cubicBezTo>
                  <a:cubicBezTo>
                    <a:pt x="646" y="38"/>
                    <a:pt x="646" y="38"/>
                    <a:pt x="646" y="38"/>
                  </a:cubicBezTo>
                  <a:cubicBezTo>
                    <a:pt x="645" y="39"/>
                    <a:pt x="645" y="39"/>
                    <a:pt x="645" y="39"/>
                  </a:cubicBezTo>
                  <a:cubicBezTo>
                    <a:pt x="643" y="40"/>
                    <a:pt x="643" y="40"/>
                    <a:pt x="643" y="40"/>
                  </a:cubicBezTo>
                  <a:cubicBezTo>
                    <a:pt x="642" y="40"/>
                    <a:pt x="642" y="40"/>
                    <a:pt x="642" y="40"/>
                  </a:cubicBezTo>
                  <a:cubicBezTo>
                    <a:pt x="642" y="44"/>
                    <a:pt x="642" y="44"/>
                    <a:pt x="642" y="44"/>
                  </a:cubicBezTo>
                  <a:cubicBezTo>
                    <a:pt x="642" y="61"/>
                    <a:pt x="642" y="61"/>
                    <a:pt x="642" y="61"/>
                  </a:cubicBezTo>
                  <a:cubicBezTo>
                    <a:pt x="644" y="67"/>
                    <a:pt x="644" y="67"/>
                    <a:pt x="644" y="67"/>
                  </a:cubicBezTo>
                  <a:lnTo>
                    <a:pt x="648" y="66"/>
                  </a:lnTo>
                  <a:close/>
                  <a:moveTo>
                    <a:pt x="627" y="21"/>
                  </a:moveTo>
                  <a:cubicBezTo>
                    <a:pt x="629" y="21"/>
                    <a:pt x="629" y="21"/>
                    <a:pt x="629" y="21"/>
                  </a:cubicBezTo>
                  <a:cubicBezTo>
                    <a:pt x="630" y="20"/>
                    <a:pt x="630" y="20"/>
                    <a:pt x="630" y="20"/>
                  </a:cubicBezTo>
                  <a:cubicBezTo>
                    <a:pt x="631" y="19"/>
                    <a:pt x="631" y="19"/>
                    <a:pt x="631" y="19"/>
                  </a:cubicBezTo>
                  <a:cubicBezTo>
                    <a:pt x="630" y="16"/>
                    <a:pt x="630" y="16"/>
                    <a:pt x="630" y="16"/>
                  </a:cubicBezTo>
                  <a:cubicBezTo>
                    <a:pt x="630" y="12"/>
                    <a:pt x="630" y="12"/>
                    <a:pt x="630" y="12"/>
                  </a:cubicBezTo>
                  <a:cubicBezTo>
                    <a:pt x="630" y="11"/>
                    <a:pt x="630" y="11"/>
                    <a:pt x="630" y="11"/>
                  </a:cubicBezTo>
                  <a:cubicBezTo>
                    <a:pt x="631" y="9"/>
                    <a:pt x="631" y="9"/>
                    <a:pt x="631" y="9"/>
                  </a:cubicBezTo>
                  <a:cubicBezTo>
                    <a:pt x="631" y="8"/>
                    <a:pt x="631" y="8"/>
                    <a:pt x="631" y="8"/>
                  </a:cubicBezTo>
                  <a:cubicBezTo>
                    <a:pt x="631" y="8"/>
                    <a:pt x="631" y="8"/>
                    <a:pt x="631" y="8"/>
                  </a:cubicBezTo>
                  <a:cubicBezTo>
                    <a:pt x="630" y="6"/>
                    <a:pt x="630" y="6"/>
                    <a:pt x="630" y="6"/>
                  </a:cubicBezTo>
                  <a:cubicBezTo>
                    <a:pt x="629" y="6"/>
                    <a:pt x="629" y="6"/>
                    <a:pt x="629" y="6"/>
                  </a:cubicBezTo>
                  <a:cubicBezTo>
                    <a:pt x="628" y="6"/>
                    <a:pt x="628" y="6"/>
                    <a:pt x="628" y="6"/>
                  </a:cubicBezTo>
                  <a:cubicBezTo>
                    <a:pt x="628" y="7"/>
                    <a:pt x="628" y="7"/>
                    <a:pt x="628" y="7"/>
                  </a:cubicBezTo>
                  <a:cubicBezTo>
                    <a:pt x="626" y="14"/>
                    <a:pt x="626" y="14"/>
                    <a:pt x="626" y="14"/>
                  </a:cubicBezTo>
                  <a:cubicBezTo>
                    <a:pt x="626" y="15"/>
                    <a:pt x="626" y="15"/>
                    <a:pt x="626" y="15"/>
                  </a:cubicBezTo>
                  <a:cubicBezTo>
                    <a:pt x="626" y="17"/>
                    <a:pt x="626" y="17"/>
                    <a:pt x="626" y="17"/>
                  </a:cubicBezTo>
                  <a:cubicBezTo>
                    <a:pt x="626" y="18"/>
                    <a:pt x="626" y="18"/>
                    <a:pt x="626" y="18"/>
                  </a:cubicBezTo>
                  <a:lnTo>
                    <a:pt x="627" y="21"/>
                  </a:lnTo>
                  <a:close/>
                  <a:moveTo>
                    <a:pt x="628" y="63"/>
                  </a:moveTo>
                  <a:cubicBezTo>
                    <a:pt x="628" y="63"/>
                    <a:pt x="628" y="63"/>
                    <a:pt x="628" y="63"/>
                  </a:cubicBezTo>
                  <a:cubicBezTo>
                    <a:pt x="627" y="61"/>
                    <a:pt x="627" y="61"/>
                    <a:pt x="627" y="61"/>
                  </a:cubicBezTo>
                  <a:cubicBezTo>
                    <a:pt x="627" y="61"/>
                    <a:pt x="627" y="61"/>
                    <a:pt x="627" y="61"/>
                  </a:cubicBezTo>
                  <a:cubicBezTo>
                    <a:pt x="624" y="61"/>
                    <a:pt x="624" y="61"/>
                    <a:pt x="624" y="61"/>
                  </a:cubicBezTo>
                  <a:cubicBezTo>
                    <a:pt x="623" y="62"/>
                    <a:pt x="623" y="62"/>
                    <a:pt x="623" y="62"/>
                  </a:cubicBezTo>
                  <a:cubicBezTo>
                    <a:pt x="623" y="64"/>
                    <a:pt x="623" y="64"/>
                    <a:pt x="623" y="64"/>
                  </a:cubicBezTo>
                  <a:cubicBezTo>
                    <a:pt x="623" y="66"/>
                    <a:pt x="623" y="66"/>
                    <a:pt x="623" y="66"/>
                  </a:cubicBezTo>
                  <a:cubicBezTo>
                    <a:pt x="624" y="69"/>
                    <a:pt x="624" y="69"/>
                    <a:pt x="624" y="69"/>
                  </a:cubicBezTo>
                  <a:cubicBezTo>
                    <a:pt x="625" y="71"/>
                    <a:pt x="625" y="71"/>
                    <a:pt x="625" y="71"/>
                  </a:cubicBezTo>
                  <a:cubicBezTo>
                    <a:pt x="626" y="71"/>
                    <a:pt x="626" y="71"/>
                    <a:pt x="626" y="71"/>
                  </a:cubicBezTo>
                  <a:cubicBezTo>
                    <a:pt x="626" y="70"/>
                    <a:pt x="626" y="70"/>
                    <a:pt x="626" y="70"/>
                  </a:cubicBezTo>
                  <a:cubicBezTo>
                    <a:pt x="628" y="64"/>
                    <a:pt x="628" y="64"/>
                    <a:pt x="628" y="64"/>
                  </a:cubicBezTo>
                  <a:lnTo>
                    <a:pt x="628" y="63"/>
                  </a:lnTo>
                  <a:close/>
                  <a:moveTo>
                    <a:pt x="572" y="110"/>
                  </a:moveTo>
                  <a:cubicBezTo>
                    <a:pt x="572" y="112"/>
                    <a:pt x="572" y="112"/>
                    <a:pt x="572" y="112"/>
                  </a:cubicBezTo>
                  <a:cubicBezTo>
                    <a:pt x="577" y="117"/>
                    <a:pt x="577" y="117"/>
                    <a:pt x="577" y="117"/>
                  </a:cubicBezTo>
                  <a:cubicBezTo>
                    <a:pt x="578" y="117"/>
                    <a:pt x="578" y="117"/>
                    <a:pt x="578" y="117"/>
                  </a:cubicBezTo>
                  <a:cubicBezTo>
                    <a:pt x="593" y="126"/>
                    <a:pt x="593" y="126"/>
                    <a:pt x="593" y="126"/>
                  </a:cubicBezTo>
                  <a:cubicBezTo>
                    <a:pt x="595" y="126"/>
                    <a:pt x="595" y="126"/>
                    <a:pt x="595" y="126"/>
                  </a:cubicBezTo>
                  <a:cubicBezTo>
                    <a:pt x="602" y="124"/>
                    <a:pt x="602" y="124"/>
                    <a:pt x="602" y="124"/>
                  </a:cubicBezTo>
                  <a:cubicBezTo>
                    <a:pt x="617" y="117"/>
                    <a:pt x="617" y="117"/>
                    <a:pt x="617" y="117"/>
                  </a:cubicBezTo>
                  <a:cubicBezTo>
                    <a:pt x="624" y="120"/>
                    <a:pt x="624" y="120"/>
                    <a:pt x="624" y="120"/>
                  </a:cubicBezTo>
                  <a:cubicBezTo>
                    <a:pt x="624" y="122"/>
                    <a:pt x="624" y="122"/>
                    <a:pt x="624" y="122"/>
                  </a:cubicBezTo>
                  <a:cubicBezTo>
                    <a:pt x="629" y="130"/>
                    <a:pt x="629" y="130"/>
                    <a:pt x="629" y="130"/>
                  </a:cubicBezTo>
                  <a:cubicBezTo>
                    <a:pt x="630" y="130"/>
                    <a:pt x="630" y="130"/>
                    <a:pt x="630" y="130"/>
                  </a:cubicBezTo>
                  <a:cubicBezTo>
                    <a:pt x="641" y="133"/>
                    <a:pt x="641" y="133"/>
                    <a:pt x="641" y="133"/>
                  </a:cubicBezTo>
                  <a:cubicBezTo>
                    <a:pt x="642" y="133"/>
                    <a:pt x="642" y="133"/>
                    <a:pt x="642" y="133"/>
                  </a:cubicBezTo>
                  <a:cubicBezTo>
                    <a:pt x="642" y="133"/>
                    <a:pt x="642" y="133"/>
                    <a:pt x="642" y="133"/>
                  </a:cubicBezTo>
                  <a:cubicBezTo>
                    <a:pt x="656" y="117"/>
                    <a:pt x="656" y="117"/>
                    <a:pt x="656" y="117"/>
                  </a:cubicBezTo>
                  <a:cubicBezTo>
                    <a:pt x="658" y="112"/>
                    <a:pt x="658" y="112"/>
                    <a:pt x="658" y="112"/>
                  </a:cubicBezTo>
                  <a:cubicBezTo>
                    <a:pt x="654" y="112"/>
                    <a:pt x="654" y="112"/>
                    <a:pt x="654" y="112"/>
                  </a:cubicBezTo>
                  <a:cubicBezTo>
                    <a:pt x="651" y="111"/>
                    <a:pt x="651" y="111"/>
                    <a:pt x="651" y="111"/>
                  </a:cubicBezTo>
                  <a:cubicBezTo>
                    <a:pt x="629" y="106"/>
                    <a:pt x="629" y="106"/>
                    <a:pt x="629" y="106"/>
                  </a:cubicBezTo>
                  <a:cubicBezTo>
                    <a:pt x="617" y="100"/>
                    <a:pt x="617" y="100"/>
                    <a:pt x="617" y="100"/>
                  </a:cubicBezTo>
                  <a:cubicBezTo>
                    <a:pt x="616" y="99"/>
                    <a:pt x="616" y="99"/>
                    <a:pt x="616" y="99"/>
                  </a:cubicBezTo>
                  <a:cubicBezTo>
                    <a:pt x="614" y="100"/>
                    <a:pt x="614" y="100"/>
                    <a:pt x="614" y="100"/>
                  </a:cubicBezTo>
                  <a:cubicBezTo>
                    <a:pt x="612" y="101"/>
                    <a:pt x="612" y="101"/>
                    <a:pt x="612" y="101"/>
                  </a:cubicBezTo>
                  <a:cubicBezTo>
                    <a:pt x="612" y="102"/>
                    <a:pt x="612" y="102"/>
                    <a:pt x="612" y="102"/>
                  </a:cubicBezTo>
                  <a:cubicBezTo>
                    <a:pt x="612" y="105"/>
                    <a:pt x="612" y="105"/>
                    <a:pt x="612" y="105"/>
                  </a:cubicBezTo>
                  <a:cubicBezTo>
                    <a:pt x="611" y="106"/>
                    <a:pt x="611" y="106"/>
                    <a:pt x="611" y="106"/>
                  </a:cubicBezTo>
                  <a:cubicBezTo>
                    <a:pt x="610" y="107"/>
                    <a:pt x="610" y="107"/>
                    <a:pt x="610" y="107"/>
                  </a:cubicBezTo>
                  <a:cubicBezTo>
                    <a:pt x="608" y="107"/>
                    <a:pt x="608" y="107"/>
                    <a:pt x="608" y="107"/>
                  </a:cubicBezTo>
                  <a:cubicBezTo>
                    <a:pt x="601" y="104"/>
                    <a:pt x="601" y="104"/>
                    <a:pt x="601" y="104"/>
                  </a:cubicBezTo>
                  <a:cubicBezTo>
                    <a:pt x="600" y="103"/>
                    <a:pt x="600" y="103"/>
                    <a:pt x="600" y="103"/>
                  </a:cubicBezTo>
                  <a:cubicBezTo>
                    <a:pt x="609" y="94"/>
                    <a:pt x="609" y="94"/>
                    <a:pt x="609" y="94"/>
                  </a:cubicBezTo>
                  <a:cubicBezTo>
                    <a:pt x="612" y="92"/>
                    <a:pt x="612" y="92"/>
                    <a:pt x="612" y="92"/>
                  </a:cubicBezTo>
                  <a:cubicBezTo>
                    <a:pt x="614" y="91"/>
                    <a:pt x="614" y="91"/>
                    <a:pt x="614" y="91"/>
                  </a:cubicBezTo>
                  <a:cubicBezTo>
                    <a:pt x="617" y="89"/>
                    <a:pt x="617" y="89"/>
                    <a:pt x="617" y="89"/>
                  </a:cubicBezTo>
                  <a:cubicBezTo>
                    <a:pt x="617" y="86"/>
                    <a:pt x="617" y="86"/>
                    <a:pt x="617" y="86"/>
                  </a:cubicBezTo>
                  <a:cubicBezTo>
                    <a:pt x="607" y="73"/>
                    <a:pt x="607" y="73"/>
                    <a:pt x="607" y="73"/>
                  </a:cubicBezTo>
                  <a:cubicBezTo>
                    <a:pt x="606" y="72"/>
                    <a:pt x="606" y="72"/>
                    <a:pt x="606" y="72"/>
                  </a:cubicBezTo>
                  <a:cubicBezTo>
                    <a:pt x="590" y="66"/>
                    <a:pt x="590" y="66"/>
                    <a:pt x="590" y="66"/>
                  </a:cubicBezTo>
                  <a:cubicBezTo>
                    <a:pt x="587" y="66"/>
                    <a:pt x="587" y="66"/>
                    <a:pt x="587" y="66"/>
                  </a:cubicBezTo>
                  <a:cubicBezTo>
                    <a:pt x="583" y="67"/>
                    <a:pt x="583" y="67"/>
                    <a:pt x="583" y="67"/>
                  </a:cubicBezTo>
                  <a:cubicBezTo>
                    <a:pt x="575" y="71"/>
                    <a:pt x="575" y="71"/>
                    <a:pt x="575" y="71"/>
                  </a:cubicBezTo>
                  <a:cubicBezTo>
                    <a:pt x="571" y="76"/>
                    <a:pt x="571" y="76"/>
                    <a:pt x="571" y="76"/>
                  </a:cubicBezTo>
                  <a:cubicBezTo>
                    <a:pt x="569" y="101"/>
                    <a:pt x="569" y="101"/>
                    <a:pt x="569" y="101"/>
                  </a:cubicBezTo>
                  <a:cubicBezTo>
                    <a:pt x="569" y="101"/>
                    <a:pt x="569" y="101"/>
                    <a:pt x="569" y="101"/>
                  </a:cubicBezTo>
                  <a:cubicBezTo>
                    <a:pt x="570" y="106"/>
                    <a:pt x="570" y="106"/>
                    <a:pt x="570" y="106"/>
                  </a:cubicBezTo>
                  <a:lnTo>
                    <a:pt x="572" y="110"/>
                  </a:lnTo>
                  <a:close/>
                  <a:moveTo>
                    <a:pt x="35" y="471"/>
                  </a:moveTo>
                  <a:cubicBezTo>
                    <a:pt x="33" y="470"/>
                    <a:pt x="33" y="470"/>
                    <a:pt x="33" y="470"/>
                  </a:cubicBezTo>
                  <a:cubicBezTo>
                    <a:pt x="33" y="470"/>
                    <a:pt x="33" y="470"/>
                    <a:pt x="33" y="470"/>
                  </a:cubicBezTo>
                  <a:cubicBezTo>
                    <a:pt x="29" y="471"/>
                    <a:pt x="29" y="471"/>
                    <a:pt x="29" y="471"/>
                  </a:cubicBezTo>
                  <a:cubicBezTo>
                    <a:pt x="29" y="471"/>
                    <a:pt x="29" y="471"/>
                    <a:pt x="29" y="471"/>
                  </a:cubicBezTo>
                  <a:cubicBezTo>
                    <a:pt x="29" y="472"/>
                    <a:pt x="29" y="472"/>
                    <a:pt x="29" y="472"/>
                  </a:cubicBezTo>
                  <a:cubicBezTo>
                    <a:pt x="32" y="480"/>
                    <a:pt x="32" y="480"/>
                    <a:pt x="32" y="480"/>
                  </a:cubicBezTo>
                  <a:cubicBezTo>
                    <a:pt x="32" y="481"/>
                    <a:pt x="32" y="481"/>
                    <a:pt x="32" y="481"/>
                  </a:cubicBezTo>
                  <a:cubicBezTo>
                    <a:pt x="34" y="481"/>
                    <a:pt x="34" y="481"/>
                    <a:pt x="34" y="481"/>
                  </a:cubicBezTo>
                  <a:cubicBezTo>
                    <a:pt x="35" y="481"/>
                    <a:pt x="35" y="481"/>
                    <a:pt x="35" y="481"/>
                  </a:cubicBezTo>
                  <a:cubicBezTo>
                    <a:pt x="36" y="479"/>
                    <a:pt x="36" y="479"/>
                    <a:pt x="36" y="479"/>
                  </a:cubicBezTo>
                  <a:cubicBezTo>
                    <a:pt x="36" y="475"/>
                    <a:pt x="36" y="475"/>
                    <a:pt x="36" y="475"/>
                  </a:cubicBezTo>
                  <a:cubicBezTo>
                    <a:pt x="36" y="474"/>
                    <a:pt x="36" y="474"/>
                    <a:pt x="36" y="474"/>
                  </a:cubicBezTo>
                  <a:cubicBezTo>
                    <a:pt x="36" y="473"/>
                    <a:pt x="36" y="473"/>
                    <a:pt x="36" y="473"/>
                  </a:cubicBezTo>
                  <a:lnTo>
                    <a:pt x="35" y="471"/>
                  </a:lnTo>
                  <a:close/>
                  <a:moveTo>
                    <a:pt x="602" y="65"/>
                  </a:moveTo>
                  <a:cubicBezTo>
                    <a:pt x="605" y="68"/>
                    <a:pt x="605" y="68"/>
                    <a:pt x="605" y="68"/>
                  </a:cubicBezTo>
                  <a:cubicBezTo>
                    <a:pt x="607" y="69"/>
                    <a:pt x="607" y="69"/>
                    <a:pt x="607" y="69"/>
                  </a:cubicBezTo>
                  <a:cubicBezTo>
                    <a:pt x="608" y="70"/>
                    <a:pt x="608" y="70"/>
                    <a:pt x="608" y="70"/>
                  </a:cubicBezTo>
                  <a:cubicBezTo>
                    <a:pt x="609" y="71"/>
                    <a:pt x="609" y="71"/>
                    <a:pt x="609" y="71"/>
                  </a:cubicBezTo>
                  <a:cubicBezTo>
                    <a:pt x="610" y="72"/>
                    <a:pt x="610" y="72"/>
                    <a:pt x="610" y="72"/>
                  </a:cubicBezTo>
                  <a:cubicBezTo>
                    <a:pt x="615" y="72"/>
                    <a:pt x="615" y="72"/>
                    <a:pt x="615" y="72"/>
                  </a:cubicBezTo>
                  <a:cubicBezTo>
                    <a:pt x="616" y="71"/>
                    <a:pt x="616" y="71"/>
                    <a:pt x="616" y="71"/>
                  </a:cubicBezTo>
                  <a:cubicBezTo>
                    <a:pt x="618" y="71"/>
                    <a:pt x="618" y="71"/>
                    <a:pt x="618" y="71"/>
                  </a:cubicBezTo>
                  <a:cubicBezTo>
                    <a:pt x="620" y="69"/>
                    <a:pt x="620" y="69"/>
                    <a:pt x="620" y="69"/>
                  </a:cubicBezTo>
                  <a:cubicBezTo>
                    <a:pt x="620" y="69"/>
                    <a:pt x="620" y="69"/>
                    <a:pt x="620" y="69"/>
                  </a:cubicBezTo>
                  <a:cubicBezTo>
                    <a:pt x="621" y="60"/>
                    <a:pt x="621" y="60"/>
                    <a:pt x="621" y="60"/>
                  </a:cubicBezTo>
                  <a:cubicBezTo>
                    <a:pt x="622" y="59"/>
                    <a:pt x="622" y="59"/>
                    <a:pt x="622" y="59"/>
                  </a:cubicBezTo>
                  <a:cubicBezTo>
                    <a:pt x="622" y="59"/>
                    <a:pt x="622" y="59"/>
                    <a:pt x="622" y="59"/>
                  </a:cubicBezTo>
                  <a:cubicBezTo>
                    <a:pt x="622" y="58"/>
                    <a:pt x="622" y="58"/>
                    <a:pt x="622" y="58"/>
                  </a:cubicBezTo>
                  <a:cubicBezTo>
                    <a:pt x="619" y="55"/>
                    <a:pt x="619" y="55"/>
                    <a:pt x="619" y="55"/>
                  </a:cubicBezTo>
                  <a:cubicBezTo>
                    <a:pt x="608" y="52"/>
                    <a:pt x="608" y="52"/>
                    <a:pt x="608" y="52"/>
                  </a:cubicBezTo>
                  <a:cubicBezTo>
                    <a:pt x="606" y="52"/>
                    <a:pt x="606" y="52"/>
                    <a:pt x="606" y="52"/>
                  </a:cubicBezTo>
                  <a:cubicBezTo>
                    <a:pt x="606" y="53"/>
                    <a:pt x="606" y="53"/>
                    <a:pt x="606" y="53"/>
                  </a:cubicBezTo>
                  <a:cubicBezTo>
                    <a:pt x="600" y="59"/>
                    <a:pt x="600" y="59"/>
                    <a:pt x="600" y="59"/>
                  </a:cubicBezTo>
                  <a:cubicBezTo>
                    <a:pt x="600" y="60"/>
                    <a:pt x="600" y="60"/>
                    <a:pt x="600" y="60"/>
                  </a:cubicBezTo>
                  <a:cubicBezTo>
                    <a:pt x="600" y="62"/>
                    <a:pt x="600" y="62"/>
                    <a:pt x="600" y="62"/>
                  </a:cubicBezTo>
                  <a:cubicBezTo>
                    <a:pt x="601" y="64"/>
                    <a:pt x="601" y="64"/>
                    <a:pt x="601" y="64"/>
                  </a:cubicBezTo>
                  <a:lnTo>
                    <a:pt x="602" y="65"/>
                  </a:lnTo>
                  <a:close/>
                  <a:moveTo>
                    <a:pt x="57" y="415"/>
                  </a:moveTo>
                  <a:cubicBezTo>
                    <a:pt x="58" y="413"/>
                    <a:pt x="58" y="413"/>
                    <a:pt x="58" y="413"/>
                  </a:cubicBezTo>
                  <a:cubicBezTo>
                    <a:pt x="57" y="412"/>
                    <a:pt x="57" y="412"/>
                    <a:pt x="57" y="412"/>
                  </a:cubicBezTo>
                  <a:cubicBezTo>
                    <a:pt x="56" y="411"/>
                    <a:pt x="56" y="411"/>
                    <a:pt x="56" y="411"/>
                  </a:cubicBezTo>
                  <a:cubicBezTo>
                    <a:pt x="56" y="411"/>
                    <a:pt x="56" y="411"/>
                    <a:pt x="56" y="411"/>
                  </a:cubicBezTo>
                  <a:cubicBezTo>
                    <a:pt x="55" y="410"/>
                    <a:pt x="55" y="410"/>
                    <a:pt x="55" y="410"/>
                  </a:cubicBezTo>
                  <a:cubicBezTo>
                    <a:pt x="54" y="410"/>
                    <a:pt x="54" y="410"/>
                    <a:pt x="54" y="410"/>
                  </a:cubicBezTo>
                  <a:cubicBezTo>
                    <a:pt x="53" y="411"/>
                    <a:pt x="53" y="411"/>
                    <a:pt x="53" y="411"/>
                  </a:cubicBezTo>
                  <a:cubicBezTo>
                    <a:pt x="50" y="412"/>
                    <a:pt x="50" y="412"/>
                    <a:pt x="50" y="412"/>
                  </a:cubicBezTo>
                  <a:cubicBezTo>
                    <a:pt x="49" y="413"/>
                    <a:pt x="49" y="413"/>
                    <a:pt x="49" y="413"/>
                  </a:cubicBezTo>
                  <a:cubicBezTo>
                    <a:pt x="49" y="415"/>
                    <a:pt x="49" y="415"/>
                    <a:pt x="49" y="415"/>
                  </a:cubicBezTo>
                  <a:cubicBezTo>
                    <a:pt x="49" y="415"/>
                    <a:pt x="49" y="415"/>
                    <a:pt x="49" y="415"/>
                  </a:cubicBezTo>
                  <a:cubicBezTo>
                    <a:pt x="53" y="416"/>
                    <a:pt x="53" y="416"/>
                    <a:pt x="53" y="416"/>
                  </a:cubicBezTo>
                  <a:lnTo>
                    <a:pt x="57" y="415"/>
                  </a:lnTo>
                  <a:close/>
                  <a:moveTo>
                    <a:pt x="54" y="429"/>
                  </a:moveTo>
                  <a:cubicBezTo>
                    <a:pt x="54" y="430"/>
                    <a:pt x="54" y="430"/>
                    <a:pt x="54" y="430"/>
                  </a:cubicBezTo>
                  <a:cubicBezTo>
                    <a:pt x="55" y="430"/>
                    <a:pt x="55" y="430"/>
                    <a:pt x="55" y="430"/>
                  </a:cubicBezTo>
                  <a:cubicBezTo>
                    <a:pt x="57" y="430"/>
                    <a:pt x="57" y="430"/>
                    <a:pt x="57" y="430"/>
                  </a:cubicBezTo>
                  <a:cubicBezTo>
                    <a:pt x="60" y="430"/>
                    <a:pt x="60" y="430"/>
                    <a:pt x="60" y="430"/>
                  </a:cubicBezTo>
                  <a:cubicBezTo>
                    <a:pt x="63" y="427"/>
                    <a:pt x="63" y="427"/>
                    <a:pt x="63" y="427"/>
                  </a:cubicBezTo>
                  <a:cubicBezTo>
                    <a:pt x="64" y="426"/>
                    <a:pt x="64" y="426"/>
                    <a:pt x="64" y="426"/>
                  </a:cubicBezTo>
                  <a:cubicBezTo>
                    <a:pt x="64" y="424"/>
                    <a:pt x="64" y="424"/>
                    <a:pt x="64" y="424"/>
                  </a:cubicBezTo>
                  <a:cubicBezTo>
                    <a:pt x="65" y="424"/>
                    <a:pt x="65" y="424"/>
                    <a:pt x="65" y="424"/>
                  </a:cubicBezTo>
                  <a:cubicBezTo>
                    <a:pt x="65" y="424"/>
                    <a:pt x="65" y="424"/>
                    <a:pt x="65" y="424"/>
                  </a:cubicBezTo>
                  <a:cubicBezTo>
                    <a:pt x="65" y="423"/>
                    <a:pt x="65" y="423"/>
                    <a:pt x="65" y="423"/>
                  </a:cubicBezTo>
                  <a:cubicBezTo>
                    <a:pt x="64" y="422"/>
                    <a:pt x="64" y="422"/>
                    <a:pt x="64" y="422"/>
                  </a:cubicBezTo>
                  <a:cubicBezTo>
                    <a:pt x="64" y="422"/>
                    <a:pt x="64" y="422"/>
                    <a:pt x="64" y="422"/>
                  </a:cubicBezTo>
                  <a:cubicBezTo>
                    <a:pt x="59" y="422"/>
                    <a:pt x="59" y="422"/>
                    <a:pt x="59" y="422"/>
                  </a:cubicBezTo>
                  <a:cubicBezTo>
                    <a:pt x="58" y="422"/>
                    <a:pt x="58" y="422"/>
                    <a:pt x="58" y="422"/>
                  </a:cubicBezTo>
                  <a:cubicBezTo>
                    <a:pt x="57" y="423"/>
                    <a:pt x="57" y="423"/>
                    <a:pt x="57" y="423"/>
                  </a:cubicBezTo>
                  <a:lnTo>
                    <a:pt x="54" y="429"/>
                  </a:lnTo>
                  <a:close/>
                  <a:moveTo>
                    <a:pt x="64" y="352"/>
                  </a:moveTo>
                  <a:cubicBezTo>
                    <a:pt x="64" y="353"/>
                    <a:pt x="64" y="353"/>
                    <a:pt x="64" y="353"/>
                  </a:cubicBezTo>
                  <a:cubicBezTo>
                    <a:pt x="69" y="354"/>
                    <a:pt x="69" y="354"/>
                    <a:pt x="69" y="354"/>
                  </a:cubicBezTo>
                  <a:cubicBezTo>
                    <a:pt x="71" y="354"/>
                    <a:pt x="71" y="354"/>
                    <a:pt x="71" y="354"/>
                  </a:cubicBezTo>
                  <a:cubicBezTo>
                    <a:pt x="72" y="353"/>
                    <a:pt x="72" y="353"/>
                    <a:pt x="72" y="353"/>
                  </a:cubicBezTo>
                  <a:cubicBezTo>
                    <a:pt x="73" y="353"/>
                    <a:pt x="73" y="353"/>
                    <a:pt x="73" y="353"/>
                  </a:cubicBezTo>
                  <a:cubicBezTo>
                    <a:pt x="73" y="352"/>
                    <a:pt x="73" y="352"/>
                    <a:pt x="73" y="352"/>
                  </a:cubicBezTo>
                  <a:cubicBezTo>
                    <a:pt x="72" y="348"/>
                    <a:pt x="72" y="348"/>
                    <a:pt x="72" y="348"/>
                  </a:cubicBezTo>
                  <a:cubicBezTo>
                    <a:pt x="71" y="347"/>
                    <a:pt x="71" y="347"/>
                    <a:pt x="71" y="347"/>
                  </a:cubicBezTo>
                  <a:cubicBezTo>
                    <a:pt x="71" y="346"/>
                    <a:pt x="71" y="346"/>
                    <a:pt x="71" y="346"/>
                  </a:cubicBezTo>
                  <a:cubicBezTo>
                    <a:pt x="69" y="346"/>
                    <a:pt x="69" y="346"/>
                    <a:pt x="69" y="346"/>
                  </a:cubicBezTo>
                  <a:cubicBezTo>
                    <a:pt x="67" y="346"/>
                    <a:pt x="67" y="346"/>
                    <a:pt x="67" y="346"/>
                  </a:cubicBezTo>
                  <a:cubicBezTo>
                    <a:pt x="64" y="348"/>
                    <a:pt x="64" y="348"/>
                    <a:pt x="64" y="348"/>
                  </a:cubicBezTo>
                  <a:cubicBezTo>
                    <a:pt x="63" y="349"/>
                    <a:pt x="63" y="349"/>
                    <a:pt x="63" y="349"/>
                  </a:cubicBezTo>
                  <a:cubicBezTo>
                    <a:pt x="64" y="352"/>
                    <a:pt x="64" y="352"/>
                    <a:pt x="64" y="352"/>
                  </a:cubicBezTo>
                  <a:close/>
                  <a:moveTo>
                    <a:pt x="4" y="620"/>
                  </a:moveTo>
                  <a:cubicBezTo>
                    <a:pt x="1" y="620"/>
                    <a:pt x="1" y="620"/>
                    <a:pt x="1" y="620"/>
                  </a:cubicBezTo>
                  <a:cubicBezTo>
                    <a:pt x="0" y="620"/>
                    <a:pt x="0" y="620"/>
                    <a:pt x="0" y="620"/>
                  </a:cubicBezTo>
                  <a:cubicBezTo>
                    <a:pt x="0" y="623"/>
                    <a:pt x="0" y="623"/>
                    <a:pt x="0" y="623"/>
                  </a:cubicBezTo>
                  <a:cubicBezTo>
                    <a:pt x="2" y="628"/>
                    <a:pt x="2" y="628"/>
                    <a:pt x="2" y="628"/>
                  </a:cubicBezTo>
                  <a:cubicBezTo>
                    <a:pt x="2" y="629"/>
                    <a:pt x="2" y="629"/>
                    <a:pt x="2" y="629"/>
                  </a:cubicBezTo>
                  <a:cubicBezTo>
                    <a:pt x="5" y="628"/>
                    <a:pt x="5" y="628"/>
                    <a:pt x="5" y="628"/>
                  </a:cubicBezTo>
                  <a:cubicBezTo>
                    <a:pt x="8" y="627"/>
                    <a:pt x="8" y="627"/>
                    <a:pt x="8" y="627"/>
                  </a:cubicBezTo>
                  <a:cubicBezTo>
                    <a:pt x="8" y="627"/>
                    <a:pt x="8" y="627"/>
                    <a:pt x="8" y="627"/>
                  </a:cubicBezTo>
                  <a:cubicBezTo>
                    <a:pt x="9" y="626"/>
                    <a:pt x="9" y="626"/>
                    <a:pt x="9" y="626"/>
                  </a:cubicBezTo>
                  <a:cubicBezTo>
                    <a:pt x="10" y="623"/>
                    <a:pt x="10" y="623"/>
                    <a:pt x="10" y="623"/>
                  </a:cubicBezTo>
                  <a:cubicBezTo>
                    <a:pt x="11" y="623"/>
                    <a:pt x="11" y="623"/>
                    <a:pt x="11" y="623"/>
                  </a:cubicBezTo>
                  <a:cubicBezTo>
                    <a:pt x="12" y="623"/>
                    <a:pt x="12" y="623"/>
                    <a:pt x="12" y="623"/>
                  </a:cubicBezTo>
                  <a:cubicBezTo>
                    <a:pt x="11" y="622"/>
                    <a:pt x="11" y="622"/>
                    <a:pt x="11" y="622"/>
                  </a:cubicBezTo>
                  <a:lnTo>
                    <a:pt x="4" y="620"/>
                  </a:lnTo>
                  <a:close/>
                  <a:moveTo>
                    <a:pt x="221" y="480"/>
                  </a:moveTo>
                  <a:cubicBezTo>
                    <a:pt x="222" y="483"/>
                    <a:pt x="222" y="483"/>
                    <a:pt x="222" y="483"/>
                  </a:cubicBezTo>
                  <a:cubicBezTo>
                    <a:pt x="223" y="482"/>
                    <a:pt x="223" y="482"/>
                    <a:pt x="223" y="482"/>
                  </a:cubicBezTo>
                  <a:cubicBezTo>
                    <a:pt x="224" y="481"/>
                    <a:pt x="224" y="481"/>
                    <a:pt x="224" y="481"/>
                  </a:cubicBezTo>
                  <a:cubicBezTo>
                    <a:pt x="225" y="480"/>
                    <a:pt x="225" y="480"/>
                    <a:pt x="225" y="480"/>
                  </a:cubicBezTo>
                  <a:cubicBezTo>
                    <a:pt x="224" y="479"/>
                    <a:pt x="224" y="479"/>
                    <a:pt x="224" y="479"/>
                  </a:cubicBezTo>
                  <a:cubicBezTo>
                    <a:pt x="225" y="477"/>
                    <a:pt x="225" y="477"/>
                    <a:pt x="225" y="477"/>
                  </a:cubicBezTo>
                  <a:cubicBezTo>
                    <a:pt x="225" y="473"/>
                    <a:pt x="225" y="473"/>
                    <a:pt x="225" y="473"/>
                  </a:cubicBezTo>
                  <a:cubicBezTo>
                    <a:pt x="226" y="469"/>
                    <a:pt x="226" y="469"/>
                    <a:pt x="226" y="469"/>
                  </a:cubicBezTo>
                  <a:cubicBezTo>
                    <a:pt x="227" y="466"/>
                    <a:pt x="227" y="466"/>
                    <a:pt x="227" y="466"/>
                  </a:cubicBezTo>
                  <a:cubicBezTo>
                    <a:pt x="227" y="465"/>
                    <a:pt x="227" y="465"/>
                    <a:pt x="227" y="465"/>
                  </a:cubicBezTo>
                  <a:cubicBezTo>
                    <a:pt x="227" y="464"/>
                    <a:pt x="227" y="464"/>
                    <a:pt x="227" y="464"/>
                  </a:cubicBezTo>
                  <a:cubicBezTo>
                    <a:pt x="226" y="463"/>
                    <a:pt x="226" y="463"/>
                    <a:pt x="226" y="463"/>
                  </a:cubicBezTo>
                  <a:cubicBezTo>
                    <a:pt x="222" y="468"/>
                    <a:pt x="222" y="468"/>
                    <a:pt x="222" y="468"/>
                  </a:cubicBezTo>
                  <a:cubicBezTo>
                    <a:pt x="221" y="469"/>
                    <a:pt x="221" y="469"/>
                    <a:pt x="221" y="469"/>
                  </a:cubicBezTo>
                  <a:cubicBezTo>
                    <a:pt x="220" y="474"/>
                    <a:pt x="220" y="474"/>
                    <a:pt x="220" y="474"/>
                  </a:cubicBezTo>
                  <a:cubicBezTo>
                    <a:pt x="220" y="476"/>
                    <a:pt x="220" y="476"/>
                    <a:pt x="220" y="476"/>
                  </a:cubicBezTo>
                  <a:cubicBezTo>
                    <a:pt x="221" y="479"/>
                    <a:pt x="221" y="479"/>
                    <a:pt x="221" y="479"/>
                  </a:cubicBezTo>
                  <a:lnTo>
                    <a:pt x="221" y="480"/>
                  </a:lnTo>
                  <a:close/>
                  <a:moveTo>
                    <a:pt x="20" y="596"/>
                  </a:moveTo>
                  <a:cubicBezTo>
                    <a:pt x="18" y="598"/>
                    <a:pt x="18" y="598"/>
                    <a:pt x="18" y="598"/>
                  </a:cubicBezTo>
                  <a:cubicBezTo>
                    <a:pt x="16" y="600"/>
                    <a:pt x="16" y="600"/>
                    <a:pt x="16" y="600"/>
                  </a:cubicBezTo>
                  <a:cubicBezTo>
                    <a:pt x="2" y="614"/>
                    <a:pt x="2" y="614"/>
                    <a:pt x="2" y="614"/>
                  </a:cubicBezTo>
                  <a:cubicBezTo>
                    <a:pt x="2" y="615"/>
                    <a:pt x="2" y="615"/>
                    <a:pt x="2" y="615"/>
                  </a:cubicBezTo>
                  <a:cubicBezTo>
                    <a:pt x="1" y="616"/>
                    <a:pt x="1" y="616"/>
                    <a:pt x="1" y="616"/>
                  </a:cubicBezTo>
                  <a:cubicBezTo>
                    <a:pt x="2" y="617"/>
                    <a:pt x="2" y="617"/>
                    <a:pt x="2" y="617"/>
                  </a:cubicBezTo>
                  <a:cubicBezTo>
                    <a:pt x="2" y="618"/>
                    <a:pt x="2" y="618"/>
                    <a:pt x="2" y="618"/>
                  </a:cubicBezTo>
                  <a:cubicBezTo>
                    <a:pt x="3" y="618"/>
                    <a:pt x="3" y="618"/>
                    <a:pt x="3" y="618"/>
                  </a:cubicBezTo>
                  <a:cubicBezTo>
                    <a:pt x="6" y="619"/>
                    <a:pt x="6" y="619"/>
                    <a:pt x="6" y="619"/>
                  </a:cubicBezTo>
                  <a:cubicBezTo>
                    <a:pt x="15" y="620"/>
                    <a:pt x="15" y="620"/>
                    <a:pt x="15" y="620"/>
                  </a:cubicBezTo>
                  <a:cubicBezTo>
                    <a:pt x="19" y="619"/>
                    <a:pt x="19" y="619"/>
                    <a:pt x="19" y="619"/>
                  </a:cubicBezTo>
                  <a:cubicBezTo>
                    <a:pt x="24" y="613"/>
                    <a:pt x="24" y="613"/>
                    <a:pt x="24" y="613"/>
                  </a:cubicBezTo>
                  <a:cubicBezTo>
                    <a:pt x="24" y="606"/>
                    <a:pt x="24" y="606"/>
                    <a:pt x="24" y="606"/>
                  </a:cubicBezTo>
                  <a:lnTo>
                    <a:pt x="20" y="596"/>
                  </a:lnTo>
                  <a:close/>
                  <a:moveTo>
                    <a:pt x="54" y="533"/>
                  </a:moveTo>
                  <a:cubicBezTo>
                    <a:pt x="53" y="532"/>
                    <a:pt x="53" y="532"/>
                    <a:pt x="53" y="532"/>
                  </a:cubicBezTo>
                  <a:cubicBezTo>
                    <a:pt x="53" y="532"/>
                    <a:pt x="53" y="532"/>
                    <a:pt x="53" y="532"/>
                  </a:cubicBezTo>
                  <a:cubicBezTo>
                    <a:pt x="51" y="528"/>
                    <a:pt x="51" y="528"/>
                    <a:pt x="51" y="528"/>
                  </a:cubicBezTo>
                  <a:cubicBezTo>
                    <a:pt x="38" y="521"/>
                    <a:pt x="38" y="521"/>
                    <a:pt x="38" y="521"/>
                  </a:cubicBezTo>
                  <a:cubicBezTo>
                    <a:pt x="30" y="518"/>
                    <a:pt x="30" y="518"/>
                    <a:pt x="30" y="518"/>
                  </a:cubicBezTo>
                  <a:cubicBezTo>
                    <a:pt x="27" y="521"/>
                    <a:pt x="27" y="521"/>
                    <a:pt x="27" y="521"/>
                  </a:cubicBezTo>
                  <a:cubicBezTo>
                    <a:pt x="23" y="537"/>
                    <a:pt x="23" y="537"/>
                    <a:pt x="23" y="537"/>
                  </a:cubicBezTo>
                  <a:cubicBezTo>
                    <a:pt x="21" y="545"/>
                    <a:pt x="21" y="545"/>
                    <a:pt x="21" y="545"/>
                  </a:cubicBezTo>
                  <a:cubicBezTo>
                    <a:pt x="22" y="558"/>
                    <a:pt x="22" y="558"/>
                    <a:pt x="22" y="558"/>
                  </a:cubicBezTo>
                  <a:cubicBezTo>
                    <a:pt x="22" y="561"/>
                    <a:pt x="22" y="561"/>
                    <a:pt x="22" y="561"/>
                  </a:cubicBezTo>
                  <a:cubicBezTo>
                    <a:pt x="23" y="570"/>
                    <a:pt x="23" y="570"/>
                    <a:pt x="23" y="570"/>
                  </a:cubicBezTo>
                  <a:cubicBezTo>
                    <a:pt x="26" y="578"/>
                    <a:pt x="26" y="578"/>
                    <a:pt x="26" y="578"/>
                  </a:cubicBezTo>
                  <a:cubicBezTo>
                    <a:pt x="26" y="578"/>
                    <a:pt x="26" y="578"/>
                    <a:pt x="26" y="578"/>
                  </a:cubicBezTo>
                  <a:cubicBezTo>
                    <a:pt x="28" y="580"/>
                    <a:pt x="28" y="580"/>
                    <a:pt x="28" y="580"/>
                  </a:cubicBezTo>
                  <a:cubicBezTo>
                    <a:pt x="29" y="580"/>
                    <a:pt x="29" y="580"/>
                    <a:pt x="29" y="580"/>
                  </a:cubicBezTo>
                  <a:cubicBezTo>
                    <a:pt x="30" y="581"/>
                    <a:pt x="30" y="581"/>
                    <a:pt x="30" y="581"/>
                  </a:cubicBezTo>
                  <a:cubicBezTo>
                    <a:pt x="47" y="583"/>
                    <a:pt x="47" y="583"/>
                    <a:pt x="47" y="583"/>
                  </a:cubicBezTo>
                  <a:cubicBezTo>
                    <a:pt x="48" y="583"/>
                    <a:pt x="48" y="583"/>
                    <a:pt x="48" y="583"/>
                  </a:cubicBezTo>
                  <a:cubicBezTo>
                    <a:pt x="49" y="583"/>
                    <a:pt x="49" y="583"/>
                    <a:pt x="49" y="583"/>
                  </a:cubicBezTo>
                  <a:cubicBezTo>
                    <a:pt x="49" y="582"/>
                    <a:pt x="49" y="582"/>
                    <a:pt x="49" y="582"/>
                  </a:cubicBezTo>
                  <a:cubicBezTo>
                    <a:pt x="49" y="581"/>
                    <a:pt x="49" y="581"/>
                    <a:pt x="49" y="581"/>
                  </a:cubicBezTo>
                  <a:cubicBezTo>
                    <a:pt x="49" y="579"/>
                    <a:pt x="49" y="579"/>
                    <a:pt x="49" y="579"/>
                  </a:cubicBezTo>
                  <a:cubicBezTo>
                    <a:pt x="48" y="578"/>
                    <a:pt x="48" y="578"/>
                    <a:pt x="48" y="578"/>
                  </a:cubicBezTo>
                  <a:cubicBezTo>
                    <a:pt x="46" y="574"/>
                    <a:pt x="46" y="574"/>
                    <a:pt x="46" y="574"/>
                  </a:cubicBezTo>
                  <a:cubicBezTo>
                    <a:pt x="46" y="573"/>
                    <a:pt x="46" y="573"/>
                    <a:pt x="46" y="573"/>
                  </a:cubicBezTo>
                  <a:cubicBezTo>
                    <a:pt x="45" y="568"/>
                    <a:pt x="45" y="568"/>
                    <a:pt x="45" y="568"/>
                  </a:cubicBezTo>
                  <a:cubicBezTo>
                    <a:pt x="44" y="557"/>
                    <a:pt x="44" y="557"/>
                    <a:pt x="44" y="557"/>
                  </a:cubicBezTo>
                  <a:cubicBezTo>
                    <a:pt x="44" y="550"/>
                    <a:pt x="44" y="550"/>
                    <a:pt x="44" y="550"/>
                  </a:cubicBezTo>
                  <a:lnTo>
                    <a:pt x="54" y="533"/>
                  </a:lnTo>
                  <a:close/>
                  <a:moveTo>
                    <a:pt x="87" y="385"/>
                  </a:moveTo>
                  <a:cubicBezTo>
                    <a:pt x="88" y="385"/>
                    <a:pt x="88" y="385"/>
                    <a:pt x="88" y="385"/>
                  </a:cubicBezTo>
                  <a:cubicBezTo>
                    <a:pt x="89" y="383"/>
                    <a:pt x="89" y="383"/>
                    <a:pt x="89" y="383"/>
                  </a:cubicBezTo>
                  <a:cubicBezTo>
                    <a:pt x="90" y="382"/>
                    <a:pt x="90" y="382"/>
                    <a:pt x="90" y="382"/>
                  </a:cubicBezTo>
                  <a:cubicBezTo>
                    <a:pt x="90" y="382"/>
                    <a:pt x="90" y="382"/>
                    <a:pt x="90" y="382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89" y="379"/>
                    <a:pt x="89" y="379"/>
                    <a:pt x="89" y="379"/>
                  </a:cubicBezTo>
                  <a:cubicBezTo>
                    <a:pt x="89" y="377"/>
                    <a:pt x="89" y="377"/>
                    <a:pt x="89" y="377"/>
                  </a:cubicBezTo>
                  <a:cubicBezTo>
                    <a:pt x="89" y="377"/>
                    <a:pt x="89" y="377"/>
                    <a:pt x="89" y="377"/>
                  </a:cubicBezTo>
                  <a:cubicBezTo>
                    <a:pt x="88" y="376"/>
                    <a:pt x="88" y="376"/>
                    <a:pt x="88" y="376"/>
                  </a:cubicBezTo>
                  <a:cubicBezTo>
                    <a:pt x="85" y="377"/>
                    <a:pt x="85" y="377"/>
                    <a:pt x="85" y="377"/>
                  </a:cubicBezTo>
                  <a:cubicBezTo>
                    <a:pt x="77" y="384"/>
                    <a:pt x="77" y="384"/>
                    <a:pt x="77" y="384"/>
                  </a:cubicBezTo>
                  <a:cubicBezTo>
                    <a:pt x="77" y="385"/>
                    <a:pt x="77" y="385"/>
                    <a:pt x="77" y="385"/>
                  </a:cubicBezTo>
                  <a:cubicBezTo>
                    <a:pt x="77" y="387"/>
                    <a:pt x="77" y="387"/>
                    <a:pt x="77" y="387"/>
                  </a:cubicBezTo>
                  <a:cubicBezTo>
                    <a:pt x="77" y="387"/>
                    <a:pt x="77" y="387"/>
                    <a:pt x="77" y="387"/>
                  </a:cubicBezTo>
                  <a:lnTo>
                    <a:pt x="87" y="385"/>
                  </a:lnTo>
                  <a:close/>
                  <a:moveTo>
                    <a:pt x="615" y="36"/>
                  </a:moveTo>
                  <a:cubicBezTo>
                    <a:pt x="633" y="41"/>
                    <a:pt x="633" y="41"/>
                    <a:pt x="633" y="41"/>
                  </a:cubicBezTo>
                  <a:cubicBezTo>
                    <a:pt x="636" y="39"/>
                    <a:pt x="636" y="39"/>
                    <a:pt x="636" y="39"/>
                  </a:cubicBezTo>
                  <a:cubicBezTo>
                    <a:pt x="637" y="39"/>
                    <a:pt x="637" y="39"/>
                    <a:pt x="637" y="39"/>
                  </a:cubicBezTo>
                  <a:cubicBezTo>
                    <a:pt x="637" y="37"/>
                    <a:pt x="637" y="37"/>
                    <a:pt x="637" y="37"/>
                  </a:cubicBezTo>
                  <a:cubicBezTo>
                    <a:pt x="636" y="35"/>
                    <a:pt x="636" y="35"/>
                    <a:pt x="636" y="35"/>
                  </a:cubicBezTo>
                  <a:cubicBezTo>
                    <a:pt x="629" y="26"/>
                    <a:pt x="629" y="26"/>
                    <a:pt x="629" y="26"/>
                  </a:cubicBezTo>
                  <a:cubicBezTo>
                    <a:pt x="627" y="26"/>
                    <a:pt x="627" y="26"/>
                    <a:pt x="627" y="26"/>
                  </a:cubicBezTo>
                  <a:cubicBezTo>
                    <a:pt x="626" y="27"/>
                    <a:pt x="626" y="27"/>
                    <a:pt x="626" y="27"/>
                  </a:cubicBezTo>
                  <a:cubicBezTo>
                    <a:pt x="625" y="27"/>
                    <a:pt x="625" y="27"/>
                    <a:pt x="625" y="27"/>
                  </a:cubicBezTo>
                  <a:cubicBezTo>
                    <a:pt x="616" y="23"/>
                    <a:pt x="616" y="23"/>
                    <a:pt x="616" y="23"/>
                  </a:cubicBezTo>
                  <a:cubicBezTo>
                    <a:pt x="616" y="22"/>
                    <a:pt x="616" y="22"/>
                    <a:pt x="616" y="22"/>
                  </a:cubicBezTo>
                  <a:cubicBezTo>
                    <a:pt x="619" y="17"/>
                    <a:pt x="619" y="17"/>
                    <a:pt x="619" y="17"/>
                  </a:cubicBezTo>
                  <a:cubicBezTo>
                    <a:pt x="620" y="16"/>
                    <a:pt x="620" y="16"/>
                    <a:pt x="620" y="16"/>
                  </a:cubicBezTo>
                  <a:cubicBezTo>
                    <a:pt x="621" y="15"/>
                    <a:pt x="621" y="15"/>
                    <a:pt x="621" y="15"/>
                  </a:cubicBezTo>
                  <a:cubicBezTo>
                    <a:pt x="621" y="15"/>
                    <a:pt x="621" y="15"/>
                    <a:pt x="621" y="15"/>
                  </a:cubicBezTo>
                  <a:cubicBezTo>
                    <a:pt x="622" y="14"/>
                    <a:pt x="622" y="14"/>
                    <a:pt x="622" y="14"/>
                  </a:cubicBezTo>
                  <a:cubicBezTo>
                    <a:pt x="621" y="13"/>
                    <a:pt x="621" y="13"/>
                    <a:pt x="621" y="13"/>
                  </a:cubicBezTo>
                  <a:cubicBezTo>
                    <a:pt x="620" y="13"/>
                    <a:pt x="620" y="13"/>
                    <a:pt x="620" y="13"/>
                  </a:cubicBezTo>
                  <a:cubicBezTo>
                    <a:pt x="618" y="13"/>
                    <a:pt x="618" y="13"/>
                    <a:pt x="618" y="13"/>
                  </a:cubicBezTo>
                  <a:cubicBezTo>
                    <a:pt x="605" y="19"/>
                    <a:pt x="605" y="19"/>
                    <a:pt x="605" y="19"/>
                  </a:cubicBezTo>
                  <a:cubicBezTo>
                    <a:pt x="605" y="20"/>
                    <a:pt x="605" y="20"/>
                    <a:pt x="605" y="20"/>
                  </a:cubicBezTo>
                  <a:cubicBezTo>
                    <a:pt x="605" y="21"/>
                    <a:pt x="605" y="21"/>
                    <a:pt x="605" y="21"/>
                  </a:cubicBezTo>
                  <a:cubicBezTo>
                    <a:pt x="615" y="36"/>
                    <a:pt x="615" y="36"/>
                    <a:pt x="615" y="36"/>
                  </a:cubicBezTo>
                  <a:close/>
                  <a:moveTo>
                    <a:pt x="212" y="529"/>
                  </a:moveTo>
                  <a:cubicBezTo>
                    <a:pt x="214" y="529"/>
                    <a:pt x="214" y="529"/>
                    <a:pt x="214" y="529"/>
                  </a:cubicBezTo>
                  <a:cubicBezTo>
                    <a:pt x="217" y="527"/>
                    <a:pt x="217" y="527"/>
                    <a:pt x="217" y="527"/>
                  </a:cubicBezTo>
                  <a:cubicBezTo>
                    <a:pt x="218" y="526"/>
                    <a:pt x="218" y="526"/>
                    <a:pt x="218" y="526"/>
                  </a:cubicBezTo>
                  <a:cubicBezTo>
                    <a:pt x="221" y="524"/>
                    <a:pt x="221" y="524"/>
                    <a:pt x="221" y="524"/>
                  </a:cubicBezTo>
                  <a:cubicBezTo>
                    <a:pt x="221" y="523"/>
                    <a:pt x="221" y="523"/>
                    <a:pt x="221" y="523"/>
                  </a:cubicBezTo>
                  <a:cubicBezTo>
                    <a:pt x="222" y="521"/>
                    <a:pt x="222" y="521"/>
                    <a:pt x="222" y="521"/>
                  </a:cubicBezTo>
                  <a:cubicBezTo>
                    <a:pt x="222" y="520"/>
                    <a:pt x="222" y="520"/>
                    <a:pt x="222" y="520"/>
                  </a:cubicBezTo>
                  <a:cubicBezTo>
                    <a:pt x="220" y="497"/>
                    <a:pt x="220" y="497"/>
                    <a:pt x="220" y="497"/>
                  </a:cubicBezTo>
                  <a:cubicBezTo>
                    <a:pt x="223" y="488"/>
                    <a:pt x="223" y="488"/>
                    <a:pt x="223" y="488"/>
                  </a:cubicBezTo>
                  <a:cubicBezTo>
                    <a:pt x="223" y="488"/>
                    <a:pt x="223" y="488"/>
                    <a:pt x="223" y="488"/>
                  </a:cubicBezTo>
                  <a:cubicBezTo>
                    <a:pt x="223" y="487"/>
                    <a:pt x="223" y="487"/>
                    <a:pt x="223" y="487"/>
                  </a:cubicBezTo>
                  <a:cubicBezTo>
                    <a:pt x="223" y="486"/>
                    <a:pt x="223" y="486"/>
                    <a:pt x="223" y="486"/>
                  </a:cubicBezTo>
                  <a:cubicBezTo>
                    <a:pt x="222" y="485"/>
                    <a:pt x="222" y="485"/>
                    <a:pt x="222" y="485"/>
                  </a:cubicBezTo>
                  <a:cubicBezTo>
                    <a:pt x="221" y="486"/>
                    <a:pt x="221" y="486"/>
                    <a:pt x="221" y="486"/>
                  </a:cubicBezTo>
                  <a:cubicBezTo>
                    <a:pt x="212" y="497"/>
                    <a:pt x="212" y="497"/>
                    <a:pt x="212" y="497"/>
                  </a:cubicBezTo>
                  <a:cubicBezTo>
                    <a:pt x="211" y="499"/>
                    <a:pt x="211" y="499"/>
                    <a:pt x="211" y="499"/>
                  </a:cubicBezTo>
                  <a:cubicBezTo>
                    <a:pt x="210" y="504"/>
                    <a:pt x="210" y="504"/>
                    <a:pt x="210" y="504"/>
                  </a:cubicBezTo>
                  <a:cubicBezTo>
                    <a:pt x="209" y="521"/>
                    <a:pt x="209" y="521"/>
                    <a:pt x="209" y="521"/>
                  </a:cubicBezTo>
                  <a:cubicBezTo>
                    <a:pt x="211" y="528"/>
                    <a:pt x="211" y="528"/>
                    <a:pt x="211" y="528"/>
                  </a:cubicBezTo>
                  <a:lnTo>
                    <a:pt x="212" y="529"/>
                  </a:lnTo>
                  <a:close/>
                  <a:moveTo>
                    <a:pt x="109" y="303"/>
                  </a:moveTo>
                  <a:cubicBezTo>
                    <a:pt x="108" y="303"/>
                    <a:pt x="108" y="303"/>
                    <a:pt x="108" y="303"/>
                  </a:cubicBezTo>
                  <a:cubicBezTo>
                    <a:pt x="108" y="304"/>
                    <a:pt x="108" y="304"/>
                    <a:pt x="108" y="304"/>
                  </a:cubicBezTo>
                  <a:cubicBezTo>
                    <a:pt x="108" y="305"/>
                    <a:pt x="108" y="305"/>
                    <a:pt x="108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5"/>
                    <a:pt x="110" y="305"/>
                    <a:pt x="110" y="305"/>
                  </a:cubicBezTo>
                  <a:cubicBezTo>
                    <a:pt x="110" y="305"/>
                    <a:pt x="110" y="305"/>
                    <a:pt x="110" y="305"/>
                  </a:cubicBezTo>
                  <a:cubicBezTo>
                    <a:pt x="110" y="304"/>
                    <a:pt x="110" y="304"/>
                    <a:pt x="110" y="304"/>
                  </a:cubicBezTo>
                  <a:cubicBezTo>
                    <a:pt x="109" y="304"/>
                    <a:pt x="109" y="304"/>
                    <a:pt x="109" y="304"/>
                  </a:cubicBezTo>
                  <a:lnTo>
                    <a:pt x="109" y="303"/>
                  </a:lnTo>
                  <a:close/>
                  <a:moveTo>
                    <a:pt x="80" y="345"/>
                  </a:moveTo>
                  <a:cubicBezTo>
                    <a:pt x="74" y="351"/>
                    <a:pt x="74" y="351"/>
                    <a:pt x="74" y="351"/>
                  </a:cubicBezTo>
                  <a:cubicBezTo>
                    <a:pt x="71" y="357"/>
                    <a:pt x="71" y="357"/>
                    <a:pt x="71" y="357"/>
                  </a:cubicBezTo>
                  <a:cubicBezTo>
                    <a:pt x="71" y="358"/>
                    <a:pt x="71" y="358"/>
                    <a:pt x="71" y="358"/>
                  </a:cubicBezTo>
                  <a:cubicBezTo>
                    <a:pt x="71" y="359"/>
                    <a:pt x="71" y="359"/>
                    <a:pt x="71" y="359"/>
                  </a:cubicBezTo>
                  <a:cubicBezTo>
                    <a:pt x="77" y="364"/>
                    <a:pt x="77" y="364"/>
                    <a:pt x="77" y="364"/>
                  </a:cubicBezTo>
                  <a:cubicBezTo>
                    <a:pt x="81" y="367"/>
                    <a:pt x="81" y="367"/>
                    <a:pt x="81" y="367"/>
                  </a:cubicBezTo>
                  <a:cubicBezTo>
                    <a:pt x="82" y="368"/>
                    <a:pt x="82" y="368"/>
                    <a:pt x="82" y="368"/>
                  </a:cubicBezTo>
                  <a:cubicBezTo>
                    <a:pt x="86" y="370"/>
                    <a:pt x="86" y="370"/>
                    <a:pt x="86" y="370"/>
                  </a:cubicBezTo>
                  <a:cubicBezTo>
                    <a:pt x="87" y="369"/>
                    <a:pt x="87" y="369"/>
                    <a:pt x="87" y="369"/>
                  </a:cubicBezTo>
                  <a:cubicBezTo>
                    <a:pt x="87" y="368"/>
                    <a:pt x="87" y="368"/>
                    <a:pt x="87" y="368"/>
                  </a:cubicBezTo>
                  <a:cubicBezTo>
                    <a:pt x="89" y="367"/>
                    <a:pt x="89" y="367"/>
                    <a:pt x="89" y="367"/>
                  </a:cubicBezTo>
                  <a:cubicBezTo>
                    <a:pt x="99" y="371"/>
                    <a:pt x="99" y="371"/>
                    <a:pt x="99" y="371"/>
                  </a:cubicBezTo>
                  <a:cubicBezTo>
                    <a:pt x="107" y="376"/>
                    <a:pt x="107" y="376"/>
                    <a:pt x="107" y="376"/>
                  </a:cubicBezTo>
                  <a:cubicBezTo>
                    <a:pt x="110" y="381"/>
                    <a:pt x="110" y="381"/>
                    <a:pt x="110" y="381"/>
                  </a:cubicBezTo>
                  <a:cubicBezTo>
                    <a:pt x="110" y="382"/>
                    <a:pt x="110" y="382"/>
                    <a:pt x="110" y="382"/>
                  </a:cubicBezTo>
                  <a:cubicBezTo>
                    <a:pt x="109" y="382"/>
                    <a:pt x="109" y="382"/>
                    <a:pt x="109" y="382"/>
                  </a:cubicBezTo>
                  <a:cubicBezTo>
                    <a:pt x="106" y="382"/>
                    <a:pt x="106" y="382"/>
                    <a:pt x="106" y="382"/>
                  </a:cubicBezTo>
                  <a:cubicBezTo>
                    <a:pt x="100" y="382"/>
                    <a:pt x="100" y="382"/>
                    <a:pt x="100" y="382"/>
                  </a:cubicBezTo>
                  <a:cubicBezTo>
                    <a:pt x="99" y="381"/>
                    <a:pt x="99" y="381"/>
                    <a:pt x="99" y="381"/>
                  </a:cubicBezTo>
                  <a:cubicBezTo>
                    <a:pt x="99" y="380"/>
                    <a:pt x="99" y="380"/>
                    <a:pt x="99" y="380"/>
                  </a:cubicBezTo>
                  <a:cubicBezTo>
                    <a:pt x="98" y="380"/>
                    <a:pt x="98" y="380"/>
                    <a:pt x="98" y="380"/>
                  </a:cubicBezTo>
                  <a:cubicBezTo>
                    <a:pt x="96" y="379"/>
                    <a:pt x="96" y="379"/>
                    <a:pt x="96" y="379"/>
                  </a:cubicBezTo>
                  <a:cubicBezTo>
                    <a:pt x="95" y="379"/>
                    <a:pt x="95" y="379"/>
                    <a:pt x="95" y="379"/>
                  </a:cubicBezTo>
                  <a:cubicBezTo>
                    <a:pt x="92" y="382"/>
                    <a:pt x="92" y="382"/>
                    <a:pt x="92" y="382"/>
                  </a:cubicBezTo>
                  <a:cubicBezTo>
                    <a:pt x="73" y="398"/>
                    <a:pt x="73" y="398"/>
                    <a:pt x="73" y="398"/>
                  </a:cubicBezTo>
                  <a:cubicBezTo>
                    <a:pt x="72" y="398"/>
                    <a:pt x="72" y="398"/>
                    <a:pt x="72" y="398"/>
                  </a:cubicBezTo>
                  <a:cubicBezTo>
                    <a:pt x="68" y="396"/>
                    <a:pt x="68" y="396"/>
                    <a:pt x="68" y="396"/>
                  </a:cubicBezTo>
                  <a:cubicBezTo>
                    <a:pt x="67" y="397"/>
                    <a:pt x="67" y="397"/>
                    <a:pt x="67" y="397"/>
                  </a:cubicBezTo>
                  <a:cubicBezTo>
                    <a:pt x="65" y="397"/>
                    <a:pt x="65" y="397"/>
                    <a:pt x="65" y="397"/>
                  </a:cubicBezTo>
                  <a:cubicBezTo>
                    <a:pt x="68" y="402"/>
                    <a:pt x="68" y="402"/>
                    <a:pt x="68" y="402"/>
                  </a:cubicBezTo>
                  <a:cubicBezTo>
                    <a:pt x="78" y="413"/>
                    <a:pt x="78" y="413"/>
                    <a:pt x="78" y="413"/>
                  </a:cubicBezTo>
                  <a:cubicBezTo>
                    <a:pt x="82" y="417"/>
                    <a:pt x="82" y="417"/>
                    <a:pt x="82" y="417"/>
                  </a:cubicBezTo>
                  <a:cubicBezTo>
                    <a:pt x="91" y="425"/>
                    <a:pt x="91" y="425"/>
                    <a:pt x="91" y="425"/>
                  </a:cubicBezTo>
                  <a:cubicBezTo>
                    <a:pt x="113" y="406"/>
                    <a:pt x="113" y="406"/>
                    <a:pt x="113" y="406"/>
                  </a:cubicBezTo>
                  <a:cubicBezTo>
                    <a:pt x="114" y="406"/>
                    <a:pt x="114" y="406"/>
                    <a:pt x="114" y="406"/>
                  </a:cubicBezTo>
                  <a:cubicBezTo>
                    <a:pt x="119" y="400"/>
                    <a:pt x="119" y="400"/>
                    <a:pt x="119" y="400"/>
                  </a:cubicBezTo>
                  <a:cubicBezTo>
                    <a:pt x="130" y="387"/>
                    <a:pt x="130" y="387"/>
                    <a:pt x="130" y="387"/>
                  </a:cubicBezTo>
                  <a:cubicBezTo>
                    <a:pt x="130" y="386"/>
                    <a:pt x="130" y="386"/>
                    <a:pt x="130" y="386"/>
                  </a:cubicBezTo>
                  <a:cubicBezTo>
                    <a:pt x="130" y="385"/>
                    <a:pt x="130" y="385"/>
                    <a:pt x="130" y="385"/>
                  </a:cubicBezTo>
                  <a:cubicBezTo>
                    <a:pt x="127" y="375"/>
                    <a:pt x="127" y="375"/>
                    <a:pt x="127" y="375"/>
                  </a:cubicBezTo>
                  <a:cubicBezTo>
                    <a:pt x="125" y="371"/>
                    <a:pt x="125" y="371"/>
                    <a:pt x="125" y="371"/>
                  </a:cubicBezTo>
                  <a:cubicBezTo>
                    <a:pt x="124" y="370"/>
                    <a:pt x="124" y="370"/>
                    <a:pt x="124" y="370"/>
                  </a:cubicBezTo>
                  <a:cubicBezTo>
                    <a:pt x="123" y="368"/>
                    <a:pt x="123" y="368"/>
                    <a:pt x="123" y="368"/>
                  </a:cubicBezTo>
                  <a:cubicBezTo>
                    <a:pt x="122" y="355"/>
                    <a:pt x="122" y="355"/>
                    <a:pt x="122" y="355"/>
                  </a:cubicBezTo>
                  <a:cubicBezTo>
                    <a:pt x="122" y="353"/>
                    <a:pt x="122" y="353"/>
                    <a:pt x="122" y="353"/>
                  </a:cubicBezTo>
                  <a:cubicBezTo>
                    <a:pt x="123" y="352"/>
                    <a:pt x="123" y="352"/>
                    <a:pt x="123" y="352"/>
                  </a:cubicBezTo>
                  <a:cubicBezTo>
                    <a:pt x="125" y="349"/>
                    <a:pt x="125" y="349"/>
                    <a:pt x="125" y="349"/>
                  </a:cubicBezTo>
                  <a:cubicBezTo>
                    <a:pt x="128" y="348"/>
                    <a:pt x="128" y="348"/>
                    <a:pt x="128" y="348"/>
                  </a:cubicBezTo>
                  <a:cubicBezTo>
                    <a:pt x="128" y="348"/>
                    <a:pt x="128" y="348"/>
                    <a:pt x="128" y="348"/>
                  </a:cubicBezTo>
                  <a:cubicBezTo>
                    <a:pt x="129" y="349"/>
                    <a:pt x="129" y="349"/>
                    <a:pt x="129" y="349"/>
                  </a:cubicBezTo>
                  <a:cubicBezTo>
                    <a:pt x="129" y="349"/>
                    <a:pt x="129" y="349"/>
                    <a:pt x="129" y="349"/>
                  </a:cubicBezTo>
                  <a:cubicBezTo>
                    <a:pt x="126" y="355"/>
                    <a:pt x="126" y="355"/>
                    <a:pt x="126" y="355"/>
                  </a:cubicBezTo>
                  <a:cubicBezTo>
                    <a:pt x="125" y="362"/>
                    <a:pt x="125" y="362"/>
                    <a:pt x="125" y="362"/>
                  </a:cubicBezTo>
                  <a:cubicBezTo>
                    <a:pt x="126" y="363"/>
                    <a:pt x="126" y="363"/>
                    <a:pt x="126" y="363"/>
                  </a:cubicBezTo>
                  <a:cubicBezTo>
                    <a:pt x="126" y="365"/>
                    <a:pt x="126" y="365"/>
                    <a:pt x="126" y="365"/>
                  </a:cubicBezTo>
                  <a:cubicBezTo>
                    <a:pt x="127" y="367"/>
                    <a:pt x="127" y="367"/>
                    <a:pt x="127" y="367"/>
                  </a:cubicBezTo>
                  <a:cubicBezTo>
                    <a:pt x="127" y="367"/>
                    <a:pt x="127" y="367"/>
                    <a:pt x="127" y="367"/>
                  </a:cubicBezTo>
                  <a:cubicBezTo>
                    <a:pt x="134" y="377"/>
                    <a:pt x="134" y="377"/>
                    <a:pt x="134" y="377"/>
                  </a:cubicBezTo>
                  <a:cubicBezTo>
                    <a:pt x="144" y="380"/>
                    <a:pt x="144" y="380"/>
                    <a:pt x="144" y="380"/>
                  </a:cubicBezTo>
                  <a:cubicBezTo>
                    <a:pt x="148" y="379"/>
                    <a:pt x="148" y="379"/>
                    <a:pt x="148" y="379"/>
                  </a:cubicBezTo>
                  <a:cubicBezTo>
                    <a:pt x="157" y="373"/>
                    <a:pt x="157" y="373"/>
                    <a:pt x="157" y="373"/>
                  </a:cubicBezTo>
                  <a:cubicBezTo>
                    <a:pt x="158" y="372"/>
                    <a:pt x="158" y="372"/>
                    <a:pt x="158" y="372"/>
                  </a:cubicBezTo>
                  <a:cubicBezTo>
                    <a:pt x="158" y="372"/>
                    <a:pt x="158" y="372"/>
                    <a:pt x="158" y="372"/>
                  </a:cubicBezTo>
                  <a:cubicBezTo>
                    <a:pt x="170" y="356"/>
                    <a:pt x="170" y="356"/>
                    <a:pt x="170" y="356"/>
                  </a:cubicBezTo>
                  <a:cubicBezTo>
                    <a:pt x="172" y="353"/>
                    <a:pt x="172" y="353"/>
                    <a:pt x="172" y="353"/>
                  </a:cubicBezTo>
                  <a:cubicBezTo>
                    <a:pt x="173" y="349"/>
                    <a:pt x="173" y="349"/>
                    <a:pt x="173" y="349"/>
                  </a:cubicBezTo>
                  <a:cubicBezTo>
                    <a:pt x="173" y="348"/>
                    <a:pt x="173" y="348"/>
                    <a:pt x="173" y="348"/>
                  </a:cubicBezTo>
                  <a:cubicBezTo>
                    <a:pt x="174" y="344"/>
                    <a:pt x="174" y="344"/>
                    <a:pt x="174" y="344"/>
                  </a:cubicBezTo>
                  <a:cubicBezTo>
                    <a:pt x="172" y="332"/>
                    <a:pt x="172" y="332"/>
                    <a:pt x="172" y="332"/>
                  </a:cubicBezTo>
                  <a:cubicBezTo>
                    <a:pt x="170" y="332"/>
                    <a:pt x="170" y="332"/>
                    <a:pt x="170" y="332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70" y="327"/>
                    <a:pt x="170" y="327"/>
                    <a:pt x="170" y="327"/>
                  </a:cubicBezTo>
                  <a:cubicBezTo>
                    <a:pt x="172" y="310"/>
                    <a:pt x="172" y="310"/>
                    <a:pt x="172" y="310"/>
                  </a:cubicBezTo>
                  <a:cubicBezTo>
                    <a:pt x="190" y="314"/>
                    <a:pt x="190" y="314"/>
                    <a:pt x="190" y="314"/>
                  </a:cubicBezTo>
                  <a:cubicBezTo>
                    <a:pt x="191" y="314"/>
                    <a:pt x="191" y="314"/>
                    <a:pt x="191" y="314"/>
                  </a:cubicBezTo>
                  <a:cubicBezTo>
                    <a:pt x="191" y="314"/>
                    <a:pt x="191" y="314"/>
                    <a:pt x="191" y="314"/>
                  </a:cubicBezTo>
                  <a:cubicBezTo>
                    <a:pt x="193" y="314"/>
                    <a:pt x="193" y="314"/>
                    <a:pt x="193" y="314"/>
                  </a:cubicBezTo>
                  <a:cubicBezTo>
                    <a:pt x="197" y="313"/>
                    <a:pt x="197" y="313"/>
                    <a:pt x="197" y="313"/>
                  </a:cubicBezTo>
                  <a:cubicBezTo>
                    <a:pt x="203" y="307"/>
                    <a:pt x="203" y="307"/>
                    <a:pt x="203" y="307"/>
                  </a:cubicBezTo>
                  <a:cubicBezTo>
                    <a:pt x="205" y="306"/>
                    <a:pt x="205" y="306"/>
                    <a:pt x="205" y="306"/>
                  </a:cubicBezTo>
                  <a:cubicBezTo>
                    <a:pt x="206" y="305"/>
                    <a:pt x="206" y="305"/>
                    <a:pt x="206" y="305"/>
                  </a:cubicBezTo>
                  <a:cubicBezTo>
                    <a:pt x="206" y="304"/>
                    <a:pt x="206" y="304"/>
                    <a:pt x="206" y="304"/>
                  </a:cubicBezTo>
                  <a:cubicBezTo>
                    <a:pt x="206" y="296"/>
                    <a:pt x="206" y="296"/>
                    <a:pt x="206" y="296"/>
                  </a:cubicBezTo>
                  <a:cubicBezTo>
                    <a:pt x="206" y="295"/>
                    <a:pt x="206" y="295"/>
                    <a:pt x="206" y="295"/>
                  </a:cubicBezTo>
                  <a:cubicBezTo>
                    <a:pt x="205" y="294"/>
                    <a:pt x="205" y="294"/>
                    <a:pt x="205" y="294"/>
                  </a:cubicBezTo>
                  <a:cubicBezTo>
                    <a:pt x="203" y="294"/>
                    <a:pt x="203" y="294"/>
                    <a:pt x="203" y="294"/>
                  </a:cubicBezTo>
                  <a:cubicBezTo>
                    <a:pt x="198" y="298"/>
                    <a:pt x="198" y="298"/>
                    <a:pt x="198" y="298"/>
                  </a:cubicBezTo>
                  <a:cubicBezTo>
                    <a:pt x="196" y="300"/>
                    <a:pt x="196" y="300"/>
                    <a:pt x="196" y="300"/>
                  </a:cubicBezTo>
                  <a:cubicBezTo>
                    <a:pt x="193" y="304"/>
                    <a:pt x="193" y="304"/>
                    <a:pt x="193" y="304"/>
                  </a:cubicBezTo>
                  <a:cubicBezTo>
                    <a:pt x="186" y="307"/>
                    <a:pt x="186" y="307"/>
                    <a:pt x="186" y="307"/>
                  </a:cubicBezTo>
                  <a:cubicBezTo>
                    <a:pt x="185" y="307"/>
                    <a:pt x="185" y="307"/>
                    <a:pt x="185" y="307"/>
                  </a:cubicBezTo>
                  <a:cubicBezTo>
                    <a:pt x="176" y="304"/>
                    <a:pt x="176" y="304"/>
                    <a:pt x="176" y="304"/>
                  </a:cubicBezTo>
                  <a:cubicBezTo>
                    <a:pt x="176" y="304"/>
                    <a:pt x="176" y="304"/>
                    <a:pt x="176" y="304"/>
                  </a:cubicBezTo>
                  <a:cubicBezTo>
                    <a:pt x="176" y="302"/>
                    <a:pt x="176" y="302"/>
                    <a:pt x="176" y="302"/>
                  </a:cubicBezTo>
                  <a:cubicBezTo>
                    <a:pt x="181" y="294"/>
                    <a:pt x="181" y="294"/>
                    <a:pt x="181" y="294"/>
                  </a:cubicBezTo>
                  <a:cubicBezTo>
                    <a:pt x="197" y="268"/>
                    <a:pt x="197" y="268"/>
                    <a:pt x="197" y="268"/>
                  </a:cubicBezTo>
                  <a:cubicBezTo>
                    <a:pt x="203" y="255"/>
                    <a:pt x="203" y="255"/>
                    <a:pt x="203" y="255"/>
                  </a:cubicBezTo>
                  <a:cubicBezTo>
                    <a:pt x="203" y="253"/>
                    <a:pt x="203" y="253"/>
                    <a:pt x="203" y="253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194" y="233"/>
                    <a:pt x="194" y="233"/>
                    <a:pt x="194" y="233"/>
                  </a:cubicBezTo>
                  <a:cubicBezTo>
                    <a:pt x="190" y="230"/>
                    <a:pt x="190" y="230"/>
                    <a:pt x="190" y="230"/>
                  </a:cubicBezTo>
                  <a:cubicBezTo>
                    <a:pt x="189" y="229"/>
                    <a:pt x="189" y="229"/>
                    <a:pt x="189" y="229"/>
                  </a:cubicBezTo>
                  <a:cubicBezTo>
                    <a:pt x="188" y="230"/>
                    <a:pt x="188" y="230"/>
                    <a:pt x="188" y="230"/>
                  </a:cubicBezTo>
                  <a:cubicBezTo>
                    <a:pt x="188" y="231"/>
                    <a:pt x="188" y="231"/>
                    <a:pt x="188" y="231"/>
                  </a:cubicBezTo>
                  <a:cubicBezTo>
                    <a:pt x="188" y="231"/>
                    <a:pt x="188" y="231"/>
                    <a:pt x="188" y="231"/>
                  </a:cubicBezTo>
                  <a:cubicBezTo>
                    <a:pt x="188" y="232"/>
                    <a:pt x="188" y="232"/>
                    <a:pt x="188" y="232"/>
                  </a:cubicBezTo>
                  <a:cubicBezTo>
                    <a:pt x="188" y="233"/>
                    <a:pt x="188" y="233"/>
                    <a:pt x="188" y="233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8" y="235"/>
                    <a:pt x="188" y="235"/>
                    <a:pt x="188" y="235"/>
                  </a:cubicBezTo>
                  <a:cubicBezTo>
                    <a:pt x="185" y="238"/>
                    <a:pt x="185" y="238"/>
                    <a:pt x="185" y="238"/>
                  </a:cubicBezTo>
                  <a:cubicBezTo>
                    <a:pt x="179" y="243"/>
                    <a:pt x="179" y="243"/>
                    <a:pt x="179" y="243"/>
                  </a:cubicBezTo>
                  <a:cubicBezTo>
                    <a:pt x="166" y="251"/>
                    <a:pt x="166" y="251"/>
                    <a:pt x="166" y="251"/>
                  </a:cubicBezTo>
                  <a:cubicBezTo>
                    <a:pt x="158" y="259"/>
                    <a:pt x="158" y="259"/>
                    <a:pt x="158" y="259"/>
                  </a:cubicBezTo>
                  <a:cubicBezTo>
                    <a:pt x="153" y="267"/>
                    <a:pt x="153" y="267"/>
                    <a:pt x="153" y="267"/>
                  </a:cubicBezTo>
                  <a:cubicBezTo>
                    <a:pt x="143" y="271"/>
                    <a:pt x="143" y="271"/>
                    <a:pt x="143" y="271"/>
                  </a:cubicBezTo>
                  <a:cubicBezTo>
                    <a:pt x="139" y="272"/>
                    <a:pt x="139" y="272"/>
                    <a:pt x="139" y="272"/>
                  </a:cubicBezTo>
                  <a:cubicBezTo>
                    <a:pt x="130" y="274"/>
                    <a:pt x="130" y="274"/>
                    <a:pt x="130" y="274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18" y="281"/>
                    <a:pt x="118" y="281"/>
                    <a:pt x="118" y="281"/>
                  </a:cubicBezTo>
                  <a:cubicBezTo>
                    <a:pt x="115" y="286"/>
                    <a:pt x="115" y="286"/>
                    <a:pt x="115" y="286"/>
                  </a:cubicBezTo>
                  <a:cubicBezTo>
                    <a:pt x="115" y="286"/>
                    <a:pt x="115" y="286"/>
                    <a:pt x="115" y="286"/>
                  </a:cubicBezTo>
                  <a:cubicBezTo>
                    <a:pt x="116" y="293"/>
                    <a:pt x="116" y="293"/>
                    <a:pt x="116" y="293"/>
                  </a:cubicBezTo>
                  <a:cubicBezTo>
                    <a:pt x="117" y="295"/>
                    <a:pt x="117" y="295"/>
                    <a:pt x="117" y="295"/>
                  </a:cubicBezTo>
                  <a:cubicBezTo>
                    <a:pt x="118" y="298"/>
                    <a:pt x="118" y="298"/>
                    <a:pt x="118" y="298"/>
                  </a:cubicBezTo>
                  <a:cubicBezTo>
                    <a:pt x="119" y="299"/>
                    <a:pt x="119" y="299"/>
                    <a:pt x="119" y="299"/>
                  </a:cubicBezTo>
                  <a:cubicBezTo>
                    <a:pt x="123" y="311"/>
                    <a:pt x="123" y="311"/>
                    <a:pt x="123" y="311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02" y="306"/>
                    <a:pt x="102" y="306"/>
                    <a:pt x="102" y="306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101" y="303"/>
                    <a:pt x="101" y="303"/>
                    <a:pt x="101" y="303"/>
                  </a:cubicBezTo>
                  <a:cubicBezTo>
                    <a:pt x="98" y="300"/>
                    <a:pt x="98" y="300"/>
                    <a:pt x="98" y="300"/>
                  </a:cubicBezTo>
                  <a:cubicBezTo>
                    <a:pt x="87" y="296"/>
                    <a:pt x="87" y="296"/>
                    <a:pt x="87" y="296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76" y="312"/>
                    <a:pt x="76" y="312"/>
                    <a:pt x="76" y="312"/>
                  </a:cubicBezTo>
                  <a:cubicBezTo>
                    <a:pt x="76" y="312"/>
                    <a:pt x="76" y="312"/>
                    <a:pt x="76" y="312"/>
                  </a:cubicBezTo>
                  <a:cubicBezTo>
                    <a:pt x="72" y="323"/>
                    <a:pt x="72" y="323"/>
                    <a:pt x="72" y="323"/>
                  </a:cubicBezTo>
                  <a:cubicBezTo>
                    <a:pt x="72" y="324"/>
                    <a:pt x="72" y="324"/>
                    <a:pt x="72" y="324"/>
                  </a:cubicBezTo>
                  <a:cubicBezTo>
                    <a:pt x="72" y="327"/>
                    <a:pt x="72" y="327"/>
                    <a:pt x="72" y="327"/>
                  </a:cubicBezTo>
                  <a:cubicBezTo>
                    <a:pt x="76" y="339"/>
                    <a:pt x="76" y="339"/>
                    <a:pt x="76" y="339"/>
                  </a:cubicBezTo>
                  <a:lnTo>
                    <a:pt x="80" y="3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  <p:sp>
          <p:nvSpPr>
            <p:cNvPr id="11" name="Freeform 17"/>
            <p:cNvSpPr>
              <a:spLocks/>
            </p:cNvSpPr>
            <p:nvPr/>
          </p:nvSpPr>
          <p:spPr bwMode="auto">
            <a:xfrm>
              <a:off x="3644776" y="6705278"/>
              <a:ext cx="177800" cy="87312"/>
            </a:xfrm>
            <a:custGeom>
              <a:avLst/>
              <a:gdLst>
                <a:gd name="T0" fmla="*/ 0 w 80"/>
                <a:gd name="T1" fmla="*/ 13 h 39"/>
                <a:gd name="T2" fmla="*/ 11 w 80"/>
                <a:gd name="T3" fmla="*/ 13 h 39"/>
                <a:gd name="T4" fmla="*/ 20 w 80"/>
                <a:gd name="T5" fmla="*/ 10 h 39"/>
                <a:gd name="T6" fmla="*/ 25 w 80"/>
                <a:gd name="T7" fmla="*/ 10 h 39"/>
                <a:gd name="T8" fmla="*/ 31 w 80"/>
                <a:gd name="T9" fmla="*/ 10 h 39"/>
                <a:gd name="T10" fmla="*/ 38 w 80"/>
                <a:gd name="T11" fmla="*/ 2 h 39"/>
                <a:gd name="T12" fmla="*/ 45 w 80"/>
                <a:gd name="T13" fmla="*/ 2 h 39"/>
                <a:gd name="T14" fmla="*/ 49 w 80"/>
                <a:gd name="T15" fmla="*/ 2 h 39"/>
                <a:gd name="T16" fmla="*/ 60 w 80"/>
                <a:gd name="T17" fmla="*/ 2 h 39"/>
                <a:gd name="T18" fmla="*/ 68 w 80"/>
                <a:gd name="T19" fmla="*/ 1 h 39"/>
                <a:gd name="T20" fmla="*/ 71 w 80"/>
                <a:gd name="T21" fmla="*/ 4 h 39"/>
                <a:gd name="T22" fmla="*/ 80 w 80"/>
                <a:gd name="T23" fmla="*/ 8 h 39"/>
                <a:gd name="T24" fmla="*/ 80 w 80"/>
                <a:gd name="T25" fmla="*/ 14 h 39"/>
                <a:gd name="T26" fmla="*/ 76 w 80"/>
                <a:gd name="T27" fmla="*/ 14 h 39"/>
                <a:gd name="T28" fmla="*/ 71 w 80"/>
                <a:gd name="T29" fmla="*/ 18 h 39"/>
                <a:gd name="T30" fmla="*/ 67 w 80"/>
                <a:gd name="T31" fmla="*/ 21 h 39"/>
                <a:gd name="T32" fmla="*/ 67 w 80"/>
                <a:gd name="T33" fmla="*/ 27 h 39"/>
                <a:gd name="T34" fmla="*/ 64 w 80"/>
                <a:gd name="T35" fmla="*/ 33 h 39"/>
                <a:gd name="T36" fmla="*/ 61 w 80"/>
                <a:gd name="T37" fmla="*/ 33 h 39"/>
                <a:gd name="T38" fmla="*/ 53 w 80"/>
                <a:gd name="T39" fmla="*/ 38 h 39"/>
                <a:gd name="T40" fmla="*/ 49 w 80"/>
                <a:gd name="T41" fmla="*/ 39 h 39"/>
                <a:gd name="T42" fmla="*/ 40 w 80"/>
                <a:gd name="T43" fmla="*/ 35 h 39"/>
                <a:gd name="T44" fmla="*/ 39 w 80"/>
                <a:gd name="T45" fmla="*/ 32 h 39"/>
                <a:gd name="T46" fmla="*/ 31 w 80"/>
                <a:gd name="T47" fmla="*/ 27 h 39"/>
                <a:gd name="T48" fmla="*/ 24 w 80"/>
                <a:gd name="T49" fmla="*/ 25 h 39"/>
                <a:gd name="T50" fmla="*/ 17 w 80"/>
                <a:gd name="T51" fmla="*/ 23 h 39"/>
                <a:gd name="T52" fmla="*/ 14 w 80"/>
                <a:gd name="T53" fmla="*/ 23 h 39"/>
                <a:gd name="T54" fmla="*/ 14 w 80"/>
                <a:gd name="T55" fmla="*/ 23 h 39"/>
                <a:gd name="T56" fmla="*/ 9 w 80"/>
                <a:gd name="T57" fmla="*/ 23 h 39"/>
                <a:gd name="T58" fmla="*/ 0 w 80"/>
                <a:gd name="T59" fmla="*/ 20 h 39"/>
                <a:gd name="T60" fmla="*/ 0 w 80"/>
                <a:gd name="T61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0" h="39">
                  <a:moveTo>
                    <a:pt x="0" y="13"/>
                  </a:moveTo>
                  <a:cubicBezTo>
                    <a:pt x="0" y="13"/>
                    <a:pt x="9" y="15"/>
                    <a:pt x="11" y="13"/>
                  </a:cubicBezTo>
                  <a:cubicBezTo>
                    <a:pt x="13" y="11"/>
                    <a:pt x="20" y="10"/>
                    <a:pt x="20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1" y="10"/>
                    <a:pt x="35" y="2"/>
                    <a:pt x="38" y="2"/>
                  </a:cubicBezTo>
                  <a:cubicBezTo>
                    <a:pt x="41" y="2"/>
                    <a:pt x="45" y="2"/>
                    <a:pt x="45" y="2"/>
                  </a:cubicBezTo>
                  <a:cubicBezTo>
                    <a:pt x="45" y="2"/>
                    <a:pt x="45" y="5"/>
                    <a:pt x="49" y="2"/>
                  </a:cubicBezTo>
                  <a:cubicBezTo>
                    <a:pt x="53" y="0"/>
                    <a:pt x="60" y="2"/>
                    <a:pt x="60" y="2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8" y="1"/>
                    <a:pt x="66" y="3"/>
                    <a:pt x="71" y="4"/>
                  </a:cubicBezTo>
                  <a:cubicBezTo>
                    <a:pt x="76" y="6"/>
                    <a:pt x="80" y="8"/>
                    <a:pt x="80" y="8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7" y="21"/>
                    <a:pt x="68" y="25"/>
                    <a:pt x="67" y="27"/>
                  </a:cubicBezTo>
                  <a:cubicBezTo>
                    <a:pt x="66" y="29"/>
                    <a:pt x="64" y="33"/>
                    <a:pt x="64" y="33"/>
                  </a:cubicBezTo>
                  <a:cubicBezTo>
                    <a:pt x="61" y="33"/>
                    <a:pt x="61" y="33"/>
                    <a:pt x="61" y="33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49" y="39"/>
                    <a:pt x="53" y="39"/>
                    <a:pt x="49" y="39"/>
                  </a:cubicBezTo>
                  <a:cubicBezTo>
                    <a:pt x="44" y="39"/>
                    <a:pt x="41" y="37"/>
                    <a:pt x="40" y="35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5" y="28"/>
                    <a:pt x="31" y="27"/>
                  </a:cubicBezTo>
                  <a:cubicBezTo>
                    <a:pt x="27" y="27"/>
                    <a:pt x="27" y="25"/>
                    <a:pt x="24" y="25"/>
                  </a:cubicBezTo>
                  <a:cubicBezTo>
                    <a:pt x="21" y="25"/>
                    <a:pt x="20" y="23"/>
                    <a:pt x="17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8" y="24"/>
                    <a:pt x="14" y="23"/>
                  </a:cubicBezTo>
                  <a:cubicBezTo>
                    <a:pt x="9" y="23"/>
                    <a:pt x="12" y="23"/>
                    <a:pt x="9" y="23"/>
                  </a:cubicBezTo>
                  <a:cubicBezTo>
                    <a:pt x="6" y="22"/>
                    <a:pt x="0" y="20"/>
                    <a:pt x="0" y="20"/>
                  </a:cubicBezTo>
                  <a:cubicBezTo>
                    <a:pt x="0" y="16"/>
                    <a:pt x="0" y="16"/>
                    <a:pt x="0" y="16"/>
                  </a:cubicBez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xtLst/>
          </p:spPr>
          <p:txBody>
            <a:bodyPr vert="horz" wrap="square" lIns="82398" tIns="41199" rIns="82398" bIns="41199" numCol="1" anchor="t" anchorCtr="0" compatLnSpc="1">
              <a:prstTxWarp prst="textNoShape">
                <a:avLst/>
              </a:prstTxWarp>
            </a:bodyPr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200" b="0">
                <a:solidFill>
                  <a:prstClr val="black"/>
                </a:solidFill>
                <a:cs typeface="+mn-cs"/>
              </a:endParaRPr>
            </a:p>
          </p:txBody>
        </p:sp>
      </p:grpSp>
      <p:sp>
        <p:nvSpPr>
          <p:cNvPr id="12" name="Block Arc 11"/>
          <p:cNvSpPr/>
          <p:nvPr/>
        </p:nvSpPr>
        <p:spPr>
          <a:xfrm>
            <a:off x="1033055" y="2992983"/>
            <a:ext cx="2747685" cy="2747685"/>
          </a:xfrm>
          <a:prstGeom prst="blockArc">
            <a:avLst>
              <a:gd name="adj1" fmla="val 2927691"/>
              <a:gd name="adj2" fmla="val 18837779"/>
              <a:gd name="adj3" fmla="val 0"/>
            </a:avLst>
          </a:prstGeom>
          <a:noFill/>
          <a:ln w="1270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91808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0" ker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4" name="Freeform 13"/>
          <p:cNvSpPr/>
          <p:nvPr/>
        </p:nvSpPr>
        <p:spPr>
          <a:xfrm>
            <a:off x="2637315" y="3362957"/>
            <a:ext cx="1225133" cy="2044620"/>
          </a:xfrm>
          <a:custGeom>
            <a:avLst/>
            <a:gdLst>
              <a:gd name="connsiteX0" fmla="*/ 422711 w 698080"/>
              <a:gd name="connsiteY0" fmla="*/ 0 h 1513080"/>
              <a:gd name="connsiteX1" fmla="*/ 489025 w 698080"/>
              <a:gd name="connsiteY1" fmla="*/ 86783 h 1513080"/>
              <a:gd name="connsiteX2" fmla="*/ 698080 w 698080"/>
              <a:gd name="connsiteY2" fmla="*/ 756540 h 1513080"/>
              <a:gd name="connsiteX3" fmla="*/ 489025 w 698080"/>
              <a:gd name="connsiteY3" fmla="*/ 1426297 h 1513080"/>
              <a:gd name="connsiteX4" fmla="*/ 422711 w 698080"/>
              <a:gd name="connsiteY4" fmla="*/ 1513080 h 1513080"/>
              <a:gd name="connsiteX5" fmla="*/ 405477 w 698080"/>
              <a:gd name="connsiteY5" fmla="*/ 1502834 h 1513080"/>
              <a:gd name="connsiteX6" fmla="*/ 0 w 698080"/>
              <a:gd name="connsiteY6" fmla="*/ 756540 h 1513080"/>
              <a:gd name="connsiteX7" fmla="*/ 405477 w 698080"/>
              <a:gd name="connsiteY7" fmla="*/ 10246 h 151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8080" h="1513080">
                <a:moveTo>
                  <a:pt x="422711" y="0"/>
                </a:moveTo>
                <a:lnTo>
                  <a:pt x="489025" y="86783"/>
                </a:lnTo>
                <a:cubicBezTo>
                  <a:pt x="621012" y="277969"/>
                  <a:pt x="698080" y="508447"/>
                  <a:pt x="698080" y="756540"/>
                </a:cubicBezTo>
                <a:cubicBezTo>
                  <a:pt x="698080" y="1004633"/>
                  <a:pt x="621012" y="1235111"/>
                  <a:pt x="489025" y="1426297"/>
                </a:cubicBezTo>
                <a:lnTo>
                  <a:pt x="422711" y="1513080"/>
                </a:lnTo>
                <a:lnTo>
                  <a:pt x="405477" y="1502834"/>
                </a:lnTo>
                <a:cubicBezTo>
                  <a:pt x="160841" y="1341098"/>
                  <a:pt x="0" y="1067200"/>
                  <a:pt x="0" y="756540"/>
                </a:cubicBezTo>
                <a:cubicBezTo>
                  <a:pt x="0" y="445880"/>
                  <a:pt x="160841" y="171983"/>
                  <a:pt x="405477" y="10246"/>
                </a:cubicBezTo>
                <a:close/>
              </a:path>
            </a:pathLst>
          </a:custGeom>
          <a:solidFill>
            <a:schemeClr val="accent4">
              <a:alpha val="35000"/>
            </a:schemeClr>
          </a:solidFill>
          <a:ln w="3175" cap="flat" cmpd="sng" algn="ctr">
            <a:noFill/>
            <a:prstDash val="solid"/>
          </a:ln>
          <a:effectLst/>
        </p:spPr>
        <p:txBody>
          <a:bodyPr wrap="square" rtlCol="0" anchor="ctr">
            <a:noAutofit/>
          </a:bodyPr>
          <a:lstStyle/>
          <a:p>
            <a:pPr algn="ctr" defTabSz="918084" fontAlgn="auto">
              <a:spcBef>
                <a:spcPts val="0"/>
              </a:spcBef>
              <a:spcAft>
                <a:spcPts val="0"/>
              </a:spcAft>
            </a:pPr>
            <a:endParaRPr lang="ru-RU" sz="1200" b="0" kern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5" name="Donut 14"/>
          <p:cNvSpPr/>
          <p:nvPr/>
        </p:nvSpPr>
        <p:spPr>
          <a:xfrm>
            <a:off x="2560330" y="3286774"/>
            <a:ext cx="2216374" cy="2216374"/>
          </a:xfrm>
          <a:prstGeom prst="donut">
            <a:avLst>
              <a:gd name="adj" fmla="val 1859"/>
            </a:avLst>
          </a:prstGeom>
          <a:solidFill>
            <a:schemeClr val="accent1"/>
          </a:solidFill>
          <a:ln w="98425" cap="flat" cmpd="sng" algn="ctr">
            <a:solidFill>
              <a:srgbClr val="470A68"/>
            </a:solidFill>
            <a:prstDash val="solid"/>
          </a:ln>
          <a:effectLst/>
        </p:spPr>
        <p:txBody>
          <a:bodyPr rtlCol="0" anchor="ctr"/>
          <a:lstStyle/>
          <a:p>
            <a:pPr algn="ctr" defTabSz="91808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0" ker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49809" y="4097789"/>
            <a:ext cx="786453" cy="70967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ru-RU" sz="1200" b="1" kern="0" dirty="0">
                <a:solidFill>
                  <a:schemeClr val="accent2"/>
                </a:solidFill>
                <a:cs typeface="+mn-cs"/>
              </a:rPr>
              <a:t>£</a:t>
            </a:r>
            <a:r>
              <a:rPr lang="ru-RU" sz="1200" b="1" kern="0" dirty="0" smtClean="0">
                <a:solidFill>
                  <a:schemeClr val="accent2"/>
                </a:solidFill>
                <a:cs typeface="+mn-cs"/>
              </a:rPr>
              <a:t>6,4 млрд</a:t>
            </a:r>
            <a:endParaRPr lang="en-GB" sz="1200" b="1" kern="0" dirty="0">
              <a:solidFill>
                <a:schemeClr val="accent2"/>
              </a:solidFill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9329" y="3512408"/>
            <a:ext cx="977615" cy="29491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ru-RU" sz="1200" b="1" kern="0" dirty="0">
                <a:solidFill>
                  <a:schemeClr val="accent1"/>
                </a:solidFill>
                <a:cs typeface="+mn-cs"/>
              </a:rPr>
              <a:t>Банки</a:t>
            </a:r>
            <a:endParaRPr lang="en-GB" sz="1200" b="1" kern="0" dirty="0">
              <a:solidFill>
                <a:schemeClr val="accent1"/>
              </a:solidFill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213546" y="3605027"/>
            <a:ext cx="1079377" cy="26810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en-GB" sz="1200" b="1" kern="0" dirty="0" smtClean="0">
                <a:solidFill>
                  <a:schemeClr val="accent2"/>
                </a:solidFill>
                <a:cs typeface="+mn-cs"/>
              </a:rPr>
              <a:t>FinTech</a:t>
            </a:r>
            <a:endParaRPr lang="en-GB" sz="1200" b="1" kern="0" dirty="0">
              <a:solidFill>
                <a:schemeClr val="accent2"/>
              </a:solidFill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177995" y="1725768"/>
            <a:ext cx="3017520" cy="2653049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761" tIns="0" rIns="129761" bIns="0" rtlCol="0" anchor="ctr"/>
          <a:lstStyle/>
          <a:p>
            <a:pPr defTabSz="943048" fontAlgn="auto">
              <a:spcBef>
                <a:spcPts val="0"/>
              </a:spcBef>
              <a:spcAft>
                <a:spcPts val="540"/>
              </a:spcAft>
            </a:pP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ании </a:t>
            </a:r>
            <a:r>
              <a:rPr lang="en-US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r>
              <a:rPr lang="ru-RU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вивают как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традиционные банковские продукты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отбирая долю рынка у банков, так и создают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ынок новых продуктов:</a:t>
            </a:r>
          </a:p>
          <a:p>
            <a:pPr marL="341684" lvl="1" indent="-171450" defTabSz="943048" fontAlgn="auto">
              <a:spcBef>
                <a:spcPts val="0"/>
              </a:spcBef>
              <a:spcAft>
                <a:spcPts val="540"/>
              </a:spcAft>
              <a:buFont typeface="Wingdings" panose="05000000000000000000" pitchFamily="2" charset="2"/>
              <a:buChar char="§"/>
            </a:pP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2015 году выручка компаний </a:t>
            </a:r>
            <a:r>
              <a:rPr lang="en-US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r>
              <a:rPr lang="ru-RU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еликобритании</a:t>
            </a:r>
            <a:r>
              <a:rPr lang="en-US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т продуктов, конкурирующих с банковскими, составила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£13</a:t>
            </a:r>
            <a:r>
              <a:rPr lang="en-US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7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млрд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200" b="0" dirty="0" smtClean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1684" lvl="1" indent="-171450" defTabSz="943048" fontAlgn="auto">
              <a:spcBef>
                <a:spcPts val="0"/>
              </a:spcBef>
              <a:spcAft>
                <a:spcPts val="54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м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ынка новых продуктов составил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£6,4 млрд </a:t>
            </a:r>
            <a:endParaRPr lang="ru-RU" sz="1200" b="0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47004" y="3989542"/>
            <a:ext cx="11608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ru-RU" sz="1200" b="1" kern="0" dirty="0">
                <a:solidFill>
                  <a:schemeClr val="tx1"/>
                </a:solidFill>
                <a:cs typeface="+mn-cs"/>
              </a:rPr>
              <a:t>£13,7 млрд</a:t>
            </a:r>
            <a:endParaRPr lang="en-GB" sz="1200" b="1" kern="0" dirty="0">
              <a:solidFill>
                <a:schemeClr val="tx1"/>
              </a:solidFill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94878" y="2262695"/>
            <a:ext cx="21968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ru-RU" sz="1200" kern="0" dirty="0">
                <a:solidFill>
                  <a:srgbClr val="FFFFFF">
                    <a:lumMod val="50000"/>
                  </a:srgbClr>
                </a:solidFill>
                <a:cs typeface="+mn-cs"/>
              </a:rPr>
              <a:t>Традиционные банковские продукты</a:t>
            </a:r>
            <a:r>
              <a:rPr lang="en-US" sz="1200" kern="0" dirty="0">
                <a:solidFill>
                  <a:srgbClr val="FFFFFF">
                    <a:lumMod val="50000"/>
                  </a:srgbClr>
                </a:solidFill>
                <a:cs typeface="+mn-cs"/>
              </a:rPr>
              <a:t>, </a:t>
            </a:r>
            <a:r>
              <a:rPr lang="ru-RU" sz="1200" kern="0" dirty="0">
                <a:solidFill>
                  <a:srgbClr val="FFFFFF">
                    <a:lumMod val="50000"/>
                  </a:srgbClr>
                </a:solidFill>
                <a:cs typeface="+mn-cs"/>
              </a:rPr>
              <a:t>каннибализированные компаниями </a:t>
            </a:r>
            <a:r>
              <a:rPr lang="en-US" sz="1200" kern="0" dirty="0" smtClean="0">
                <a:solidFill>
                  <a:srgbClr val="FFFFFF">
                    <a:lumMod val="50000"/>
                  </a:srgbClr>
                </a:solidFill>
                <a:cs typeface="+mn-cs"/>
              </a:rPr>
              <a:t>FinTech</a:t>
            </a:r>
            <a:endParaRPr lang="en-GB" sz="1200" b="0" kern="0" dirty="0">
              <a:solidFill>
                <a:srgbClr val="FFFFFF">
                  <a:lumMod val="50000"/>
                </a:srgbClr>
              </a:solidFill>
              <a:cs typeface="+mn-cs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3453513" y="3081581"/>
            <a:ext cx="2449857" cy="840207"/>
            <a:chOff x="3888161" y="4706703"/>
            <a:chExt cx="2393849" cy="613846"/>
          </a:xfrm>
        </p:grpSpPr>
        <p:cxnSp>
          <p:nvCxnSpPr>
            <p:cNvPr id="24" name="Straight Connector 23"/>
            <p:cNvCxnSpPr/>
            <p:nvPr/>
          </p:nvCxnSpPr>
          <p:spPr>
            <a:xfrm>
              <a:off x="4338001" y="4706703"/>
              <a:ext cx="1944009" cy="0"/>
            </a:xfrm>
            <a:prstGeom prst="line">
              <a:avLst/>
            </a:prstGeom>
            <a:ln w="28575">
              <a:solidFill>
                <a:srgbClr val="7F7F7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flipV="1">
              <a:off x="3888161" y="4706703"/>
              <a:ext cx="443920" cy="613846"/>
            </a:xfrm>
            <a:prstGeom prst="line">
              <a:avLst/>
            </a:prstGeom>
            <a:ln w="28575">
              <a:solidFill>
                <a:srgbClr val="7F7F7F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6" name="Group 25"/>
          <p:cNvGrpSpPr/>
          <p:nvPr/>
        </p:nvGrpSpPr>
        <p:grpSpPr>
          <a:xfrm rot="10800000">
            <a:off x="3915731" y="5142377"/>
            <a:ext cx="2147897" cy="950419"/>
            <a:chOff x="4201354" y="3408168"/>
            <a:chExt cx="2383595" cy="1054713"/>
          </a:xfrm>
        </p:grpSpPr>
        <p:cxnSp>
          <p:nvCxnSpPr>
            <p:cNvPr id="27" name="Straight Connector 26"/>
            <p:cNvCxnSpPr/>
            <p:nvPr/>
          </p:nvCxnSpPr>
          <p:spPr>
            <a:xfrm rot="10800000" flipH="1">
              <a:off x="4201354" y="3408168"/>
              <a:ext cx="2224228" cy="0"/>
            </a:xfrm>
            <a:prstGeom prst="line">
              <a:avLst/>
            </a:prstGeom>
            <a:ln w="2857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rot="10800000">
              <a:off x="6407812" y="3408168"/>
              <a:ext cx="177137" cy="1054713"/>
            </a:xfrm>
            <a:prstGeom prst="line">
              <a:avLst/>
            </a:prstGeom>
            <a:ln w="28575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TextBox 28"/>
          <p:cNvSpPr txBox="1"/>
          <p:nvPr/>
        </p:nvSpPr>
        <p:spPr>
          <a:xfrm>
            <a:off x="4092391" y="5473405"/>
            <a:ext cx="1971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8084" fontAlgn="auto">
              <a:spcBef>
                <a:spcPts val="0"/>
              </a:spcBef>
              <a:spcAft>
                <a:spcPts val="811"/>
              </a:spcAft>
              <a:defRPr/>
            </a:pPr>
            <a:r>
              <a:rPr lang="ru-RU" sz="1200" kern="0" dirty="0">
                <a:solidFill>
                  <a:schemeClr val="accent2"/>
                </a:solidFill>
                <a:cs typeface="+mn-cs"/>
              </a:rPr>
              <a:t>Новые сервисы</a:t>
            </a:r>
            <a:r>
              <a:rPr lang="en-US" sz="1200" kern="0" dirty="0">
                <a:solidFill>
                  <a:schemeClr val="accent2"/>
                </a:solidFill>
                <a:cs typeface="+mn-cs"/>
              </a:rPr>
              <a:t>, </a:t>
            </a:r>
            <a:r>
              <a:rPr lang="ru-RU" sz="1200" kern="0" dirty="0">
                <a:solidFill>
                  <a:schemeClr val="accent2"/>
                </a:solidFill>
                <a:cs typeface="+mn-cs"/>
              </a:rPr>
              <a:t>созданные компаниями </a:t>
            </a:r>
            <a:r>
              <a:rPr lang="en-US" sz="1200" kern="0" dirty="0" smtClean="0">
                <a:solidFill>
                  <a:schemeClr val="accent2"/>
                </a:solidFill>
                <a:cs typeface="+mn-cs"/>
              </a:rPr>
              <a:t>FinTech</a:t>
            </a:r>
            <a:endParaRPr lang="en-GB" sz="1200" b="0" kern="0" dirty="0">
              <a:solidFill>
                <a:schemeClr val="accent2"/>
              </a:solidFill>
              <a:cs typeface="+mn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177995" y="4865523"/>
            <a:ext cx="3017520" cy="1586791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9761" tIns="0" rIns="129761" bIns="0" rtlCol="0" anchor="ctr"/>
          <a:lstStyle/>
          <a:p>
            <a:pPr defTabSz="943048" fontAlgn="auto">
              <a:spcBef>
                <a:spcPts val="0"/>
              </a:spcBef>
              <a:spcAft>
                <a:spcPts val="540"/>
              </a:spcAft>
            </a:pP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странах СНГ, </a:t>
            </a:r>
            <a:r>
              <a:rPr lang="en-US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ании только начинают закрепляться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рынке банковских продуктов и услуг, однако, в случае отсутствия ответных мер со стороны банков,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озможна </a:t>
            </a:r>
            <a:r>
              <a:rPr lang="ru-RU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нибализация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выручки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уровне, соответствующем уровню Великобритании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196361" y="4629846"/>
            <a:ext cx="3050623" cy="18288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2482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b="1" dirty="0">
                <a:solidFill>
                  <a:srgbClr val="00338D"/>
                </a:solidFill>
                <a:cs typeface="+mn-cs"/>
              </a:rPr>
              <a:t>Выводы для Банков СНГ</a:t>
            </a:r>
          </a:p>
        </p:txBody>
      </p:sp>
      <p:sp>
        <p:nvSpPr>
          <p:cNvPr id="34" name="Isosceles Triangle 33"/>
          <p:cNvSpPr/>
          <p:nvPr/>
        </p:nvSpPr>
        <p:spPr bwMode="ltGray">
          <a:xfrm rot="10800000">
            <a:off x="6726635" y="4400269"/>
            <a:ext cx="1920240" cy="182880"/>
          </a:xfrm>
          <a:prstGeom prst="triangle">
            <a:avLst/>
          </a:prstGeom>
          <a:solidFill>
            <a:schemeClr val="bg2">
              <a:lumMod val="9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ru-RU" sz="1200" b="0" dirty="0" err="1">
              <a:solidFill>
                <a:srgbClr val="FFFFFF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28004" y="1175479"/>
            <a:ext cx="8367511" cy="46166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defTabSz="943048" fontAlgn="auto">
              <a:spcBef>
                <a:spcPts val="0"/>
              </a:spcBef>
              <a:spcAft>
                <a:spcPts val="540"/>
              </a:spcAft>
              <a:buClr>
                <a:srgbClr val="FFAE18"/>
              </a:buClr>
            </a:pPr>
            <a:r>
              <a:rPr lang="en-US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igital </a:t>
            </a:r>
            <a:r>
              <a:rPr lang="ru-RU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мпании</a:t>
            </a:r>
            <a:r>
              <a:rPr lang="en-US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 подразделения банков </a:t>
            </a:r>
            <a:r>
              <a:rPr lang="ru-RU" sz="1200" b="1" dirty="0" err="1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ннибализируют</a:t>
            </a:r>
            <a:r>
              <a:rPr lang="ru-RU" sz="12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ыручку банков </a:t>
            </a:r>
            <a:r>
              <a:rPr lang="ru-RU" sz="12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 дополнительно создают </a:t>
            </a:r>
            <a:r>
              <a:rPr lang="ru-RU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енность </a:t>
            </a:r>
            <a:r>
              <a:rPr lang="ru-RU" sz="12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за счет вывода на рынок </a:t>
            </a:r>
            <a:r>
              <a:rPr lang="ru-RU" sz="1200" b="1" dirty="0" smtClean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овершенно новых </a:t>
            </a:r>
            <a:r>
              <a:rPr lang="ru-RU" sz="1200" b="1" dirty="0">
                <a:solidFill>
                  <a:schemeClr val="bg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ервисов</a:t>
            </a:r>
          </a:p>
        </p:txBody>
      </p:sp>
      <p:cxnSp>
        <p:nvCxnSpPr>
          <p:cNvPr id="37" name="Straight Connector 36"/>
          <p:cNvCxnSpPr/>
          <p:nvPr/>
        </p:nvCxnSpPr>
        <p:spPr>
          <a:xfrm flipV="1">
            <a:off x="6181859" y="4816698"/>
            <a:ext cx="30175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 flipV="1">
            <a:off x="925132" y="1968321"/>
            <a:ext cx="507492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646944" y="6578353"/>
            <a:ext cx="3510982" cy="12433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точник: Ассоциация банков Великобритании</a:t>
            </a:r>
            <a:r>
              <a:rPr lang="en-US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, 2015</a:t>
            </a:r>
          </a:p>
        </p:txBody>
      </p:sp>
    </p:spTree>
    <p:extLst>
      <p:ext uri="{BB962C8B-B14F-4D97-AF65-F5344CB8AC3E}">
        <p14:creationId xmlns:p14="http://schemas.microsoft.com/office/powerpoint/2010/main" val="945009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462825"/>
          </a:xfrm>
        </p:spPr>
        <p:txBody>
          <a:bodyPr/>
          <a:lstStyle/>
          <a:p>
            <a:r>
              <a:rPr lang="ru-RU" sz="2800" dirty="0"/>
              <a:t>…по всем основным типам банковских продуктов</a:t>
            </a:r>
            <a:r>
              <a:rPr lang="en-US" sz="2800" dirty="0"/>
              <a:t> </a:t>
            </a:r>
            <a:r>
              <a:rPr lang="ru-RU" sz="2800" dirty="0"/>
              <a:t>и услуг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7" descr="http://www.projectdirt.com/media/10374/avatars/Spacehive_Logo_I.png.270x270_q95_crop--50,-50_upscale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534" b="27078"/>
          <a:stretch/>
        </p:blipFill>
        <p:spPr bwMode="auto">
          <a:xfrm>
            <a:off x="5254219" y="1181822"/>
            <a:ext cx="1609969" cy="650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1" t="34138" r="12315" b="42829"/>
          <a:stretch/>
        </p:blipFill>
        <p:spPr>
          <a:xfrm>
            <a:off x="1132639" y="4395879"/>
            <a:ext cx="1287831" cy="3861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777" y="4210210"/>
            <a:ext cx="743226" cy="150964"/>
          </a:xfrm>
          <a:prstGeom prst="rect">
            <a:avLst/>
          </a:prstGeom>
        </p:spPr>
      </p:pic>
      <p:pic>
        <p:nvPicPr>
          <p:cNvPr id="8" name="Picture 5" descr="http://www.crowdlords.com/blog/wp-content/uploads/2015/06/seedrs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053" y="1263899"/>
            <a:ext cx="1246563" cy="62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9" descr="http://www.altfi.com/images/upload/nominees/Abundanc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524" y="2946944"/>
            <a:ext cx="1779925" cy="355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1" descr="https://d1v3gxj75vzch9.cloudfront.net/wp-content/uploads/2013/11/crowdcube-banner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7655" y="2150857"/>
            <a:ext cx="2015194" cy="590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https://github-jobs.s3.amazonaws.com/4e0760e2-0081-11e4-8321-fdd1adb67f0c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6194" y="1189653"/>
            <a:ext cx="1839321" cy="459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1" descr="http://tctechcrunch2011.files.wordpress.com/2012/11/lending_club_logo_new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8633" y="1902370"/>
            <a:ext cx="1712373" cy="322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8" descr="https://www.kabbage.com/Media/Default/Blog/Nice-logo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97" y="2211773"/>
            <a:ext cx="1082221" cy="600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5" descr="https://www.bbvacompass.com/Images/visa-checkout-logo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039" y="4931637"/>
            <a:ext cx="1062818" cy="19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7" descr="http://www.nfcworld.com/wp-content/uploads/2014/09/currentc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285" y="4468088"/>
            <a:ext cx="400040" cy="400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39" descr="http://www.flybe.com/corporate/media/news/1406/paypal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794" y="3747481"/>
            <a:ext cx="978965" cy="318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1" descr="http://www.aislelabs.com/wp-content/uploads/2014/07/ibeacon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9220" y="5350537"/>
            <a:ext cx="410243" cy="410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3" descr="http://www.ordermate.com.au/uploads/images/order-mate-logo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0415" y="4863035"/>
            <a:ext cx="664639" cy="406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5" descr="http://sharewiki.org/files/deleted/images/thumb/e/eb/Ripple-Logo.png/Ripple-Logo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4440" y="3759463"/>
            <a:ext cx="1173469" cy="31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7" descr="http://www.bet.com/news/global/photos/2013/07/tech-in-africa-homegrown-apps-transforming-the-continent/_jcr_content/leftcol/flipbook/flipbookimage_7.flipfeature.dimg/071913-global-africa-apps-mpesa-logo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4593" y="5306084"/>
            <a:ext cx="638580" cy="35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9" descr="https://tctechcrunch2011.files.wordpress.com/2015/12/transferwise_logo_detail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697" y="5658237"/>
            <a:ext cx="1113811" cy="197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51" descr="https://www.skipwallet.com/assets/logo-sw-aside-114ad02ffd7b6784d7a444568758a48e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1820" y="5327601"/>
            <a:ext cx="1091655" cy="253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3" descr="http://cdn.arstechnica.net/wp-content/uploads/2015/05/Android-Pay-mark-640x640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665" y="5765786"/>
            <a:ext cx="363933" cy="363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4" descr="https://upload.wikimedia.org/wikipedia/commons/thumb/b/b0/Apple_Pay_logo.svg/1280px-Apple_Pay_logo.sv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5255" y="5704492"/>
            <a:ext cx="486153" cy="233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9" descr="http://www.money2020.com/sites/default/files/yodlee.png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931" b="35630"/>
          <a:stretch/>
        </p:blipFill>
        <p:spPr bwMode="auto">
          <a:xfrm>
            <a:off x="7381453" y="4968148"/>
            <a:ext cx="1231775" cy="236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6" descr="https://www.magentocommerce.com/magento-connect/media/catalog/product/cache/9/image/9df78eab33525d08d6e5fb8d27136e95/a/d/adyen_logo_large_1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6072" y="5704492"/>
            <a:ext cx="579864" cy="19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8" descr="http://www.money2020.com/sites/default/files/saxo_payments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722" y="5756809"/>
            <a:ext cx="723643" cy="391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8043129" y="5371779"/>
            <a:ext cx="1087992" cy="256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57443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Конверсия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886982" y="4737701"/>
            <a:ext cx="228277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57443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Управление ликвидностью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325113" y="5300992"/>
            <a:ext cx="2504939" cy="256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57443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Торговое финансирование</a:t>
            </a:r>
          </a:p>
        </p:txBody>
      </p:sp>
      <p:pic>
        <p:nvPicPr>
          <p:cNvPr id="31" name="Picture 94" descr="http://cdn2.hubspot.net/hub/504707/hubfs/Traderiverfinance-Apr2015-files/trade-river-logo-with-margin-380x380.gif?t=1450259361406&amp;width=38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8268" y="5493338"/>
            <a:ext cx="631888" cy="631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9" descr="http://fintechinnovators.com/uploads/company/07f47890b3bca792390e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0430" y="5687233"/>
            <a:ext cx="828041" cy="297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Rectangle 32"/>
          <p:cNvSpPr/>
          <p:nvPr/>
        </p:nvSpPr>
        <p:spPr>
          <a:xfrm>
            <a:off x="6976870" y="3689379"/>
            <a:ext cx="2040943" cy="2574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57443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чета и ведение бизнеса</a:t>
            </a:r>
            <a:endParaRPr lang="en-GB" sz="1200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4" name="Picture 108" descr="http://fx-rate.net/images/logos_transfer/cf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438" y="5614428"/>
            <a:ext cx="1546785" cy="268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s://about.holvi.com/cmsmedia/filer_public/2014/01/09/holvi_logo_landscape.png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25" r="20665"/>
          <a:stretch/>
        </p:blipFill>
        <p:spPr bwMode="auto">
          <a:xfrm>
            <a:off x="7624552" y="3897943"/>
            <a:ext cx="799424" cy="64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0" descr="http://carbonfive.github.io/abtstyles/img/prosperLogodark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5503" y="3043660"/>
            <a:ext cx="1317572" cy="316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https://upload.wikimedia.org/wikipedia/en/thumb/0/03/Wonga.com_logo.png/250px-Wonga.com_logo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5111" y="2448806"/>
            <a:ext cx="952344" cy="33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0" descr="http://www.money2020.com/sites/default/files/can_capital_0.png"/>
          <p:cNvPicPr>
            <a:picLocks noChangeAspect="1" noChangeArrowheads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22" b="29630"/>
          <a:stretch/>
        </p:blipFill>
        <p:spPr bwMode="auto">
          <a:xfrm>
            <a:off x="3279248" y="1359032"/>
            <a:ext cx="1325881" cy="332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79" descr="http://www.tecnalia.ventures/images/stories/Noticias/imagen-portada-noticia/m_qing-logo-fondo-azul-3.jpg"/>
          <p:cNvPicPr>
            <a:picLocks noChangeAspect="1" noChangeArrowheads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37" b="20144"/>
          <a:stretch/>
        </p:blipFill>
        <p:spPr bwMode="auto">
          <a:xfrm>
            <a:off x="1089861" y="5227088"/>
            <a:ext cx="522025" cy="295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84" descr="https://appademic.nl/wp-content/uploads/2014/06/eaze-logo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78" y="5992781"/>
            <a:ext cx="495868" cy="132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95" descr="http://uber-superjob.com/wp-content/uploads/2015/11/uber-logo-transparent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5602" y="4816708"/>
            <a:ext cx="615571" cy="410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97" descr="https://stripe.com/img/blog/posts/orderahead/orderahead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5606" y="4191932"/>
            <a:ext cx="1062227" cy="188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Straight Connector 43"/>
          <p:cNvCxnSpPr/>
          <p:nvPr/>
        </p:nvCxnSpPr>
        <p:spPr>
          <a:xfrm>
            <a:off x="5088360" y="1119765"/>
            <a:ext cx="0" cy="486000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ot"/>
          </a:ln>
          <a:effectLst/>
        </p:spPr>
      </p:cxnSp>
      <p:sp>
        <p:nvSpPr>
          <p:cNvPr id="45" name="Freeform 19"/>
          <p:cNvSpPr>
            <a:spLocks/>
          </p:cNvSpPr>
          <p:nvPr/>
        </p:nvSpPr>
        <p:spPr bwMode="auto">
          <a:xfrm>
            <a:off x="5108884" y="2057538"/>
            <a:ext cx="1406919" cy="1406919"/>
          </a:xfrm>
          <a:custGeom>
            <a:avLst/>
            <a:gdLst/>
            <a:ahLst/>
            <a:cxnLst>
              <a:cxn ang="0">
                <a:pos x="1400" y="1400"/>
              </a:cxn>
              <a:cxn ang="0">
                <a:pos x="0" y="0"/>
              </a:cxn>
              <a:cxn ang="0">
                <a:pos x="0" y="0"/>
              </a:cxn>
              <a:cxn ang="0">
                <a:pos x="0" y="1400"/>
              </a:cxn>
              <a:cxn ang="0">
                <a:pos x="1400" y="1400"/>
              </a:cxn>
            </a:cxnLst>
            <a:rect l="0" t="0" r="r" b="b"/>
            <a:pathLst>
              <a:path w="1400" h="1400">
                <a:moveTo>
                  <a:pt x="1400" y="1400"/>
                </a:moveTo>
                <a:cubicBezTo>
                  <a:pt x="1400" y="627"/>
                  <a:pt x="774" y="0"/>
                  <a:pt x="0" y="0"/>
                </a:cubicBezTo>
                <a:cubicBezTo>
                  <a:pt x="0" y="0"/>
                  <a:pt x="0" y="0"/>
                  <a:pt x="0" y="0"/>
                </a:cubicBezTo>
                <a:lnTo>
                  <a:pt x="0" y="1400"/>
                </a:lnTo>
                <a:lnTo>
                  <a:pt x="1400" y="1400"/>
                </a:lnTo>
                <a:close/>
              </a:path>
            </a:pathLst>
          </a:custGeom>
          <a:solidFill>
            <a:srgbClr val="005EB8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cs typeface="+mn-cs"/>
            </a:endParaRPr>
          </a:p>
        </p:txBody>
      </p:sp>
      <p:sp>
        <p:nvSpPr>
          <p:cNvPr id="46" name="Freeform 20"/>
          <p:cNvSpPr>
            <a:spLocks/>
          </p:cNvSpPr>
          <p:nvPr/>
        </p:nvSpPr>
        <p:spPr bwMode="auto">
          <a:xfrm>
            <a:off x="5108884" y="3510466"/>
            <a:ext cx="1406919" cy="1406919"/>
          </a:xfrm>
          <a:custGeom>
            <a:avLst/>
            <a:gdLst/>
            <a:ahLst/>
            <a:cxnLst>
              <a:cxn ang="0">
                <a:pos x="0" y="1400"/>
              </a:cxn>
              <a:cxn ang="0">
                <a:pos x="1400" y="0"/>
              </a:cxn>
              <a:cxn ang="0">
                <a:pos x="0" y="0"/>
              </a:cxn>
              <a:cxn ang="0">
                <a:pos x="0" y="1400"/>
              </a:cxn>
            </a:cxnLst>
            <a:rect l="0" t="0" r="r" b="b"/>
            <a:pathLst>
              <a:path w="1400" h="1400">
                <a:moveTo>
                  <a:pt x="0" y="1400"/>
                </a:moveTo>
                <a:cubicBezTo>
                  <a:pt x="774" y="1400"/>
                  <a:pt x="1400" y="774"/>
                  <a:pt x="1400" y="0"/>
                </a:cubicBezTo>
                <a:lnTo>
                  <a:pt x="0" y="0"/>
                </a:lnTo>
                <a:lnTo>
                  <a:pt x="0" y="1400"/>
                </a:lnTo>
                <a:close/>
              </a:path>
            </a:pathLst>
          </a:custGeom>
          <a:solidFill>
            <a:srgbClr val="483698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cs typeface="+mn-cs"/>
            </a:endParaRPr>
          </a:p>
        </p:txBody>
      </p:sp>
      <p:sp>
        <p:nvSpPr>
          <p:cNvPr id="47" name="Freeform 21"/>
          <p:cNvSpPr>
            <a:spLocks/>
          </p:cNvSpPr>
          <p:nvPr/>
        </p:nvSpPr>
        <p:spPr bwMode="auto">
          <a:xfrm>
            <a:off x="3659566" y="3510466"/>
            <a:ext cx="1406919" cy="1406919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00" y="1400"/>
              </a:cxn>
              <a:cxn ang="0">
                <a:pos x="1400" y="0"/>
              </a:cxn>
              <a:cxn ang="0">
                <a:pos x="0" y="0"/>
              </a:cxn>
            </a:cxnLst>
            <a:rect l="0" t="0" r="r" b="b"/>
            <a:pathLst>
              <a:path w="1400" h="1400">
                <a:moveTo>
                  <a:pt x="0" y="0"/>
                </a:moveTo>
                <a:cubicBezTo>
                  <a:pt x="0" y="774"/>
                  <a:pt x="627" y="1400"/>
                  <a:pt x="1400" y="1400"/>
                </a:cubicBezTo>
                <a:lnTo>
                  <a:pt x="140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91DA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cs typeface="+mn-cs"/>
            </a:endParaRPr>
          </a:p>
        </p:txBody>
      </p:sp>
      <p:sp>
        <p:nvSpPr>
          <p:cNvPr id="48" name="Freeform 22"/>
          <p:cNvSpPr>
            <a:spLocks/>
          </p:cNvSpPr>
          <p:nvPr/>
        </p:nvSpPr>
        <p:spPr bwMode="auto">
          <a:xfrm>
            <a:off x="3659566" y="2057538"/>
            <a:ext cx="1406919" cy="1406919"/>
          </a:xfrm>
          <a:custGeom>
            <a:avLst/>
            <a:gdLst/>
            <a:ahLst/>
            <a:cxnLst>
              <a:cxn ang="0">
                <a:pos x="1400" y="0"/>
              </a:cxn>
              <a:cxn ang="0">
                <a:pos x="0" y="1400"/>
              </a:cxn>
              <a:cxn ang="0">
                <a:pos x="1400" y="1400"/>
              </a:cxn>
              <a:cxn ang="0">
                <a:pos x="1400" y="0"/>
              </a:cxn>
            </a:cxnLst>
            <a:rect l="0" t="0" r="r" b="b"/>
            <a:pathLst>
              <a:path w="1400" h="1400">
                <a:moveTo>
                  <a:pt x="1400" y="0"/>
                </a:moveTo>
                <a:cubicBezTo>
                  <a:pt x="627" y="0"/>
                  <a:pt x="0" y="627"/>
                  <a:pt x="0" y="1400"/>
                </a:cubicBezTo>
                <a:lnTo>
                  <a:pt x="1400" y="1400"/>
                </a:lnTo>
                <a:lnTo>
                  <a:pt x="1400" y="0"/>
                </a:lnTo>
                <a:close/>
              </a:path>
            </a:pathLst>
          </a:custGeom>
          <a:solidFill>
            <a:schemeClr val="tx2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cs typeface="+mn-cs"/>
            </a:endParaRPr>
          </a:p>
        </p:txBody>
      </p:sp>
      <p:sp>
        <p:nvSpPr>
          <p:cNvPr id="49" name="Oval 48"/>
          <p:cNvSpPr/>
          <p:nvPr/>
        </p:nvSpPr>
        <p:spPr bwMode="ltGray">
          <a:xfrm>
            <a:off x="3382574" y="1792540"/>
            <a:ext cx="1472727" cy="1472727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50" name="Oval 11"/>
          <p:cNvSpPr/>
          <p:nvPr/>
        </p:nvSpPr>
        <p:spPr bwMode="auto">
          <a:xfrm>
            <a:off x="3497119" y="1907086"/>
            <a:ext cx="1243636" cy="124363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36000" tIns="36000" rIns="36000" bIns="36000" spcCol="1270" anchor="ctr"/>
          <a:lstStyle/>
          <a:p>
            <a:pPr marL="0" marR="0" lvl="0" indent="0" algn="ctr" defTabSz="6618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Кредитование</a:t>
            </a:r>
            <a:b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и привлечение</a:t>
            </a:r>
            <a:endParaRPr kumimoji="0" lang="en-GB" sz="12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Oval 50"/>
          <p:cNvSpPr/>
          <p:nvPr/>
        </p:nvSpPr>
        <p:spPr bwMode="ltGray">
          <a:xfrm>
            <a:off x="5285075" y="1792540"/>
            <a:ext cx="1472727" cy="1472727"/>
          </a:xfrm>
          <a:prstGeom prst="ellipse">
            <a:avLst/>
          </a:prstGeom>
          <a:solidFill>
            <a:srgbClr val="005EB8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52" name="Oval 11"/>
          <p:cNvSpPr/>
          <p:nvPr/>
        </p:nvSpPr>
        <p:spPr bwMode="auto">
          <a:xfrm>
            <a:off x="5399620" y="1907086"/>
            <a:ext cx="1243636" cy="124363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36000" tIns="36000" rIns="36000" bIns="36000" spcCol="1270" anchor="ctr"/>
          <a:lstStyle/>
          <a:p>
            <a:pPr marL="0" marR="0" lvl="0" indent="0" algn="ctr" defTabSz="6618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Инвестиции</a:t>
            </a:r>
            <a:endParaRPr kumimoji="0" lang="en-GB" sz="12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3" name="Oval 52"/>
          <p:cNvSpPr/>
          <p:nvPr/>
        </p:nvSpPr>
        <p:spPr bwMode="ltGray">
          <a:xfrm>
            <a:off x="3382574" y="3668808"/>
            <a:ext cx="1472727" cy="1472727"/>
          </a:xfrm>
          <a:prstGeom prst="ellipse">
            <a:avLst/>
          </a:prstGeom>
          <a:solidFill>
            <a:srgbClr val="0091DA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54" name="Oval 11"/>
          <p:cNvSpPr/>
          <p:nvPr/>
        </p:nvSpPr>
        <p:spPr bwMode="auto">
          <a:xfrm>
            <a:off x="3497119" y="3783353"/>
            <a:ext cx="1243636" cy="124363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36000" tIns="36000" rIns="36000" bIns="36000" spcCol="1270" anchor="ctr"/>
          <a:lstStyle/>
          <a:p>
            <a:pPr marL="0" marR="0" lvl="0" indent="0" algn="ctr" defTabSz="6618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Платежи</a:t>
            </a:r>
            <a:endParaRPr kumimoji="0" lang="en-GB" sz="12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5" name="Oval 54"/>
          <p:cNvSpPr/>
          <p:nvPr/>
        </p:nvSpPr>
        <p:spPr bwMode="ltGray">
          <a:xfrm>
            <a:off x="5285075" y="3668808"/>
            <a:ext cx="1472727" cy="1472727"/>
          </a:xfrm>
          <a:prstGeom prst="ellipse">
            <a:avLst/>
          </a:prstGeom>
          <a:solidFill>
            <a:srgbClr val="483698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56" name="Oval 11"/>
          <p:cNvSpPr/>
          <p:nvPr/>
        </p:nvSpPr>
        <p:spPr bwMode="auto">
          <a:xfrm>
            <a:off x="5399620" y="3805125"/>
            <a:ext cx="1243636" cy="1243636"/>
          </a:xfrm>
          <a:prstGeom prst="ellipse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36000" tIns="72000" rIns="36000" bIns="36000" spcCol="1270" anchor="ctr"/>
          <a:lstStyle/>
          <a:p>
            <a:pPr marL="0" marR="0" lvl="0" indent="0" algn="ctr" defTabSz="6618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Прочие</a:t>
            </a:r>
            <a:b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банковские</a:t>
            </a:r>
            <a:b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ahoma" panose="020B0604030504040204" pitchFamily="34" charset="0"/>
                <a:cs typeface="Tahoma" panose="020B0604030504040204" pitchFamily="34" charset="0"/>
              </a:rPr>
              <a:t>услуги</a:t>
            </a:r>
            <a:endParaRPr kumimoji="0" lang="en-GB" sz="1200" b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820664" y="3490406"/>
            <a:ext cx="8522819" cy="0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ysDot"/>
          </a:ln>
          <a:effectLst/>
        </p:spPr>
      </p:cxnSp>
      <p:sp>
        <p:nvSpPr>
          <p:cNvPr id="58" name="Oval 11"/>
          <p:cNvSpPr/>
          <p:nvPr/>
        </p:nvSpPr>
        <p:spPr bwMode="auto">
          <a:xfrm>
            <a:off x="4683405" y="3092397"/>
            <a:ext cx="806971" cy="806971"/>
          </a:xfrm>
          <a:prstGeom prst="ellipse">
            <a:avLst/>
          </a:prstGeom>
          <a:solidFill>
            <a:srgbClr val="FFFFFF"/>
          </a:solidFill>
          <a:ln>
            <a:solidFill>
              <a:schemeClr val="tx2"/>
            </a:solidFill>
          </a:ln>
          <a:effectLst/>
        </p:spPr>
        <p:txBody>
          <a:bodyPr wrap="none" lIns="36000" tIns="36000" rIns="36000" bIns="36000" spcCol="1270" anchor="ctr"/>
          <a:lstStyle/>
          <a:p>
            <a:pPr marL="0" marR="0" lvl="0" indent="0" algn="ctr" defTabSz="661878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srgbClr val="968C6D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Oval 58"/>
          <p:cNvSpPr/>
          <p:nvPr/>
        </p:nvSpPr>
        <p:spPr bwMode="ltGray">
          <a:xfrm>
            <a:off x="4726004" y="3134996"/>
            <a:ext cx="721773" cy="721773"/>
          </a:xfrm>
          <a:prstGeom prst="ellips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4940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0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0" name="Object 3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8538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8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" name="Rectangle 3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082" b="1" dirty="0" err="1" smtClean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723600"/>
          </a:xfrm>
        </p:spPr>
        <p:txBody>
          <a:bodyPr/>
          <a:lstStyle/>
          <a:p>
            <a:r>
              <a:rPr lang="ru-RU" sz="2800" dirty="0"/>
              <a:t>В </a:t>
            </a:r>
            <a:r>
              <a:rPr lang="ru-RU" sz="2800" dirty="0" smtClean="0"/>
              <a:t>СНГ </a:t>
            </a:r>
            <a:r>
              <a:rPr lang="ru-RU" sz="2800" dirty="0"/>
              <a:t>банки активно инвестируют в </a:t>
            </a:r>
            <a:r>
              <a:rPr lang="en-US" sz="2800" dirty="0" err="1"/>
              <a:t>FinTech</a:t>
            </a:r>
            <a:r>
              <a:rPr lang="ru-RU" sz="2800" dirty="0"/>
              <a:t> компании для дальнейшего использования возникающих преимуществ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Rectangle 3"/>
          <p:cNvSpPr/>
          <p:nvPr/>
        </p:nvSpPr>
        <p:spPr bwMode="auto">
          <a:xfrm>
            <a:off x="917894" y="6643657"/>
            <a:ext cx="8401339" cy="12311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957263"/>
            <a:r>
              <a:rPr lang="ru-RU" sz="800" i="1" dirty="0" smtClean="0">
                <a:solidFill>
                  <a:schemeClr val="bg1"/>
                </a:solidFill>
              </a:rPr>
              <a:t>Источник: </a:t>
            </a:r>
            <a:r>
              <a:rPr lang="en-US" sz="800" i="1" dirty="0">
                <a:solidFill>
                  <a:schemeClr val="bg1"/>
                </a:solidFill>
              </a:rPr>
              <a:t>Innovative finance «The 2015 </a:t>
            </a:r>
            <a:r>
              <a:rPr lang="en-US" sz="800" i="1" dirty="0" smtClean="0">
                <a:solidFill>
                  <a:schemeClr val="bg1"/>
                </a:solidFill>
              </a:rPr>
              <a:t>FinTech </a:t>
            </a:r>
            <a:r>
              <a:rPr lang="en-US" sz="800" i="1" dirty="0">
                <a:solidFill>
                  <a:schemeClr val="bg1"/>
                </a:solidFill>
              </a:rPr>
              <a:t>investment landscape», </a:t>
            </a:r>
            <a:r>
              <a:rPr lang="ru-RU" sz="800" i="1" dirty="0">
                <a:solidFill>
                  <a:schemeClr val="bg1"/>
                </a:solidFill>
              </a:rPr>
              <a:t>февраль 2015; </a:t>
            </a:r>
            <a:r>
              <a:rPr lang="en-US" sz="800" i="1" dirty="0">
                <a:solidFill>
                  <a:schemeClr val="bg1"/>
                </a:solidFill>
              </a:rPr>
              <a:t>Simon, 2015, UK </a:t>
            </a:r>
            <a:r>
              <a:rPr lang="en-US" sz="800" i="1" dirty="0" smtClean="0">
                <a:solidFill>
                  <a:schemeClr val="bg1"/>
                </a:solidFill>
              </a:rPr>
              <a:t>FinTech </a:t>
            </a:r>
            <a:r>
              <a:rPr lang="en-US" sz="800" i="1" dirty="0">
                <a:solidFill>
                  <a:schemeClr val="bg1"/>
                </a:solidFill>
              </a:rPr>
              <a:t>Biggest Raises 2015 &amp; Trends; </a:t>
            </a:r>
            <a:r>
              <a:rPr lang="ru-RU" sz="800" i="1" dirty="0">
                <a:solidFill>
                  <a:schemeClr val="bg1"/>
                </a:solidFill>
              </a:rPr>
              <a:t>Анализ и прогноз </a:t>
            </a:r>
            <a:r>
              <a:rPr lang="en-US" sz="800" i="1" dirty="0">
                <a:solidFill>
                  <a:schemeClr val="bg1"/>
                </a:solidFill>
              </a:rPr>
              <a:t>PwC </a:t>
            </a:r>
          </a:p>
        </p:txBody>
      </p:sp>
      <p:sp>
        <p:nvSpPr>
          <p:cNvPr id="5" name="Freeform 5"/>
          <p:cNvSpPr>
            <a:spLocks/>
          </p:cNvSpPr>
          <p:nvPr/>
        </p:nvSpPr>
        <p:spPr bwMode="auto">
          <a:xfrm>
            <a:off x="3334627" y="3475847"/>
            <a:ext cx="45761" cy="24801"/>
          </a:xfrm>
          <a:custGeom>
            <a:avLst/>
            <a:gdLst/>
            <a:ahLst/>
            <a:cxnLst>
              <a:cxn ang="0">
                <a:pos x="1" y="7"/>
              </a:cxn>
              <a:cxn ang="0">
                <a:pos x="1" y="6"/>
              </a:cxn>
              <a:cxn ang="0">
                <a:pos x="4" y="4"/>
              </a:cxn>
              <a:cxn ang="0">
                <a:pos x="8" y="4"/>
              </a:cxn>
              <a:cxn ang="0">
                <a:pos x="12" y="2"/>
              </a:cxn>
              <a:cxn ang="0">
                <a:pos x="14" y="2"/>
              </a:cxn>
              <a:cxn ang="0">
                <a:pos x="14" y="4"/>
              </a:cxn>
              <a:cxn ang="0">
                <a:pos x="17" y="2"/>
              </a:cxn>
              <a:cxn ang="0">
                <a:pos x="17" y="2"/>
              </a:cxn>
              <a:cxn ang="0">
                <a:pos x="11" y="6"/>
              </a:cxn>
              <a:cxn ang="0">
                <a:pos x="8" y="7"/>
              </a:cxn>
              <a:cxn ang="0">
                <a:pos x="4" y="7"/>
              </a:cxn>
              <a:cxn ang="0">
                <a:pos x="1" y="9"/>
              </a:cxn>
              <a:cxn ang="0">
                <a:pos x="1" y="7"/>
              </a:cxn>
            </a:cxnLst>
            <a:rect l="0" t="0" r="r" b="b"/>
            <a:pathLst>
              <a:path w="18" h="9">
                <a:moveTo>
                  <a:pt x="1" y="7"/>
                </a:moveTo>
                <a:cubicBezTo>
                  <a:pt x="0" y="7"/>
                  <a:pt x="0" y="7"/>
                  <a:pt x="1" y="6"/>
                </a:cubicBezTo>
                <a:cubicBezTo>
                  <a:pt x="4" y="4"/>
                  <a:pt x="3" y="4"/>
                  <a:pt x="4" y="4"/>
                </a:cubicBezTo>
                <a:cubicBezTo>
                  <a:pt x="6" y="4"/>
                  <a:pt x="6" y="4"/>
                  <a:pt x="8" y="4"/>
                </a:cubicBezTo>
                <a:cubicBezTo>
                  <a:pt x="9" y="2"/>
                  <a:pt x="11" y="4"/>
                  <a:pt x="12" y="2"/>
                </a:cubicBezTo>
                <a:cubicBezTo>
                  <a:pt x="15" y="0"/>
                  <a:pt x="17" y="0"/>
                  <a:pt x="14" y="2"/>
                </a:cubicBezTo>
                <a:cubicBezTo>
                  <a:pt x="12" y="4"/>
                  <a:pt x="12" y="4"/>
                  <a:pt x="14" y="4"/>
                </a:cubicBezTo>
                <a:cubicBezTo>
                  <a:pt x="15" y="2"/>
                  <a:pt x="15" y="4"/>
                  <a:pt x="17" y="2"/>
                </a:cubicBezTo>
                <a:cubicBezTo>
                  <a:pt x="18" y="2"/>
                  <a:pt x="18" y="2"/>
                  <a:pt x="17" y="2"/>
                </a:cubicBezTo>
                <a:cubicBezTo>
                  <a:pt x="15" y="4"/>
                  <a:pt x="12" y="6"/>
                  <a:pt x="11" y="6"/>
                </a:cubicBezTo>
                <a:cubicBezTo>
                  <a:pt x="9" y="6"/>
                  <a:pt x="9" y="7"/>
                  <a:pt x="8" y="7"/>
                </a:cubicBezTo>
                <a:cubicBezTo>
                  <a:pt x="6" y="7"/>
                  <a:pt x="4" y="7"/>
                  <a:pt x="4" y="7"/>
                </a:cubicBezTo>
                <a:cubicBezTo>
                  <a:pt x="4" y="9"/>
                  <a:pt x="1" y="9"/>
                  <a:pt x="1" y="9"/>
                </a:cubicBezTo>
                <a:cubicBezTo>
                  <a:pt x="3" y="7"/>
                  <a:pt x="3" y="7"/>
                  <a:pt x="1" y="7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Freeform 12"/>
          <p:cNvSpPr>
            <a:spLocks/>
          </p:cNvSpPr>
          <p:nvPr/>
        </p:nvSpPr>
        <p:spPr bwMode="auto">
          <a:xfrm>
            <a:off x="3354239" y="1828800"/>
            <a:ext cx="1240797" cy="1015362"/>
          </a:xfrm>
          <a:custGeom>
            <a:avLst/>
            <a:gdLst/>
            <a:ahLst/>
            <a:cxnLst>
              <a:cxn ang="0">
                <a:pos x="394" y="224"/>
              </a:cxn>
              <a:cxn ang="0">
                <a:pos x="343" y="245"/>
              </a:cxn>
              <a:cxn ang="0">
                <a:pos x="315" y="259"/>
              </a:cxn>
              <a:cxn ang="0">
                <a:pos x="291" y="276"/>
              </a:cxn>
              <a:cxn ang="0">
                <a:pos x="280" y="283"/>
              </a:cxn>
              <a:cxn ang="0">
                <a:pos x="279" y="272"/>
              </a:cxn>
              <a:cxn ang="0">
                <a:pos x="273" y="283"/>
              </a:cxn>
              <a:cxn ang="0">
                <a:pos x="260" y="290"/>
              </a:cxn>
              <a:cxn ang="0">
                <a:pos x="256" y="303"/>
              </a:cxn>
              <a:cxn ang="0">
                <a:pos x="244" y="321"/>
              </a:cxn>
              <a:cxn ang="0">
                <a:pos x="241" y="346"/>
              </a:cxn>
              <a:cxn ang="0">
                <a:pos x="227" y="356"/>
              </a:cxn>
              <a:cxn ang="0">
                <a:pos x="215" y="342"/>
              </a:cxn>
              <a:cxn ang="0">
                <a:pos x="198" y="343"/>
              </a:cxn>
              <a:cxn ang="0">
                <a:pos x="187" y="331"/>
              </a:cxn>
              <a:cxn ang="0">
                <a:pos x="175" y="314"/>
              </a:cxn>
              <a:cxn ang="0">
                <a:pos x="178" y="298"/>
              </a:cxn>
              <a:cxn ang="0">
                <a:pos x="172" y="297"/>
              </a:cxn>
              <a:cxn ang="0">
                <a:pos x="160" y="281"/>
              </a:cxn>
              <a:cxn ang="0">
                <a:pos x="155" y="252"/>
              </a:cxn>
              <a:cxn ang="0">
                <a:pos x="174" y="241"/>
              </a:cxn>
              <a:cxn ang="0">
                <a:pos x="169" y="220"/>
              </a:cxn>
              <a:cxn ang="0">
                <a:pos x="175" y="213"/>
              </a:cxn>
              <a:cxn ang="0">
                <a:pos x="152" y="197"/>
              </a:cxn>
              <a:cxn ang="0">
                <a:pos x="142" y="183"/>
              </a:cxn>
              <a:cxn ang="0">
                <a:pos x="129" y="158"/>
              </a:cxn>
              <a:cxn ang="0">
                <a:pos x="97" y="127"/>
              </a:cxn>
              <a:cxn ang="0">
                <a:pos x="56" y="126"/>
              </a:cxn>
              <a:cxn ang="0">
                <a:pos x="17" y="115"/>
              </a:cxn>
              <a:cxn ang="0">
                <a:pos x="21" y="102"/>
              </a:cxn>
              <a:cxn ang="0">
                <a:pos x="39" y="79"/>
              </a:cxn>
              <a:cxn ang="0">
                <a:pos x="62" y="49"/>
              </a:cxn>
              <a:cxn ang="0">
                <a:pos x="154" y="26"/>
              </a:cxn>
              <a:cxn ang="0">
                <a:pos x="183" y="21"/>
              </a:cxn>
              <a:cxn ang="0">
                <a:pos x="221" y="17"/>
              </a:cxn>
              <a:cxn ang="0">
                <a:pos x="209" y="14"/>
              </a:cxn>
              <a:cxn ang="0">
                <a:pos x="279" y="10"/>
              </a:cxn>
              <a:cxn ang="0">
                <a:pos x="343" y="3"/>
              </a:cxn>
              <a:cxn ang="0">
                <a:pos x="355" y="10"/>
              </a:cxn>
              <a:cxn ang="0">
                <a:pos x="393" y="26"/>
              </a:cxn>
              <a:cxn ang="0">
                <a:pos x="375" y="35"/>
              </a:cxn>
              <a:cxn ang="0">
                <a:pos x="407" y="43"/>
              </a:cxn>
              <a:cxn ang="0">
                <a:pos x="483" y="38"/>
              </a:cxn>
              <a:cxn ang="0">
                <a:pos x="426" y="54"/>
              </a:cxn>
              <a:cxn ang="0">
                <a:pos x="420" y="65"/>
              </a:cxn>
              <a:cxn ang="0">
                <a:pos x="422" y="82"/>
              </a:cxn>
              <a:cxn ang="0">
                <a:pos x="425" y="102"/>
              </a:cxn>
              <a:cxn ang="0">
                <a:pos x="413" y="116"/>
              </a:cxn>
              <a:cxn ang="0">
                <a:pos x="425" y="132"/>
              </a:cxn>
              <a:cxn ang="0">
                <a:pos x="426" y="155"/>
              </a:cxn>
              <a:cxn ang="0">
                <a:pos x="408" y="169"/>
              </a:cxn>
              <a:cxn ang="0">
                <a:pos x="391" y="188"/>
              </a:cxn>
              <a:cxn ang="0">
                <a:pos x="408" y="199"/>
              </a:cxn>
              <a:cxn ang="0">
                <a:pos x="382" y="199"/>
              </a:cxn>
              <a:cxn ang="0">
                <a:pos x="362" y="205"/>
              </a:cxn>
              <a:cxn ang="0">
                <a:pos x="362" y="216"/>
              </a:cxn>
            </a:cxnLst>
            <a:rect l="0" t="0" r="r" b="b"/>
            <a:pathLst>
              <a:path w="489" h="359">
                <a:moveTo>
                  <a:pt x="375" y="216"/>
                </a:moveTo>
                <a:cubicBezTo>
                  <a:pt x="382" y="210"/>
                  <a:pt x="387" y="219"/>
                  <a:pt x="396" y="219"/>
                </a:cubicBezTo>
                <a:cubicBezTo>
                  <a:pt x="405" y="217"/>
                  <a:pt x="408" y="217"/>
                  <a:pt x="402" y="220"/>
                </a:cubicBezTo>
                <a:cubicBezTo>
                  <a:pt x="396" y="222"/>
                  <a:pt x="401" y="224"/>
                  <a:pt x="394" y="224"/>
                </a:cubicBezTo>
                <a:cubicBezTo>
                  <a:pt x="390" y="224"/>
                  <a:pt x="396" y="227"/>
                  <a:pt x="390" y="228"/>
                </a:cubicBezTo>
                <a:cubicBezTo>
                  <a:pt x="384" y="228"/>
                  <a:pt x="381" y="231"/>
                  <a:pt x="378" y="236"/>
                </a:cubicBezTo>
                <a:cubicBezTo>
                  <a:pt x="375" y="239"/>
                  <a:pt x="362" y="239"/>
                  <a:pt x="353" y="242"/>
                </a:cubicBezTo>
                <a:cubicBezTo>
                  <a:pt x="344" y="247"/>
                  <a:pt x="344" y="241"/>
                  <a:pt x="343" y="245"/>
                </a:cubicBezTo>
                <a:cubicBezTo>
                  <a:pt x="341" y="248"/>
                  <a:pt x="335" y="248"/>
                  <a:pt x="332" y="247"/>
                </a:cubicBezTo>
                <a:cubicBezTo>
                  <a:pt x="327" y="245"/>
                  <a:pt x="318" y="238"/>
                  <a:pt x="324" y="244"/>
                </a:cubicBezTo>
                <a:cubicBezTo>
                  <a:pt x="329" y="248"/>
                  <a:pt x="327" y="250"/>
                  <a:pt x="324" y="250"/>
                </a:cubicBezTo>
                <a:cubicBezTo>
                  <a:pt x="321" y="250"/>
                  <a:pt x="317" y="253"/>
                  <a:pt x="315" y="259"/>
                </a:cubicBezTo>
                <a:cubicBezTo>
                  <a:pt x="315" y="264"/>
                  <a:pt x="305" y="273"/>
                  <a:pt x="300" y="273"/>
                </a:cubicBezTo>
                <a:cubicBezTo>
                  <a:pt x="300" y="273"/>
                  <a:pt x="300" y="272"/>
                  <a:pt x="298" y="272"/>
                </a:cubicBezTo>
                <a:cubicBezTo>
                  <a:pt x="297" y="272"/>
                  <a:pt x="298" y="275"/>
                  <a:pt x="297" y="275"/>
                </a:cubicBezTo>
                <a:cubicBezTo>
                  <a:pt x="295" y="275"/>
                  <a:pt x="292" y="278"/>
                  <a:pt x="291" y="276"/>
                </a:cubicBezTo>
                <a:cubicBezTo>
                  <a:pt x="288" y="278"/>
                  <a:pt x="288" y="278"/>
                  <a:pt x="288" y="278"/>
                </a:cubicBezTo>
                <a:cubicBezTo>
                  <a:pt x="289" y="280"/>
                  <a:pt x="289" y="281"/>
                  <a:pt x="288" y="280"/>
                </a:cubicBezTo>
                <a:cubicBezTo>
                  <a:pt x="286" y="278"/>
                  <a:pt x="286" y="280"/>
                  <a:pt x="285" y="281"/>
                </a:cubicBezTo>
                <a:cubicBezTo>
                  <a:pt x="283" y="283"/>
                  <a:pt x="282" y="283"/>
                  <a:pt x="280" y="283"/>
                </a:cubicBezTo>
                <a:cubicBezTo>
                  <a:pt x="279" y="281"/>
                  <a:pt x="280" y="278"/>
                  <a:pt x="280" y="276"/>
                </a:cubicBezTo>
                <a:cubicBezTo>
                  <a:pt x="280" y="275"/>
                  <a:pt x="283" y="275"/>
                  <a:pt x="283" y="273"/>
                </a:cubicBezTo>
                <a:cubicBezTo>
                  <a:pt x="283" y="272"/>
                  <a:pt x="286" y="272"/>
                  <a:pt x="283" y="272"/>
                </a:cubicBezTo>
                <a:cubicBezTo>
                  <a:pt x="280" y="272"/>
                  <a:pt x="280" y="270"/>
                  <a:pt x="279" y="272"/>
                </a:cubicBezTo>
                <a:cubicBezTo>
                  <a:pt x="279" y="272"/>
                  <a:pt x="283" y="273"/>
                  <a:pt x="280" y="275"/>
                </a:cubicBezTo>
                <a:cubicBezTo>
                  <a:pt x="277" y="276"/>
                  <a:pt x="280" y="276"/>
                  <a:pt x="279" y="278"/>
                </a:cubicBezTo>
                <a:cubicBezTo>
                  <a:pt x="276" y="280"/>
                  <a:pt x="279" y="280"/>
                  <a:pt x="277" y="281"/>
                </a:cubicBezTo>
                <a:cubicBezTo>
                  <a:pt x="277" y="283"/>
                  <a:pt x="276" y="281"/>
                  <a:pt x="273" y="283"/>
                </a:cubicBezTo>
                <a:cubicBezTo>
                  <a:pt x="270" y="283"/>
                  <a:pt x="268" y="281"/>
                  <a:pt x="266" y="283"/>
                </a:cubicBezTo>
                <a:cubicBezTo>
                  <a:pt x="263" y="284"/>
                  <a:pt x="262" y="283"/>
                  <a:pt x="265" y="284"/>
                </a:cubicBezTo>
                <a:cubicBezTo>
                  <a:pt x="268" y="286"/>
                  <a:pt x="268" y="287"/>
                  <a:pt x="266" y="286"/>
                </a:cubicBezTo>
                <a:cubicBezTo>
                  <a:pt x="263" y="286"/>
                  <a:pt x="263" y="292"/>
                  <a:pt x="260" y="290"/>
                </a:cubicBezTo>
                <a:cubicBezTo>
                  <a:pt x="257" y="289"/>
                  <a:pt x="251" y="289"/>
                  <a:pt x="256" y="293"/>
                </a:cubicBezTo>
                <a:cubicBezTo>
                  <a:pt x="260" y="298"/>
                  <a:pt x="260" y="300"/>
                  <a:pt x="259" y="300"/>
                </a:cubicBezTo>
                <a:cubicBezTo>
                  <a:pt x="256" y="298"/>
                  <a:pt x="256" y="301"/>
                  <a:pt x="253" y="300"/>
                </a:cubicBezTo>
                <a:cubicBezTo>
                  <a:pt x="250" y="298"/>
                  <a:pt x="251" y="303"/>
                  <a:pt x="256" y="303"/>
                </a:cubicBezTo>
                <a:cubicBezTo>
                  <a:pt x="260" y="303"/>
                  <a:pt x="257" y="303"/>
                  <a:pt x="259" y="306"/>
                </a:cubicBezTo>
                <a:cubicBezTo>
                  <a:pt x="259" y="311"/>
                  <a:pt x="254" y="311"/>
                  <a:pt x="254" y="314"/>
                </a:cubicBezTo>
                <a:cubicBezTo>
                  <a:pt x="254" y="318"/>
                  <a:pt x="251" y="311"/>
                  <a:pt x="251" y="315"/>
                </a:cubicBezTo>
                <a:cubicBezTo>
                  <a:pt x="250" y="321"/>
                  <a:pt x="244" y="318"/>
                  <a:pt x="244" y="321"/>
                </a:cubicBezTo>
                <a:cubicBezTo>
                  <a:pt x="242" y="323"/>
                  <a:pt x="245" y="321"/>
                  <a:pt x="245" y="325"/>
                </a:cubicBezTo>
                <a:cubicBezTo>
                  <a:pt x="247" y="328"/>
                  <a:pt x="239" y="321"/>
                  <a:pt x="242" y="326"/>
                </a:cubicBezTo>
                <a:cubicBezTo>
                  <a:pt x="244" y="329"/>
                  <a:pt x="245" y="325"/>
                  <a:pt x="245" y="329"/>
                </a:cubicBezTo>
                <a:cubicBezTo>
                  <a:pt x="247" y="334"/>
                  <a:pt x="239" y="343"/>
                  <a:pt x="241" y="346"/>
                </a:cubicBezTo>
                <a:cubicBezTo>
                  <a:pt x="242" y="350"/>
                  <a:pt x="237" y="350"/>
                  <a:pt x="236" y="351"/>
                </a:cubicBezTo>
                <a:cubicBezTo>
                  <a:pt x="234" y="354"/>
                  <a:pt x="239" y="350"/>
                  <a:pt x="239" y="354"/>
                </a:cubicBezTo>
                <a:cubicBezTo>
                  <a:pt x="239" y="359"/>
                  <a:pt x="236" y="359"/>
                  <a:pt x="233" y="357"/>
                </a:cubicBezTo>
                <a:cubicBezTo>
                  <a:pt x="230" y="354"/>
                  <a:pt x="230" y="353"/>
                  <a:pt x="227" y="356"/>
                </a:cubicBezTo>
                <a:cubicBezTo>
                  <a:pt x="225" y="357"/>
                  <a:pt x="221" y="357"/>
                  <a:pt x="222" y="353"/>
                </a:cubicBezTo>
                <a:cubicBezTo>
                  <a:pt x="227" y="348"/>
                  <a:pt x="221" y="353"/>
                  <a:pt x="218" y="351"/>
                </a:cubicBezTo>
                <a:cubicBezTo>
                  <a:pt x="213" y="348"/>
                  <a:pt x="213" y="348"/>
                  <a:pt x="216" y="345"/>
                </a:cubicBezTo>
                <a:cubicBezTo>
                  <a:pt x="219" y="342"/>
                  <a:pt x="215" y="339"/>
                  <a:pt x="215" y="342"/>
                </a:cubicBezTo>
                <a:cubicBezTo>
                  <a:pt x="216" y="343"/>
                  <a:pt x="212" y="343"/>
                  <a:pt x="210" y="346"/>
                </a:cubicBezTo>
                <a:cubicBezTo>
                  <a:pt x="207" y="348"/>
                  <a:pt x="209" y="343"/>
                  <a:pt x="204" y="346"/>
                </a:cubicBezTo>
                <a:cubicBezTo>
                  <a:pt x="199" y="350"/>
                  <a:pt x="198" y="348"/>
                  <a:pt x="198" y="345"/>
                </a:cubicBezTo>
                <a:cubicBezTo>
                  <a:pt x="196" y="343"/>
                  <a:pt x="199" y="345"/>
                  <a:pt x="198" y="343"/>
                </a:cubicBezTo>
                <a:cubicBezTo>
                  <a:pt x="198" y="340"/>
                  <a:pt x="193" y="343"/>
                  <a:pt x="195" y="340"/>
                </a:cubicBezTo>
                <a:cubicBezTo>
                  <a:pt x="196" y="337"/>
                  <a:pt x="189" y="340"/>
                  <a:pt x="190" y="337"/>
                </a:cubicBezTo>
                <a:cubicBezTo>
                  <a:pt x="192" y="334"/>
                  <a:pt x="192" y="334"/>
                  <a:pt x="189" y="334"/>
                </a:cubicBezTo>
                <a:cubicBezTo>
                  <a:pt x="187" y="336"/>
                  <a:pt x="190" y="329"/>
                  <a:pt x="187" y="331"/>
                </a:cubicBezTo>
                <a:cubicBezTo>
                  <a:pt x="184" y="332"/>
                  <a:pt x="189" y="328"/>
                  <a:pt x="184" y="326"/>
                </a:cubicBezTo>
                <a:cubicBezTo>
                  <a:pt x="181" y="325"/>
                  <a:pt x="181" y="325"/>
                  <a:pt x="181" y="323"/>
                </a:cubicBezTo>
                <a:cubicBezTo>
                  <a:pt x="181" y="320"/>
                  <a:pt x="178" y="318"/>
                  <a:pt x="180" y="317"/>
                </a:cubicBezTo>
                <a:cubicBezTo>
                  <a:pt x="180" y="314"/>
                  <a:pt x="177" y="317"/>
                  <a:pt x="175" y="314"/>
                </a:cubicBezTo>
                <a:cubicBezTo>
                  <a:pt x="174" y="311"/>
                  <a:pt x="170" y="307"/>
                  <a:pt x="172" y="306"/>
                </a:cubicBezTo>
                <a:cubicBezTo>
                  <a:pt x="174" y="304"/>
                  <a:pt x="169" y="304"/>
                  <a:pt x="172" y="303"/>
                </a:cubicBezTo>
                <a:cubicBezTo>
                  <a:pt x="174" y="303"/>
                  <a:pt x="167" y="301"/>
                  <a:pt x="174" y="301"/>
                </a:cubicBezTo>
                <a:cubicBezTo>
                  <a:pt x="178" y="301"/>
                  <a:pt x="172" y="298"/>
                  <a:pt x="178" y="298"/>
                </a:cubicBezTo>
                <a:cubicBezTo>
                  <a:pt x="183" y="298"/>
                  <a:pt x="175" y="297"/>
                  <a:pt x="178" y="295"/>
                </a:cubicBezTo>
                <a:cubicBezTo>
                  <a:pt x="181" y="293"/>
                  <a:pt x="184" y="300"/>
                  <a:pt x="184" y="297"/>
                </a:cubicBezTo>
                <a:cubicBezTo>
                  <a:pt x="183" y="293"/>
                  <a:pt x="180" y="292"/>
                  <a:pt x="177" y="295"/>
                </a:cubicBezTo>
                <a:cubicBezTo>
                  <a:pt x="174" y="297"/>
                  <a:pt x="177" y="289"/>
                  <a:pt x="172" y="297"/>
                </a:cubicBezTo>
                <a:cubicBezTo>
                  <a:pt x="167" y="304"/>
                  <a:pt x="166" y="298"/>
                  <a:pt x="167" y="295"/>
                </a:cubicBezTo>
                <a:cubicBezTo>
                  <a:pt x="167" y="292"/>
                  <a:pt x="166" y="295"/>
                  <a:pt x="166" y="290"/>
                </a:cubicBezTo>
                <a:cubicBezTo>
                  <a:pt x="166" y="287"/>
                  <a:pt x="163" y="289"/>
                  <a:pt x="163" y="286"/>
                </a:cubicBezTo>
                <a:cubicBezTo>
                  <a:pt x="164" y="283"/>
                  <a:pt x="161" y="281"/>
                  <a:pt x="160" y="281"/>
                </a:cubicBezTo>
                <a:cubicBezTo>
                  <a:pt x="157" y="281"/>
                  <a:pt x="160" y="280"/>
                  <a:pt x="155" y="276"/>
                </a:cubicBezTo>
                <a:cubicBezTo>
                  <a:pt x="152" y="273"/>
                  <a:pt x="155" y="267"/>
                  <a:pt x="161" y="264"/>
                </a:cubicBezTo>
                <a:cubicBezTo>
                  <a:pt x="155" y="264"/>
                  <a:pt x="151" y="264"/>
                  <a:pt x="152" y="259"/>
                </a:cubicBezTo>
                <a:cubicBezTo>
                  <a:pt x="154" y="255"/>
                  <a:pt x="155" y="253"/>
                  <a:pt x="155" y="252"/>
                </a:cubicBezTo>
                <a:cubicBezTo>
                  <a:pt x="154" y="250"/>
                  <a:pt x="161" y="248"/>
                  <a:pt x="158" y="247"/>
                </a:cubicBezTo>
                <a:cubicBezTo>
                  <a:pt x="155" y="244"/>
                  <a:pt x="158" y="245"/>
                  <a:pt x="157" y="244"/>
                </a:cubicBezTo>
                <a:cubicBezTo>
                  <a:pt x="157" y="242"/>
                  <a:pt x="161" y="244"/>
                  <a:pt x="163" y="241"/>
                </a:cubicBezTo>
                <a:cubicBezTo>
                  <a:pt x="166" y="239"/>
                  <a:pt x="169" y="242"/>
                  <a:pt x="174" y="241"/>
                </a:cubicBezTo>
                <a:cubicBezTo>
                  <a:pt x="178" y="239"/>
                  <a:pt x="174" y="239"/>
                  <a:pt x="174" y="234"/>
                </a:cubicBezTo>
                <a:cubicBezTo>
                  <a:pt x="175" y="231"/>
                  <a:pt x="178" y="227"/>
                  <a:pt x="178" y="224"/>
                </a:cubicBezTo>
                <a:cubicBezTo>
                  <a:pt x="177" y="220"/>
                  <a:pt x="175" y="228"/>
                  <a:pt x="174" y="225"/>
                </a:cubicBezTo>
                <a:cubicBezTo>
                  <a:pt x="172" y="224"/>
                  <a:pt x="178" y="220"/>
                  <a:pt x="169" y="220"/>
                </a:cubicBezTo>
                <a:cubicBezTo>
                  <a:pt x="161" y="219"/>
                  <a:pt x="164" y="214"/>
                  <a:pt x="157" y="214"/>
                </a:cubicBezTo>
                <a:cubicBezTo>
                  <a:pt x="152" y="214"/>
                  <a:pt x="146" y="211"/>
                  <a:pt x="148" y="210"/>
                </a:cubicBezTo>
                <a:cubicBezTo>
                  <a:pt x="151" y="206"/>
                  <a:pt x="163" y="208"/>
                  <a:pt x="166" y="210"/>
                </a:cubicBezTo>
                <a:cubicBezTo>
                  <a:pt x="170" y="213"/>
                  <a:pt x="177" y="214"/>
                  <a:pt x="175" y="213"/>
                </a:cubicBezTo>
                <a:cubicBezTo>
                  <a:pt x="174" y="211"/>
                  <a:pt x="172" y="210"/>
                  <a:pt x="175" y="206"/>
                </a:cubicBezTo>
                <a:cubicBezTo>
                  <a:pt x="175" y="206"/>
                  <a:pt x="163" y="205"/>
                  <a:pt x="164" y="202"/>
                </a:cubicBezTo>
                <a:cubicBezTo>
                  <a:pt x="167" y="197"/>
                  <a:pt x="158" y="200"/>
                  <a:pt x="163" y="197"/>
                </a:cubicBezTo>
                <a:cubicBezTo>
                  <a:pt x="166" y="196"/>
                  <a:pt x="155" y="191"/>
                  <a:pt x="152" y="197"/>
                </a:cubicBezTo>
                <a:cubicBezTo>
                  <a:pt x="151" y="203"/>
                  <a:pt x="145" y="197"/>
                  <a:pt x="142" y="199"/>
                </a:cubicBezTo>
                <a:cubicBezTo>
                  <a:pt x="140" y="200"/>
                  <a:pt x="138" y="197"/>
                  <a:pt x="137" y="196"/>
                </a:cubicBezTo>
                <a:cubicBezTo>
                  <a:pt x="135" y="192"/>
                  <a:pt x="145" y="194"/>
                  <a:pt x="142" y="191"/>
                </a:cubicBezTo>
                <a:cubicBezTo>
                  <a:pt x="137" y="186"/>
                  <a:pt x="137" y="183"/>
                  <a:pt x="142" y="183"/>
                </a:cubicBezTo>
                <a:cubicBezTo>
                  <a:pt x="146" y="182"/>
                  <a:pt x="149" y="175"/>
                  <a:pt x="142" y="174"/>
                </a:cubicBezTo>
                <a:cubicBezTo>
                  <a:pt x="135" y="172"/>
                  <a:pt x="146" y="169"/>
                  <a:pt x="140" y="166"/>
                </a:cubicBezTo>
                <a:cubicBezTo>
                  <a:pt x="131" y="163"/>
                  <a:pt x="142" y="163"/>
                  <a:pt x="135" y="160"/>
                </a:cubicBezTo>
                <a:cubicBezTo>
                  <a:pt x="132" y="158"/>
                  <a:pt x="135" y="155"/>
                  <a:pt x="129" y="158"/>
                </a:cubicBezTo>
                <a:cubicBezTo>
                  <a:pt x="122" y="160"/>
                  <a:pt x="129" y="155"/>
                  <a:pt x="131" y="152"/>
                </a:cubicBezTo>
                <a:cubicBezTo>
                  <a:pt x="132" y="149"/>
                  <a:pt x="113" y="141"/>
                  <a:pt x="116" y="138"/>
                </a:cubicBezTo>
                <a:cubicBezTo>
                  <a:pt x="120" y="135"/>
                  <a:pt x="116" y="135"/>
                  <a:pt x="108" y="130"/>
                </a:cubicBezTo>
                <a:cubicBezTo>
                  <a:pt x="100" y="127"/>
                  <a:pt x="100" y="130"/>
                  <a:pt x="97" y="127"/>
                </a:cubicBezTo>
                <a:cubicBezTo>
                  <a:pt x="94" y="124"/>
                  <a:pt x="87" y="127"/>
                  <a:pt x="81" y="124"/>
                </a:cubicBezTo>
                <a:cubicBezTo>
                  <a:pt x="75" y="122"/>
                  <a:pt x="76" y="130"/>
                  <a:pt x="71" y="126"/>
                </a:cubicBezTo>
                <a:cubicBezTo>
                  <a:pt x="67" y="122"/>
                  <a:pt x="68" y="129"/>
                  <a:pt x="61" y="129"/>
                </a:cubicBezTo>
                <a:cubicBezTo>
                  <a:pt x="55" y="127"/>
                  <a:pt x="62" y="122"/>
                  <a:pt x="56" y="126"/>
                </a:cubicBezTo>
                <a:cubicBezTo>
                  <a:pt x="49" y="129"/>
                  <a:pt x="52" y="122"/>
                  <a:pt x="49" y="124"/>
                </a:cubicBezTo>
                <a:cubicBezTo>
                  <a:pt x="44" y="126"/>
                  <a:pt x="58" y="133"/>
                  <a:pt x="47" y="129"/>
                </a:cubicBezTo>
                <a:cubicBezTo>
                  <a:pt x="35" y="126"/>
                  <a:pt x="23" y="124"/>
                  <a:pt x="32" y="121"/>
                </a:cubicBezTo>
                <a:cubicBezTo>
                  <a:pt x="41" y="118"/>
                  <a:pt x="23" y="118"/>
                  <a:pt x="17" y="115"/>
                </a:cubicBezTo>
                <a:cubicBezTo>
                  <a:pt x="9" y="112"/>
                  <a:pt x="24" y="108"/>
                  <a:pt x="36" y="107"/>
                </a:cubicBezTo>
                <a:cubicBezTo>
                  <a:pt x="49" y="107"/>
                  <a:pt x="58" y="107"/>
                  <a:pt x="56" y="104"/>
                </a:cubicBezTo>
                <a:cubicBezTo>
                  <a:pt x="55" y="101"/>
                  <a:pt x="46" y="105"/>
                  <a:pt x="36" y="105"/>
                </a:cubicBezTo>
                <a:cubicBezTo>
                  <a:pt x="27" y="105"/>
                  <a:pt x="24" y="105"/>
                  <a:pt x="21" y="102"/>
                </a:cubicBezTo>
                <a:cubicBezTo>
                  <a:pt x="18" y="99"/>
                  <a:pt x="17" y="102"/>
                  <a:pt x="14" y="99"/>
                </a:cubicBezTo>
                <a:cubicBezTo>
                  <a:pt x="10" y="98"/>
                  <a:pt x="9" y="101"/>
                  <a:pt x="4" y="96"/>
                </a:cubicBezTo>
                <a:cubicBezTo>
                  <a:pt x="0" y="91"/>
                  <a:pt x="1" y="88"/>
                  <a:pt x="20" y="85"/>
                </a:cubicBezTo>
                <a:cubicBezTo>
                  <a:pt x="36" y="82"/>
                  <a:pt x="29" y="80"/>
                  <a:pt x="39" y="79"/>
                </a:cubicBezTo>
                <a:cubicBezTo>
                  <a:pt x="50" y="77"/>
                  <a:pt x="56" y="82"/>
                  <a:pt x="61" y="76"/>
                </a:cubicBezTo>
                <a:cubicBezTo>
                  <a:pt x="67" y="70"/>
                  <a:pt x="67" y="62"/>
                  <a:pt x="62" y="63"/>
                </a:cubicBezTo>
                <a:cubicBezTo>
                  <a:pt x="58" y="63"/>
                  <a:pt x="49" y="63"/>
                  <a:pt x="46" y="60"/>
                </a:cubicBezTo>
                <a:cubicBezTo>
                  <a:pt x="44" y="57"/>
                  <a:pt x="55" y="54"/>
                  <a:pt x="62" y="49"/>
                </a:cubicBezTo>
                <a:cubicBezTo>
                  <a:pt x="70" y="45"/>
                  <a:pt x="79" y="42"/>
                  <a:pt x="90" y="45"/>
                </a:cubicBezTo>
                <a:cubicBezTo>
                  <a:pt x="97" y="46"/>
                  <a:pt x="99" y="42"/>
                  <a:pt x="94" y="37"/>
                </a:cubicBezTo>
                <a:cubicBezTo>
                  <a:pt x="91" y="32"/>
                  <a:pt x="97" y="29"/>
                  <a:pt x="120" y="28"/>
                </a:cubicBezTo>
                <a:cubicBezTo>
                  <a:pt x="145" y="24"/>
                  <a:pt x="148" y="20"/>
                  <a:pt x="154" y="26"/>
                </a:cubicBezTo>
                <a:cubicBezTo>
                  <a:pt x="160" y="34"/>
                  <a:pt x="149" y="46"/>
                  <a:pt x="157" y="35"/>
                </a:cubicBezTo>
                <a:cubicBezTo>
                  <a:pt x="163" y="24"/>
                  <a:pt x="178" y="37"/>
                  <a:pt x="177" y="34"/>
                </a:cubicBezTo>
                <a:cubicBezTo>
                  <a:pt x="174" y="28"/>
                  <a:pt x="192" y="35"/>
                  <a:pt x="183" y="29"/>
                </a:cubicBezTo>
                <a:cubicBezTo>
                  <a:pt x="172" y="23"/>
                  <a:pt x="170" y="20"/>
                  <a:pt x="183" y="21"/>
                </a:cubicBezTo>
                <a:cubicBezTo>
                  <a:pt x="195" y="21"/>
                  <a:pt x="199" y="26"/>
                  <a:pt x="210" y="28"/>
                </a:cubicBezTo>
                <a:cubicBezTo>
                  <a:pt x="221" y="29"/>
                  <a:pt x="219" y="35"/>
                  <a:pt x="225" y="34"/>
                </a:cubicBezTo>
                <a:cubicBezTo>
                  <a:pt x="231" y="34"/>
                  <a:pt x="221" y="26"/>
                  <a:pt x="230" y="24"/>
                </a:cubicBezTo>
                <a:cubicBezTo>
                  <a:pt x="244" y="23"/>
                  <a:pt x="206" y="15"/>
                  <a:pt x="221" y="17"/>
                </a:cubicBezTo>
                <a:cubicBezTo>
                  <a:pt x="237" y="17"/>
                  <a:pt x="248" y="17"/>
                  <a:pt x="254" y="18"/>
                </a:cubicBezTo>
                <a:cubicBezTo>
                  <a:pt x="262" y="21"/>
                  <a:pt x="270" y="20"/>
                  <a:pt x="260" y="18"/>
                </a:cubicBezTo>
                <a:cubicBezTo>
                  <a:pt x="253" y="17"/>
                  <a:pt x="244" y="15"/>
                  <a:pt x="233" y="15"/>
                </a:cubicBezTo>
                <a:cubicBezTo>
                  <a:pt x="222" y="14"/>
                  <a:pt x="210" y="15"/>
                  <a:pt x="209" y="14"/>
                </a:cubicBezTo>
                <a:cubicBezTo>
                  <a:pt x="207" y="10"/>
                  <a:pt x="219" y="10"/>
                  <a:pt x="230" y="9"/>
                </a:cubicBezTo>
                <a:cubicBezTo>
                  <a:pt x="241" y="7"/>
                  <a:pt x="248" y="9"/>
                  <a:pt x="254" y="12"/>
                </a:cubicBezTo>
                <a:cubicBezTo>
                  <a:pt x="260" y="15"/>
                  <a:pt x="271" y="14"/>
                  <a:pt x="273" y="12"/>
                </a:cubicBezTo>
                <a:cubicBezTo>
                  <a:pt x="274" y="12"/>
                  <a:pt x="286" y="10"/>
                  <a:pt x="279" y="10"/>
                </a:cubicBezTo>
                <a:cubicBezTo>
                  <a:pt x="271" y="9"/>
                  <a:pt x="270" y="4"/>
                  <a:pt x="274" y="4"/>
                </a:cubicBezTo>
                <a:cubicBezTo>
                  <a:pt x="280" y="4"/>
                  <a:pt x="279" y="3"/>
                  <a:pt x="286" y="4"/>
                </a:cubicBezTo>
                <a:cubicBezTo>
                  <a:pt x="294" y="6"/>
                  <a:pt x="283" y="1"/>
                  <a:pt x="298" y="3"/>
                </a:cubicBezTo>
                <a:cubicBezTo>
                  <a:pt x="314" y="3"/>
                  <a:pt x="317" y="0"/>
                  <a:pt x="343" y="3"/>
                </a:cubicBezTo>
                <a:cubicBezTo>
                  <a:pt x="359" y="4"/>
                  <a:pt x="384" y="7"/>
                  <a:pt x="376" y="7"/>
                </a:cubicBezTo>
                <a:cubicBezTo>
                  <a:pt x="369" y="9"/>
                  <a:pt x="343" y="9"/>
                  <a:pt x="335" y="10"/>
                </a:cubicBezTo>
                <a:cubicBezTo>
                  <a:pt x="327" y="12"/>
                  <a:pt x="314" y="12"/>
                  <a:pt x="324" y="14"/>
                </a:cubicBezTo>
                <a:cubicBezTo>
                  <a:pt x="337" y="15"/>
                  <a:pt x="340" y="9"/>
                  <a:pt x="355" y="10"/>
                </a:cubicBezTo>
                <a:cubicBezTo>
                  <a:pt x="372" y="14"/>
                  <a:pt x="378" y="7"/>
                  <a:pt x="382" y="10"/>
                </a:cubicBezTo>
                <a:cubicBezTo>
                  <a:pt x="388" y="14"/>
                  <a:pt x="372" y="18"/>
                  <a:pt x="382" y="15"/>
                </a:cubicBezTo>
                <a:cubicBezTo>
                  <a:pt x="393" y="14"/>
                  <a:pt x="401" y="17"/>
                  <a:pt x="408" y="18"/>
                </a:cubicBezTo>
                <a:cubicBezTo>
                  <a:pt x="416" y="20"/>
                  <a:pt x="402" y="24"/>
                  <a:pt x="393" y="26"/>
                </a:cubicBezTo>
                <a:cubicBezTo>
                  <a:pt x="379" y="29"/>
                  <a:pt x="361" y="26"/>
                  <a:pt x="346" y="28"/>
                </a:cubicBezTo>
                <a:cubicBezTo>
                  <a:pt x="330" y="31"/>
                  <a:pt x="314" y="32"/>
                  <a:pt x="318" y="37"/>
                </a:cubicBezTo>
                <a:cubicBezTo>
                  <a:pt x="321" y="38"/>
                  <a:pt x="346" y="29"/>
                  <a:pt x="367" y="29"/>
                </a:cubicBezTo>
                <a:cubicBezTo>
                  <a:pt x="387" y="31"/>
                  <a:pt x="382" y="32"/>
                  <a:pt x="375" y="35"/>
                </a:cubicBezTo>
                <a:cubicBezTo>
                  <a:pt x="367" y="38"/>
                  <a:pt x="376" y="38"/>
                  <a:pt x="384" y="35"/>
                </a:cubicBezTo>
                <a:cubicBezTo>
                  <a:pt x="393" y="34"/>
                  <a:pt x="384" y="29"/>
                  <a:pt x="397" y="29"/>
                </a:cubicBezTo>
                <a:cubicBezTo>
                  <a:pt x="411" y="29"/>
                  <a:pt x="408" y="37"/>
                  <a:pt x="397" y="45"/>
                </a:cubicBezTo>
                <a:cubicBezTo>
                  <a:pt x="387" y="52"/>
                  <a:pt x="394" y="52"/>
                  <a:pt x="407" y="43"/>
                </a:cubicBezTo>
                <a:cubicBezTo>
                  <a:pt x="419" y="35"/>
                  <a:pt x="425" y="34"/>
                  <a:pt x="422" y="37"/>
                </a:cubicBezTo>
                <a:cubicBezTo>
                  <a:pt x="419" y="40"/>
                  <a:pt x="426" y="37"/>
                  <a:pt x="432" y="38"/>
                </a:cubicBezTo>
                <a:cubicBezTo>
                  <a:pt x="439" y="40"/>
                  <a:pt x="436" y="32"/>
                  <a:pt x="448" y="31"/>
                </a:cubicBezTo>
                <a:cubicBezTo>
                  <a:pt x="460" y="31"/>
                  <a:pt x="489" y="35"/>
                  <a:pt x="483" y="38"/>
                </a:cubicBezTo>
                <a:cubicBezTo>
                  <a:pt x="475" y="42"/>
                  <a:pt x="472" y="45"/>
                  <a:pt x="464" y="45"/>
                </a:cubicBezTo>
                <a:cubicBezTo>
                  <a:pt x="454" y="45"/>
                  <a:pt x="471" y="49"/>
                  <a:pt x="461" y="49"/>
                </a:cubicBezTo>
                <a:cubicBezTo>
                  <a:pt x="452" y="51"/>
                  <a:pt x="448" y="52"/>
                  <a:pt x="442" y="51"/>
                </a:cubicBezTo>
                <a:cubicBezTo>
                  <a:pt x="436" y="49"/>
                  <a:pt x="437" y="54"/>
                  <a:pt x="426" y="54"/>
                </a:cubicBezTo>
                <a:cubicBezTo>
                  <a:pt x="416" y="52"/>
                  <a:pt x="434" y="56"/>
                  <a:pt x="440" y="54"/>
                </a:cubicBezTo>
                <a:cubicBezTo>
                  <a:pt x="445" y="52"/>
                  <a:pt x="457" y="54"/>
                  <a:pt x="451" y="57"/>
                </a:cubicBezTo>
                <a:cubicBezTo>
                  <a:pt x="446" y="59"/>
                  <a:pt x="437" y="62"/>
                  <a:pt x="429" y="59"/>
                </a:cubicBezTo>
                <a:cubicBezTo>
                  <a:pt x="422" y="57"/>
                  <a:pt x="411" y="68"/>
                  <a:pt x="420" y="65"/>
                </a:cubicBezTo>
                <a:cubicBezTo>
                  <a:pt x="429" y="62"/>
                  <a:pt x="445" y="60"/>
                  <a:pt x="442" y="63"/>
                </a:cubicBezTo>
                <a:cubicBezTo>
                  <a:pt x="437" y="68"/>
                  <a:pt x="436" y="68"/>
                  <a:pt x="429" y="68"/>
                </a:cubicBezTo>
                <a:cubicBezTo>
                  <a:pt x="423" y="68"/>
                  <a:pt x="423" y="74"/>
                  <a:pt x="428" y="74"/>
                </a:cubicBezTo>
                <a:cubicBezTo>
                  <a:pt x="432" y="76"/>
                  <a:pt x="425" y="80"/>
                  <a:pt x="422" y="82"/>
                </a:cubicBezTo>
                <a:cubicBezTo>
                  <a:pt x="420" y="84"/>
                  <a:pt x="416" y="79"/>
                  <a:pt x="413" y="87"/>
                </a:cubicBezTo>
                <a:cubicBezTo>
                  <a:pt x="411" y="94"/>
                  <a:pt x="404" y="102"/>
                  <a:pt x="408" y="102"/>
                </a:cubicBezTo>
                <a:cubicBezTo>
                  <a:pt x="413" y="102"/>
                  <a:pt x="407" y="93"/>
                  <a:pt x="420" y="98"/>
                </a:cubicBezTo>
                <a:cubicBezTo>
                  <a:pt x="432" y="102"/>
                  <a:pt x="434" y="105"/>
                  <a:pt x="425" y="102"/>
                </a:cubicBezTo>
                <a:cubicBezTo>
                  <a:pt x="416" y="101"/>
                  <a:pt x="413" y="101"/>
                  <a:pt x="422" y="107"/>
                </a:cubicBezTo>
                <a:cubicBezTo>
                  <a:pt x="431" y="112"/>
                  <a:pt x="429" y="104"/>
                  <a:pt x="434" y="107"/>
                </a:cubicBezTo>
                <a:cubicBezTo>
                  <a:pt x="440" y="112"/>
                  <a:pt x="437" y="119"/>
                  <a:pt x="431" y="116"/>
                </a:cubicBezTo>
                <a:cubicBezTo>
                  <a:pt x="426" y="115"/>
                  <a:pt x="419" y="112"/>
                  <a:pt x="413" y="116"/>
                </a:cubicBezTo>
                <a:cubicBezTo>
                  <a:pt x="405" y="121"/>
                  <a:pt x="407" y="112"/>
                  <a:pt x="402" y="116"/>
                </a:cubicBezTo>
                <a:cubicBezTo>
                  <a:pt x="397" y="119"/>
                  <a:pt x="408" y="118"/>
                  <a:pt x="408" y="122"/>
                </a:cubicBezTo>
                <a:cubicBezTo>
                  <a:pt x="408" y="127"/>
                  <a:pt x="422" y="122"/>
                  <a:pt x="423" y="126"/>
                </a:cubicBezTo>
                <a:cubicBezTo>
                  <a:pt x="426" y="129"/>
                  <a:pt x="416" y="127"/>
                  <a:pt x="425" y="132"/>
                </a:cubicBezTo>
                <a:cubicBezTo>
                  <a:pt x="432" y="135"/>
                  <a:pt x="423" y="130"/>
                  <a:pt x="426" y="136"/>
                </a:cubicBezTo>
                <a:cubicBezTo>
                  <a:pt x="431" y="141"/>
                  <a:pt x="423" y="144"/>
                  <a:pt x="422" y="141"/>
                </a:cubicBezTo>
                <a:cubicBezTo>
                  <a:pt x="419" y="136"/>
                  <a:pt x="411" y="149"/>
                  <a:pt x="420" y="149"/>
                </a:cubicBezTo>
                <a:cubicBezTo>
                  <a:pt x="428" y="150"/>
                  <a:pt x="431" y="154"/>
                  <a:pt x="426" y="155"/>
                </a:cubicBezTo>
                <a:cubicBezTo>
                  <a:pt x="419" y="158"/>
                  <a:pt x="422" y="154"/>
                  <a:pt x="414" y="152"/>
                </a:cubicBezTo>
                <a:cubicBezTo>
                  <a:pt x="407" y="152"/>
                  <a:pt x="399" y="160"/>
                  <a:pt x="407" y="160"/>
                </a:cubicBezTo>
                <a:cubicBezTo>
                  <a:pt x="414" y="160"/>
                  <a:pt x="422" y="160"/>
                  <a:pt x="419" y="166"/>
                </a:cubicBezTo>
                <a:cubicBezTo>
                  <a:pt x="414" y="171"/>
                  <a:pt x="414" y="164"/>
                  <a:pt x="408" y="169"/>
                </a:cubicBezTo>
                <a:cubicBezTo>
                  <a:pt x="401" y="175"/>
                  <a:pt x="393" y="163"/>
                  <a:pt x="385" y="166"/>
                </a:cubicBezTo>
                <a:cubicBezTo>
                  <a:pt x="379" y="168"/>
                  <a:pt x="378" y="172"/>
                  <a:pt x="372" y="171"/>
                </a:cubicBezTo>
                <a:cubicBezTo>
                  <a:pt x="388" y="175"/>
                  <a:pt x="376" y="175"/>
                  <a:pt x="382" y="178"/>
                </a:cubicBezTo>
                <a:cubicBezTo>
                  <a:pt x="390" y="183"/>
                  <a:pt x="379" y="183"/>
                  <a:pt x="391" y="188"/>
                </a:cubicBezTo>
                <a:cubicBezTo>
                  <a:pt x="399" y="189"/>
                  <a:pt x="404" y="189"/>
                  <a:pt x="402" y="194"/>
                </a:cubicBezTo>
                <a:cubicBezTo>
                  <a:pt x="401" y="197"/>
                  <a:pt x="410" y="191"/>
                  <a:pt x="407" y="194"/>
                </a:cubicBezTo>
                <a:cubicBezTo>
                  <a:pt x="402" y="199"/>
                  <a:pt x="401" y="196"/>
                  <a:pt x="402" y="199"/>
                </a:cubicBezTo>
                <a:cubicBezTo>
                  <a:pt x="404" y="203"/>
                  <a:pt x="410" y="192"/>
                  <a:pt x="408" y="199"/>
                </a:cubicBezTo>
                <a:cubicBezTo>
                  <a:pt x="408" y="205"/>
                  <a:pt x="413" y="214"/>
                  <a:pt x="408" y="213"/>
                </a:cubicBezTo>
                <a:cubicBezTo>
                  <a:pt x="404" y="213"/>
                  <a:pt x="404" y="211"/>
                  <a:pt x="401" y="213"/>
                </a:cubicBezTo>
                <a:cubicBezTo>
                  <a:pt x="397" y="214"/>
                  <a:pt x="388" y="211"/>
                  <a:pt x="388" y="206"/>
                </a:cubicBezTo>
                <a:cubicBezTo>
                  <a:pt x="388" y="202"/>
                  <a:pt x="387" y="200"/>
                  <a:pt x="382" y="199"/>
                </a:cubicBezTo>
                <a:cubicBezTo>
                  <a:pt x="379" y="199"/>
                  <a:pt x="378" y="196"/>
                  <a:pt x="370" y="196"/>
                </a:cubicBezTo>
                <a:cubicBezTo>
                  <a:pt x="364" y="196"/>
                  <a:pt x="364" y="197"/>
                  <a:pt x="372" y="197"/>
                </a:cubicBezTo>
                <a:cubicBezTo>
                  <a:pt x="379" y="199"/>
                  <a:pt x="381" y="202"/>
                  <a:pt x="373" y="205"/>
                </a:cubicBezTo>
                <a:cubicBezTo>
                  <a:pt x="365" y="206"/>
                  <a:pt x="364" y="208"/>
                  <a:pt x="362" y="205"/>
                </a:cubicBezTo>
                <a:cubicBezTo>
                  <a:pt x="361" y="203"/>
                  <a:pt x="361" y="205"/>
                  <a:pt x="358" y="210"/>
                </a:cubicBezTo>
                <a:cubicBezTo>
                  <a:pt x="353" y="216"/>
                  <a:pt x="356" y="214"/>
                  <a:pt x="365" y="213"/>
                </a:cubicBezTo>
                <a:cubicBezTo>
                  <a:pt x="373" y="211"/>
                  <a:pt x="373" y="213"/>
                  <a:pt x="370" y="214"/>
                </a:cubicBezTo>
                <a:cubicBezTo>
                  <a:pt x="369" y="216"/>
                  <a:pt x="369" y="213"/>
                  <a:pt x="362" y="216"/>
                </a:cubicBezTo>
                <a:cubicBezTo>
                  <a:pt x="358" y="220"/>
                  <a:pt x="361" y="222"/>
                  <a:pt x="364" y="219"/>
                </a:cubicBezTo>
                <a:cubicBezTo>
                  <a:pt x="369" y="214"/>
                  <a:pt x="370" y="217"/>
                  <a:pt x="375" y="216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" name="Freeform 14"/>
          <p:cNvSpPr>
            <a:spLocks/>
          </p:cNvSpPr>
          <p:nvPr/>
        </p:nvSpPr>
        <p:spPr bwMode="auto">
          <a:xfrm>
            <a:off x="2469076" y="3735523"/>
            <a:ext cx="614515" cy="529564"/>
          </a:xfrm>
          <a:custGeom>
            <a:avLst/>
            <a:gdLst/>
            <a:ahLst/>
            <a:cxnLst>
              <a:cxn ang="0">
                <a:pos x="207" y="154"/>
              </a:cxn>
              <a:cxn ang="0">
                <a:pos x="204" y="161"/>
              </a:cxn>
              <a:cxn ang="0">
                <a:pos x="210" y="167"/>
              </a:cxn>
              <a:cxn ang="0">
                <a:pos x="201" y="172"/>
              </a:cxn>
              <a:cxn ang="0">
                <a:pos x="199" y="181"/>
              </a:cxn>
              <a:cxn ang="0">
                <a:pos x="198" y="187"/>
              </a:cxn>
              <a:cxn ang="0">
                <a:pos x="160" y="175"/>
              </a:cxn>
              <a:cxn ang="0">
                <a:pos x="106" y="147"/>
              </a:cxn>
              <a:cxn ang="0">
                <a:pos x="93" y="117"/>
              </a:cxn>
              <a:cxn ang="0">
                <a:pos x="64" y="77"/>
              </a:cxn>
              <a:cxn ang="0">
                <a:pos x="48" y="52"/>
              </a:cxn>
              <a:cxn ang="0">
                <a:pos x="27" y="15"/>
              </a:cxn>
              <a:cxn ang="0">
                <a:pos x="23" y="32"/>
              </a:cxn>
              <a:cxn ang="0">
                <a:pos x="44" y="64"/>
              </a:cxn>
              <a:cxn ang="0">
                <a:pos x="52" y="89"/>
              </a:cxn>
              <a:cxn ang="0">
                <a:pos x="59" y="102"/>
              </a:cxn>
              <a:cxn ang="0">
                <a:pos x="36" y="69"/>
              </a:cxn>
              <a:cxn ang="0">
                <a:pos x="23" y="49"/>
              </a:cxn>
              <a:cxn ang="0">
                <a:pos x="0" y="4"/>
              </a:cxn>
              <a:cxn ang="0">
                <a:pos x="18" y="4"/>
              </a:cxn>
              <a:cxn ang="0">
                <a:pos x="71" y="16"/>
              </a:cxn>
              <a:cxn ang="0">
                <a:pos x="84" y="11"/>
              </a:cxn>
              <a:cxn ang="0">
                <a:pos x="106" y="39"/>
              </a:cxn>
              <a:cxn ang="0">
                <a:pos x="137" y="52"/>
              </a:cxn>
              <a:cxn ang="0">
                <a:pos x="157" y="72"/>
              </a:cxn>
              <a:cxn ang="0">
                <a:pos x="154" y="89"/>
              </a:cxn>
              <a:cxn ang="0">
                <a:pos x="154" y="108"/>
              </a:cxn>
              <a:cxn ang="0">
                <a:pos x="160" y="128"/>
              </a:cxn>
              <a:cxn ang="0">
                <a:pos x="181" y="151"/>
              </a:cxn>
              <a:cxn ang="0">
                <a:pos x="196" y="145"/>
              </a:cxn>
              <a:cxn ang="0">
                <a:pos x="204" y="147"/>
              </a:cxn>
              <a:cxn ang="0">
                <a:pos x="210" y="137"/>
              </a:cxn>
              <a:cxn ang="0">
                <a:pos x="212" y="123"/>
              </a:cxn>
              <a:cxn ang="0">
                <a:pos x="228" y="117"/>
              </a:cxn>
              <a:cxn ang="0">
                <a:pos x="236" y="117"/>
              </a:cxn>
              <a:cxn ang="0">
                <a:pos x="240" y="119"/>
              </a:cxn>
              <a:cxn ang="0">
                <a:pos x="234" y="134"/>
              </a:cxn>
              <a:cxn ang="0">
                <a:pos x="234" y="139"/>
              </a:cxn>
              <a:cxn ang="0">
                <a:pos x="231" y="150"/>
              </a:cxn>
              <a:cxn ang="0">
                <a:pos x="230" y="145"/>
              </a:cxn>
              <a:cxn ang="0">
                <a:pos x="224" y="153"/>
              </a:cxn>
            </a:cxnLst>
            <a:rect l="0" t="0" r="r" b="b"/>
            <a:pathLst>
              <a:path w="242" h="187">
                <a:moveTo>
                  <a:pt x="222" y="154"/>
                </a:moveTo>
                <a:cubicBezTo>
                  <a:pt x="207" y="154"/>
                  <a:pt x="207" y="154"/>
                  <a:pt x="207" y="154"/>
                </a:cubicBezTo>
                <a:cubicBezTo>
                  <a:pt x="207" y="161"/>
                  <a:pt x="207" y="161"/>
                  <a:pt x="207" y="161"/>
                </a:cubicBezTo>
                <a:cubicBezTo>
                  <a:pt x="204" y="161"/>
                  <a:pt x="204" y="161"/>
                  <a:pt x="204" y="161"/>
                </a:cubicBezTo>
                <a:cubicBezTo>
                  <a:pt x="204" y="161"/>
                  <a:pt x="205" y="161"/>
                  <a:pt x="205" y="162"/>
                </a:cubicBezTo>
                <a:cubicBezTo>
                  <a:pt x="207" y="164"/>
                  <a:pt x="208" y="164"/>
                  <a:pt x="210" y="167"/>
                </a:cubicBezTo>
                <a:cubicBezTo>
                  <a:pt x="210" y="170"/>
                  <a:pt x="213" y="165"/>
                  <a:pt x="212" y="172"/>
                </a:cubicBezTo>
                <a:cubicBezTo>
                  <a:pt x="201" y="172"/>
                  <a:pt x="201" y="172"/>
                  <a:pt x="201" y="172"/>
                </a:cubicBezTo>
                <a:cubicBezTo>
                  <a:pt x="198" y="179"/>
                  <a:pt x="198" y="179"/>
                  <a:pt x="198" y="179"/>
                </a:cubicBezTo>
                <a:cubicBezTo>
                  <a:pt x="199" y="181"/>
                  <a:pt x="199" y="181"/>
                  <a:pt x="199" y="181"/>
                </a:cubicBezTo>
                <a:cubicBezTo>
                  <a:pt x="199" y="181"/>
                  <a:pt x="198" y="182"/>
                  <a:pt x="198" y="184"/>
                </a:cubicBezTo>
                <a:cubicBezTo>
                  <a:pt x="198" y="186"/>
                  <a:pt x="198" y="187"/>
                  <a:pt x="198" y="187"/>
                </a:cubicBezTo>
                <a:cubicBezTo>
                  <a:pt x="190" y="181"/>
                  <a:pt x="190" y="173"/>
                  <a:pt x="179" y="172"/>
                </a:cubicBezTo>
                <a:cubicBezTo>
                  <a:pt x="170" y="168"/>
                  <a:pt x="170" y="179"/>
                  <a:pt x="160" y="175"/>
                </a:cubicBezTo>
                <a:cubicBezTo>
                  <a:pt x="149" y="172"/>
                  <a:pt x="129" y="162"/>
                  <a:pt x="123" y="156"/>
                </a:cubicBezTo>
                <a:cubicBezTo>
                  <a:pt x="117" y="150"/>
                  <a:pt x="114" y="154"/>
                  <a:pt x="106" y="147"/>
                </a:cubicBezTo>
                <a:cubicBezTo>
                  <a:pt x="100" y="140"/>
                  <a:pt x="96" y="140"/>
                  <a:pt x="93" y="134"/>
                </a:cubicBezTo>
                <a:cubicBezTo>
                  <a:pt x="88" y="127"/>
                  <a:pt x="97" y="123"/>
                  <a:pt x="93" y="117"/>
                </a:cubicBezTo>
                <a:cubicBezTo>
                  <a:pt x="90" y="109"/>
                  <a:pt x="94" y="108"/>
                  <a:pt x="79" y="92"/>
                </a:cubicBezTo>
                <a:cubicBezTo>
                  <a:pt x="67" y="81"/>
                  <a:pt x="73" y="81"/>
                  <a:pt x="64" y="77"/>
                </a:cubicBezTo>
                <a:cubicBezTo>
                  <a:pt x="56" y="72"/>
                  <a:pt x="68" y="67"/>
                  <a:pt x="59" y="63"/>
                </a:cubicBezTo>
                <a:cubicBezTo>
                  <a:pt x="50" y="60"/>
                  <a:pt x="55" y="55"/>
                  <a:pt x="48" y="52"/>
                </a:cubicBezTo>
                <a:cubicBezTo>
                  <a:pt x="42" y="47"/>
                  <a:pt x="36" y="36"/>
                  <a:pt x="33" y="25"/>
                </a:cubicBezTo>
                <a:cubicBezTo>
                  <a:pt x="30" y="16"/>
                  <a:pt x="30" y="16"/>
                  <a:pt x="27" y="15"/>
                </a:cubicBezTo>
                <a:cubicBezTo>
                  <a:pt x="23" y="13"/>
                  <a:pt x="26" y="15"/>
                  <a:pt x="20" y="11"/>
                </a:cubicBezTo>
                <a:cubicBezTo>
                  <a:pt x="15" y="8"/>
                  <a:pt x="20" y="25"/>
                  <a:pt x="23" y="32"/>
                </a:cubicBezTo>
                <a:cubicBezTo>
                  <a:pt x="26" y="38"/>
                  <a:pt x="32" y="41"/>
                  <a:pt x="33" y="49"/>
                </a:cubicBezTo>
                <a:cubicBezTo>
                  <a:pt x="36" y="57"/>
                  <a:pt x="41" y="58"/>
                  <a:pt x="44" y="64"/>
                </a:cubicBezTo>
                <a:cubicBezTo>
                  <a:pt x="47" y="72"/>
                  <a:pt x="45" y="70"/>
                  <a:pt x="48" y="78"/>
                </a:cubicBezTo>
                <a:cubicBezTo>
                  <a:pt x="53" y="86"/>
                  <a:pt x="50" y="86"/>
                  <a:pt x="52" y="89"/>
                </a:cubicBezTo>
                <a:cubicBezTo>
                  <a:pt x="55" y="92"/>
                  <a:pt x="55" y="86"/>
                  <a:pt x="58" y="92"/>
                </a:cubicBezTo>
                <a:cubicBezTo>
                  <a:pt x="61" y="98"/>
                  <a:pt x="64" y="98"/>
                  <a:pt x="59" y="102"/>
                </a:cubicBezTo>
                <a:cubicBezTo>
                  <a:pt x="55" y="105"/>
                  <a:pt x="58" y="98"/>
                  <a:pt x="45" y="89"/>
                </a:cubicBezTo>
                <a:cubicBezTo>
                  <a:pt x="32" y="81"/>
                  <a:pt x="44" y="74"/>
                  <a:pt x="36" y="69"/>
                </a:cubicBezTo>
                <a:cubicBezTo>
                  <a:pt x="30" y="63"/>
                  <a:pt x="24" y="61"/>
                  <a:pt x="18" y="55"/>
                </a:cubicBezTo>
                <a:cubicBezTo>
                  <a:pt x="13" y="49"/>
                  <a:pt x="23" y="57"/>
                  <a:pt x="23" y="49"/>
                </a:cubicBezTo>
                <a:cubicBezTo>
                  <a:pt x="24" y="41"/>
                  <a:pt x="15" y="38"/>
                  <a:pt x="12" y="32"/>
                </a:cubicBezTo>
                <a:cubicBezTo>
                  <a:pt x="7" y="27"/>
                  <a:pt x="9" y="21"/>
                  <a:pt x="0" y="4"/>
                </a:cubicBezTo>
                <a:cubicBezTo>
                  <a:pt x="4" y="2"/>
                  <a:pt x="15" y="2"/>
                  <a:pt x="18" y="0"/>
                </a:cubicBezTo>
                <a:cubicBezTo>
                  <a:pt x="18" y="4"/>
                  <a:pt x="18" y="4"/>
                  <a:pt x="18" y="4"/>
                </a:cubicBezTo>
                <a:cubicBezTo>
                  <a:pt x="23" y="5"/>
                  <a:pt x="45" y="15"/>
                  <a:pt x="48" y="16"/>
                </a:cubicBezTo>
                <a:cubicBezTo>
                  <a:pt x="71" y="16"/>
                  <a:pt x="71" y="16"/>
                  <a:pt x="71" y="16"/>
                </a:cubicBezTo>
                <a:cubicBezTo>
                  <a:pt x="71" y="11"/>
                  <a:pt x="71" y="11"/>
                  <a:pt x="71" y="11"/>
                </a:cubicBezTo>
                <a:cubicBezTo>
                  <a:pt x="84" y="11"/>
                  <a:pt x="84" y="11"/>
                  <a:pt x="84" y="11"/>
                </a:cubicBezTo>
                <a:cubicBezTo>
                  <a:pt x="84" y="11"/>
                  <a:pt x="93" y="21"/>
                  <a:pt x="96" y="24"/>
                </a:cubicBezTo>
                <a:cubicBezTo>
                  <a:pt x="100" y="27"/>
                  <a:pt x="99" y="35"/>
                  <a:pt x="106" y="39"/>
                </a:cubicBezTo>
                <a:cubicBezTo>
                  <a:pt x="115" y="43"/>
                  <a:pt x="109" y="29"/>
                  <a:pt x="120" y="30"/>
                </a:cubicBezTo>
                <a:cubicBezTo>
                  <a:pt x="129" y="32"/>
                  <a:pt x="131" y="44"/>
                  <a:pt x="137" y="52"/>
                </a:cubicBezTo>
                <a:cubicBezTo>
                  <a:pt x="143" y="60"/>
                  <a:pt x="138" y="69"/>
                  <a:pt x="152" y="70"/>
                </a:cubicBezTo>
                <a:cubicBezTo>
                  <a:pt x="154" y="70"/>
                  <a:pt x="157" y="74"/>
                  <a:pt x="157" y="72"/>
                </a:cubicBezTo>
                <a:cubicBezTo>
                  <a:pt x="157" y="72"/>
                  <a:pt x="157" y="72"/>
                  <a:pt x="158" y="72"/>
                </a:cubicBezTo>
                <a:cubicBezTo>
                  <a:pt x="158" y="78"/>
                  <a:pt x="155" y="78"/>
                  <a:pt x="154" y="89"/>
                </a:cubicBezTo>
                <a:cubicBezTo>
                  <a:pt x="152" y="102"/>
                  <a:pt x="154" y="102"/>
                  <a:pt x="154" y="105"/>
                </a:cubicBezTo>
                <a:cubicBezTo>
                  <a:pt x="152" y="106"/>
                  <a:pt x="152" y="105"/>
                  <a:pt x="154" y="108"/>
                </a:cubicBezTo>
                <a:cubicBezTo>
                  <a:pt x="154" y="112"/>
                  <a:pt x="154" y="117"/>
                  <a:pt x="155" y="117"/>
                </a:cubicBezTo>
                <a:cubicBezTo>
                  <a:pt x="157" y="117"/>
                  <a:pt x="155" y="123"/>
                  <a:pt x="160" y="128"/>
                </a:cubicBezTo>
                <a:cubicBezTo>
                  <a:pt x="167" y="136"/>
                  <a:pt x="164" y="144"/>
                  <a:pt x="172" y="145"/>
                </a:cubicBezTo>
                <a:cubicBezTo>
                  <a:pt x="179" y="147"/>
                  <a:pt x="178" y="151"/>
                  <a:pt x="181" y="151"/>
                </a:cubicBezTo>
                <a:cubicBezTo>
                  <a:pt x="184" y="150"/>
                  <a:pt x="184" y="148"/>
                  <a:pt x="189" y="148"/>
                </a:cubicBezTo>
                <a:cubicBezTo>
                  <a:pt x="196" y="147"/>
                  <a:pt x="192" y="147"/>
                  <a:pt x="196" y="145"/>
                </a:cubicBezTo>
                <a:cubicBezTo>
                  <a:pt x="199" y="145"/>
                  <a:pt x="201" y="145"/>
                  <a:pt x="201" y="147"/>
                </a:cubicBezTo>
                <a:cubicBezTo>
                  <a:pt x="201" y="150"/>
                  <a:pt x="204" y="148"/>
                  <a:pt x="204" y="147"/>
                </a:cubicBezTo>
                <a:cubicBezTo>
                  <a:pt x="205" y="144"/>
                  <a:pt x="202" y="145"/>
                  <a:pt x="204" y="144"/>
                </a:cubicBezTo>
                <a:cubicBezTo>
                  <a:pt x="205" y="142"/>
                  <a:pt x="208" y="142"/>
                  <a:pt x="210" y="137"/>
                </a:cubicBezTo>
                <a:cubicBezTo>
                  <a:pt x="210" y="131"/>
                  <a:pt x="212" y="136"/>
                  <a:pt x="212" y="130"/>
                </a:cubicBezTo>
                <a:cubicBezTo>
                  <a:pt x="210" y="125"/>
                  <a:pt x="212" y="127"/>
                  <a:pt x="212" y="123"/>
                </a:cubicBezTo>
                <a:cubicBezTo>
                  <a:pt x="212" y="120"/>
                  <a:pt x="218" y="119"/>
                  <a:pt x="222" y="119"/>
                </a:cubicBezTo>
                <a:cubicBezTo>
                  <a:pt x="227" y="119"/>
                  <a:pt x="224" y="117"/>
                  <a:pt x="228" y="117"/>
                </a:cubicBezTo>
                <a:cubicBezTo>
                  <a:pt x="233" y="116"/>
                  <a:pt x="236" y="119"/>
                  <a:pt x="237" y="117"/>
                </a:cubicBezTo>
                <a:cubicBezTo>
                  <a:pt x="239" y="117"/>
                  <a:pt x="237" y="117"/>
                  <a:pt x="236" y="117"/>
                </a:cubicBezTo>
                <a:cubicBezTo>
                  <a:pt x="236" y="117"/>
                  <a:pt x="237" y="116"/>
                  <a:pt x="239" y="117"/>
                </a:cubicBezTo>
                <a:cubicBezTo>
                  <a:pt x="240" y="119"/>
                  <a:pt x="240" y="117"/>
                  <a:pt x="240" y="119"/>
                </a:cubicBezTo>
                <a:cubicBezTo>
                  <a:pt x="240" y="122"/>
                  <a:pt x="242" y="120"/>
                  <a:pt x="239" y="125"/>
                </a:cubicBezTo>
                <a:cubicBezTo>
                  <a:pt x="234" y="131"/>
                  <a:pt x="236" y="134"/>
                  <a:pt x="234" y="134"/>
                </a:cubicBezTo>
                <a:cubicBezTo>
                  <a:pt x="231" y="136"/>
                  <a:pt x="233" y="137"/>
                  <a:pt x="234" y="137"/>
                </a:cubicBezTo>
                <a:cubicBezTo>
                  <a:pt x="236" y="136"/>
                  <a:pt x="236" y="137"/>
                  <a:pt x="234" y="139"/>
                </a:cubicBezTo>
                <a:cubicBezTo>
                  <a:pt x="231" y="140"/>
                  <a:pt x="236" y="139"/>
                  <a:pt x="234" y="140"/>
                </a:cubicBezTo>
                <a:cubicBezTo>
                  <a:pt x="234" y="142"/>
                  <a:pt x="233" y="153"/>
                  <a:pt x="231" y="150"/>
                </a:cubicBezTo>
                <a:cubicBezTo>
                  <a:pt x="231" y="148"/>
                  <a:pt x="230" y="148"/>
                  <a:pt x="230" y="147"/>
                </a:cubicBezTo>
                <a:cubicBezTo>
                  <a:pt x="231" y="144"/>
                  <a:pt x="231" y="144"/>
                  <a:pt x="230" y="145"/>
                </a:cubicBezTo>
                <a:cubicBezTo>
                  <a:pt x="230" y="147"/>
                  <a:pt x="228" y="147"/>
                  <a:pt x="228" y="148"/>
                </a:cubicBezTo>
                <a:cubicBezTo>
                  <a:pt x="225" y="147"/>
                  <a:pt x="225" y="153"/>
                  <a:pt x="224" y="153"/>
                </a:cubicBezTo>
                <a:cubicBezTo>
                  <a:pt x="224" y="154"/>
                  <a:pt x="222" y="151"/>
                  <a:pt x="222" y="154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8" name="Freeform 15"/>
          <p:cNvSpPr>
            <a:spLocks/>
          </p:cNvSpPr>
          <p:nvPr/>
        </p:nvSpPr>
        <p:spPr bwMode="auto">
          <a:xfrm>
            <a:off x="3032600" y="4151296"/>
            <a:ext cx="22226" cy="74402"/>
          </a:xfrm>
          <a:custGeom>
            <a:avLst/>
            <a:gdLst/>
            <a:ahLst/>
            <a:cxnLst>
              <a:cxn ang="0">
                <a:pos x="6" y="1"/>
              </a:cxn>
              <a:cxn ang="0">
                <a:pos x="2" y="6"/>
              </a:cxn>
              <a:cxn ang="0">
                <a:pos x="0" y="7"/>
              </a:cxn>
              <a:cxn ang="0">
                <a:pos x="0" y="26"/>
              </a:cxn>
              <a:cxn ang="0">
                <a:pos x="2" y="26"/>
              </a:cxn>
              <a:cxn ang="0">
                <a:pos x="6" y="20"/>
              </a:cxn>
              <a:cxn ang="0">
                <a:pos x="8" y="4"/>
              </a:cxn>
              <a:cxn ang="0">
                <a:pos x="8" y="1"/>
              </a:cxn>
              <a:cxn ang="0">
                <a:pos x="6" y="1"/>
              </a:cxn>
            </a:cxnLst>
            <a:rect l="0" t="0" r="r" b="b"/>
            <a:pathLst>
              <a:path w="9" h="26">
                <a:moveTo>
                  <a:pt x="6" y="1"/>
                </a:moveTo>
                <a:cubicBezTo>
                  <a:pt x="3" y="0"/>
                  <a:pt x="3" y="6"/>
                  <a:pt x="2" y="6"/>
                </a:cubicBezTo>
                <a:cubicBezTo>
                  <a:pt x="2" y="7"/>
                  <a:pt x="0" y="4"/>
                  <a:pt x="0" y="7"/>
                </a:cubicBezTo>
                <a:cubicBezTo>
                  <a:pt x="0" y="26"/>
                  <a:pt x="0" y="26"/>
                  <a:pt x="0" y="26"/>
                </a:cubicBezTo>
                <a:cubicBezTo>
                  <a:pt x="2" y="26"/>
                  <a:pt x="2" y="26"/>
                  <a:pt x="2" y="26"/>
                </a:cubicBezTo>
                <a:cubicBezTo>
                  <a:pt x="2" y="25"/>
                  <a:pt x="5" y="23"/>
                  <a:pt x="6" y="20"/>
                </a:cubicBezTo>
                <a:cubicBezTo>
                  <a:pt x="8" y="18"/>
                  <a:pt x="6" y="9"/>
                  <a:pt x="8" y="4"/>
                </a:cubicBezTo>
                <a:cubicBezTo>
                  <a:pt x="9" y="3"/>
                  <a:pt x="8" y="1"/>
                  <a:pt x="8" y="1"/>
                </a:cubicBezTo>
                <a:cubicBezTo>
                  <a:pt x="6" y="3"/>
                  <a:pt x="6" y="3"/>
                  <a:pt x="6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9" name="Freeform 16"/>
          <p:cNvSpPr>
            <a:spLocks/>
          </p:cNvSpPr>
          <p:nvPr/>
        </p:nvSpPr>
        <p:spPr bwMode="auto">
          <a:xfrm>
            <a:off x="3420921" y="4930324"/>
            <a:ext cx="258881" cy="382220"/>
          </a:xfrm>
          <a:custGeom>
            <a:avLst/>
            <a:gdLst/>
            <a:ahLst/>
            <a:cxnLst>
              <a:cxn ang="0">
                <a:pos x="3" y="16"/>
              </a:cxn>
              <a:cxn ang="0">
                <a:pos x="20" y="10"/>
              </a:cxn>
              <a:cxn ang="0">
                <a:pos x="36" y="6"/>
              </a:cxn>
              <a:cxn ang="0">
                <a:pos x="41" y="27"/>
              </a:cxn>
              <a:cxn ang="0">
                <a:pos x="56" y="34"/>
              </a:cxn>
              <a:cxn ang="0">
                <a:pos x="62" y="39"/>
              </a:cxn>
              <a:cxn ang="0">
                <a:pos x="73" y="42"/>
              </a:cxn>
              <a:cxn ang="0">
                <a:pos x="79" y="69"/>
              </a:cxn>
              <a:cxn ang="0">
                <a:pos x="91" y="70"/>
              </a:cxn>
              <a:cxn ang="0">
                <a:pos x="94" y="79"/>
              </a:cxn>
              <a:cxn ang="0">
                <a:pos x="96" y="95"/>
              </a:cxn>
              <a:cxn ang="0">
                <a:pos x="94" y="103"/>
              </a:cxn>
              <a:cxn ang="0">
                <a:pos x="93" y="107"/>
              </a:cxn>
              <a:cxn ang="0">
                <a:pos x="90" y="103"/>
              </a:cxn>
              <a:cxn ang="0">
                <a:pos x="76" y="100"/>
              </a:cxn>
              <a:cxn ang="0">
                <a:pos x="64" y="104"/>
              </a:cxn>
              <a:cxn ang="0">
                <a:pos x="61" y="115"/>
              </a:cxn>
              <a:cxn ang="0">
                <a:pos x="58" y="129"/>
              </a:cxn>
              <a:cxn ang="0">
                <a:pos x="55" y="126"/>
              </a:cxn>
              <a:cxn ang="0">
                <a:pos x="49" y="126"/>
              </a:cxn>
              <a:cxn ang="0">
                <a:pos x="44" y="134"/>
              </a:cxn>
              <a:cxn ang="0">
                <a:pos x="35" y="128"/>
              </a:cxn>
              <a:cxn ang="0">
                <a:pos x="29" y="123"/>
              </a:cxn>
              <a:cxn ang="0">
                <a:pos x="26" y="128"/>
              </a:cxn>
              <a:cxn ang="0">
                <a:pos x="21" y="134"/>
              </a:cxn>
              <a:cxn ang="0">
                <a:pos x="15" y="131"/>
              </a:cxn>
              <a:cxn ang="0">
                <a:pos x="12" y="115"/>
              </a:cxn>
              <a:cxn ang="0">
                <a:pos x="10" y="111"/>
              </a:cxn>
              <a:cxn ang="0">
                <a:pos x="10" y="106"/>
              </a:cxn>
              <a:cxn ang="0">
                <a:pos x="10" y="101"/>
              </a:cxn>
              <a:cxn ang="0">
                <a:pos x="9" y="97"/>
              </a:cxn>
              <a:cxn ang="0">
                <a:pos x="6" y="87"/>
              </a:cxn>
              <a:cxn ang="0">
                <a:pos x="3" y="79"/>
              </a:cxn>
              <a:cxn ang="0">
                <a:pos x="4" y="67"/>
              </a:cxn>
              <a:cxn ang="0">
                <a:pos x="4" y="56"/>
              </a:cxn>
              <a:cxn ang="0">
                <a:pos x="7" y="45"/>
              </a:cxn>
              <a:cxn ang="0">
                <a:pos x="9" y="31"/>
              </a:cxn>
              <a:cxn ang="0">
                <a:pos x="3" y="16"/>
              </a:cxn>
            </a:cxnLst>
            <a:rect l="0" t="0" r="r" b="b"/>
            <a:pathLst>
              <a:path w="102" h="135">
                <a:moveTo>
                  <a:pt x="3" y="16"/>
                </a:moveTo>
                <a:cubicBezTo>
                  <a:pt x="12" y="19"/>
                  <a:pt x="10" y="17"/>
                  <a:pt x="20" y="10"/>
                </a:cubicBezTo>
                <a:cubicBezTo>
                  <a:pt x="27" y="3"/>
                  <a:pt x="39" y="0"/>
                  <a:pt x="36" y="6"/>
                </a:cubicBezTo>
                <a:cubicBezTo>
                  <a:pt x="35" y="14"/>
                  <a:pt x="35" y="20"/>
                  <a:pt x="41" y="27"/>
                </a:cubicBezTo>
                <a:cubicBezTo>
                  <a:pt x="47" y="33"/>
                  <a:pt x="50" y="30"/>
                  <a:pt x="56" y="34"/>
                </a:cubicBezTo>
                <a:cubicBezTo>
                  <a:pt x="61" y="39"/>
                  <a:pt x="59" y="36"/>
                  <a:pt x="62" y="39"/>
                </a:cubicBezTo>
                <a:cubicBezTo>
                  <a:pt x="67" y="44"/>
                  <a:pt x="68" y="38"/>
                  <a:pt x="73" y="42"/>
                </a:cubicBezTo>
                <a:cubicBezTo>
                  <a:pt x="77" y="47"/>
                  <a:pt x="74" y="67"/>
                  <a:pt x="79" y="69"/>
                </a:cubicBezTo>
                <a:cubicBezTo>
                  <a:pt x="83" y="69"/>
                  <a:pt x="93" y="67"/>
                  <a:pt x="91" y="70"/>
                </a:cubicBezTo>
                <a:cubicBezTo>
                  <a:pt x="90" y="73"/>
                  <a:pt x="90" y="78"/>
                  <a:pt x="94" y="79"/>
                </a:cubicBezTo>
                <a:cubicBezTo>
                  <a:pt x="102" y="83"/>
                  <a:pt x="96" y="93"/>
                  <a:pt x="96" y="95"/>
                </a:cubicBezTo>
                <a:cubicBezTo>
                  <a:pt x="97" y="98"/>
                  <a:pt x="94" y="101"/>
                  <a:pt x="94" y="103"/>
                </a:cubicBezTo>
                <a:cubicBezTo>
                  <a:pt x="96" y="106"/>
                  <a:pt x="96" y="106"/>
                  <a:pt x="93" y="107"/>
                </a:cubicBezTo>
                <a:cubicBezTo>
                  <a:pt x="93" y="104"/>
                  <a:pt x="94" y="104"/>
                  <a:pt x="90" y="103"/>
                </a:cubicBezTo>
                <a:cubicBezTo>
                  <a:pt x="87" y="100"/>
                  <a:pt x="85" y="97"/>
                  <a:pt x="76" y="100"/>
                </a:cubicBezTo>
                <a:cubicBezTo>
                  <a:pt x="67" y="101"/>
                  <a:pt x="65" y="100"/>
                  <a:pt x="64" y="104"/>
                </a:cubicBezTo>
                <a:cubicBezTo>
                  <a:pt x="62" y="109"/>
                  <a:pt x="61" y="109"/>
                  <a:pt x="61" y="115"/>
                </a:cubicBezTo>
                <a:cubicBezTo>
                  <a:pt x="61" y="120"/>
                  <a:pt x="58" y="126"/>
                  <a:pt x="58" y="129"/>
                </a:cubicBezTo>
                <a:cubicBezTo>
                  <a:pt x="56" y="128"/>
                  <a:pt x="56" y="126"/>
                  <a:pt x="55" y="126"/>
                </a:cubicBezTo>
                <a:cubicBezTo>
                  <a:pt x="53" y="126"/>
                  <a:pt x="52" y="126"/>
                  <a:pt x="49" y="126"/>
                </a:cubicBezTo>
                <a:cubicBezTo>
                  <a:pt x="47" y="126"/>
                  <a:pt x="45" y="128"/>
                  <a:pt x="44" y="134"/>
                </a:cubicBezTo>
                <a:cubicBezTo>
                  <a:pt x="42" y="126"/>
                  <a:pt x="39" y="126"/>
                  <a:pt x="35" y="128"/>
                </a:cubicBezTo>
                <a:cubicBezTo>
                  <a:pt x="30" y="128"/>
                  <a:pt x="30" y="123"/>
                  <a:pt x="29" y="123"/>
                </a:cubicBezTo>
                <a:cubicBezTo>
                  <a:pt x="27" y="124"/>
                  <a:pt x="29" y="126"/>
                  <a:pt x="26" y="128"/>
                </a:cubicBezTo>
                <a:cubicBezTo>
                  <a:pt x="24" y="129"/>
                  <a:pt x="24" y="132"/>
                  <a:pt x="21" y="134"/>
                </a:cubicBezTo>
                <a:cubicBezTo>
                  <a:pt x="18" y="135"/>
                  <a:pt x="17" y="135"/>
                  <a:pt x="15" y="131"/>
                </a:cubicBezTo>
                <a:cubicBezTo>
                  <a:pt x="15" y="124"/>
                  <a:pt x="14" y="115"/>
                  <a:pt x="12" y="115"/>
                </a:cubicBezTo>
                <a:cubicBezTo>
                  <a:pt x="9" y="115"/>
                  <a:pt x="12" y="112"/>
                  <a:pt x="10" y="111"/>
                </a:cubicBezTo>
                <a:cubicBezTo>
                  <a:pt x="9" y="111"/>
                  <a:pt x="9" y="109"/>
                  <a:pt x="10" y="106"/>
                </a:cubicBezTo>
                <a:cubicBezTo>
                  <a:pt x="12" y="104"/>
                  <a:pt x="7" y="104"/>
                  <a:pt x="10" y="101"/>
                </a:cubicBezTo>
                <a:cubicBezTo>
                  <a:pt x="12" y="100"/>
                  <a:pt x="10" y="100"/>
                  <a:pt x="9" y="97"/>
                </a:cubicBezTo>
                <a:cubicBezTo>
                  <a:pt x="7" y="97"/>
                  <a:pt x="6" y="89"/>
                  <a:pt x="6" y="87"/>
                </a:cubicBezTo>
                <a:cubicBezTo>
                  <a:pt x="6" y="86"/>
                  <a:pt x="4" y="86"/>
                  <a:pt x="3" y="79"/>
                </a:cubicBezTo>
                <a:cubicBezTo>
                  <a:pt x="3" y="76"/>
                  <a:pt x="10" y="70"/>
                  <a:pt x="4" y="67"/>
                </a:cubicBezTo>
                <a:cubicBezTo>
                  <a:pt x="0" y="64"/>
                  <a:pt x="7" y="61"/>
                  <a:pt x="4" y="56"/>
                </a:cubicBezTo>
                <a:cubicBezTo>
                  <a:pt x="1" y="52"/>
                  <a:pt x="9" y="50"/>
                  <a:pt x="7" y="45"/>
                </a:cubicBezTo>
                <a:cubicBezTo>
                  <a:pt x="6" y="39"/>
                  <a:pt x="9" y="31"/>
                  <a:pt x="9" y="31"/>
                </a:cubicBezTo>
                <a:cubicBezTo>
                  <a:pt x="3" y="16"/>
                  <a:pt x="3" y="16"/>
                  <a:pt x="3" y="1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0" name="Freeform 17"/>
          <p:cNvSpPr>
            <a:spLocks/>
          </p:cNvSpPr>
          <p:nvPr/>
        </p:nvSpPr>
        <p:spPr bwMode="auto">
          <a:xfrm>
            <a:off x="3567359" y="5201671"/>
            <a:ext cx="169972" cy="252382"/>
          </a:xfrm>
          <a:custGeom>
            <a:avLst/>
            <a:gdLst/>
            <a:ahLst/>
            <a:cxnLst>
              <a:cxn ang="0">
                <a:pos x="62" y="66"/>
              </a:cxn>
              <a:cxn ang="0">
                <a:pos x="62" y="75"/>
              </a:cxn>
              <a:cxn ang="0">
                <a:pos x="56" y="84"/>
              </a:cxn>
              <a:cxn ang="0">
                <a:pos x="50" y="86"/>
              </a:cxn>
              <a:cxn ang="0">
                <a:pos x="36" y="84"/>
              </a:cxn>
              <a:cxn ang="0">
                <a:pos x="32" y="83"/>
              </a:cxn>
              <a:cxn ang="0">
                <a:pos x="35" y="78"/>
              </a:cxn>
              <a:cxn ang="0">
                <a:pos x="36" y="72"/>
              </a:cxn>
              <a:cxn ang="0">
                <a:pos x="39" y="66"/>
              </a:cxn>
              <a:cxn ang="0">
                <a:pos x="35" y="59"/>
              </a:cxn>
              <a:cxn ang="0">
                <a:pos x="23" y="53"/>
              </a:cxn>
              <a:cxn ang="0">
                <a:pos x="12" y="47"/>
              </a:cxn>
              <a:cxn ang="0">
                <a:pos x="3" y="38"/>
              </a:cxn>
              <a:cxn ang="0">
                <a:pos x="0" y="33"/>
              </a:cxn>
              <a:cxn ang="0">
                <a:pos x="3" y="19"/>
              </a:cxn>
              <a:cxn ang="0">
                <a:pos x="6" y="8"/>
              </a:cxn>
              <a:cxn ang="0">
                <a:pos x="18" y="3"/>
              </a:cxn>
              <a:cxn ang="0">
                <a:pos x="32" y="7"/>
              </a:cxn>
              <a:cxn ang="0">
                <a:pos x="35" y="11"/>
              </a:cxn>
              <a:cxn ang="0">
                <a:pos x="38" y="22"/>
              </a:cxn>
              <a:cxn ang="0">
                <a:pos x="36" y="30"/>
              </a:cxn>
              <a:cxn ang="0">
                <a:pos x="47" y="31"/>
              </a:cxn>
              <a:cxn ang="0">
                <a:pos x="55" y="35"/>
              </a:cxn>
              <a:cxn ang="0">
                <a:pos x="58" y="50"/>
              </a:cxn>
              <a:cxn ang="0">
                <a:pos x="64" y="49"/>
              </a:cxn>
              <a:cxn ang="0">
                <a:pos x="62" y="66"/>
              </a:cxn>
            </a:cxnLst>
            <a:rect l="0" t="0" r="r" b="b"/>
            <a:pathLst>
              <a:path w="67" h="89">
                <a:moveTo>
                  <a:pt x="62" y="66"/>
                </a:moveTo>
                <a:cubicBezTo>
                  <a:pt x="64" y="72"/>
                  <a:pt x="62" y="70"/>
                  <a:pt x="62" y="75"/>
                </a:cubicBezTo>
                <a:cubicBezTo>
                  <a:pt x="61" y="80"/>
                  <a:pt x="56" y="80"/>
                  <a:pt x="56" y="84"/>
                </a:cubicBezTo>
                <a:cubicBezTo>
                  <a:pt x="55" y="89"/>
                  <a:pt x="53" y="81"/>
                  <a:pt x="50" y="86"/>
                </a:cubicBezTo>
                <a:cubicBezTo>
                  <a:pt x="45" y="89"/>
                  <a:pt x="42" y="84"/>
                  <a:pt x="36" y="84"/>
                </a:cubicBezTo>
                <a:cubicBezTo>
                  <a:pt x="32" y="84"/>
                  <a:pt x="32" y="86"/>
                  <a:pt x="32" y="83"/>
                </a:cubicBezTo>
                <a:cubicBezTo>
                  <a:pt x="30" y="81"/>
                  <a:pt x="33" y="81"/>
                  <a:pt x="35" y="78"/>
                </a:cubicBezTo>
                <a:cubicBezTo>
                  <a:pt x="36" y="75"/>
                  <a:pt x="33" y="73"/>
                  <a:pt x="36" y="72"/>
                </a:cubicBezTo>
                <a:cubicBezTo>
                  <a:pt x="39" y="70"/>
                  <a:pt x="36" y="70"/>
                  <a:pt x="39" y="66"/>
                </a:cubicBezTo>
                <a:cubicBezTo>
                  <a:pt x="41" y="64"/>
                  <a:pt x="36" y="59"/>
                  <a:pt x="35" y="59"/>
                </a:cubicBezTo>
                <a:cubicBezTo>
                  <a:pt x="32" y="59"/>
                  <a:pt x="29" y="58"/>
                  <a:pt x="23" y="53"/>
                </a:cubicBezTo>
                <a:cubicBezTo>
                  <a:pt x="18" y="49"/>
                  <a:pt x="13" y="50"/>
                  <a:pt x="12" y="47"/>
                </a:cubicBezTo>
                <a:cubicBezTo>
                  <a:pt x="10" y="44"/>
                  <a:pt x="6" y="44"/>
                  <a:pt x="3" y="38"/>
                </a:cubicBezTo>
                <a:cubicBezTo>
                  <a:pt x="1" y="33"/>
                  <a:pt x="1" y="35"/>
                  <a:pt x="0" y="33"/>
                </a:cubicBezTo>
                <a:cubicBezTo>
                  <a:pt x="0" y="30"/>
                  <a:pt x="3" y="24"/>
                  <a:pt x="3" y="19"/>
                </a:cubicBezTo>
                <a:cubicBezTo>
                  <a:pt x="3" y="13"/>
                  <a:pt x="4" y="13"/>
                  <a:pt x="6" y="8"/>
                </a:cubicBezTo>
                <a:cubicBezTo>
                  <a:pt x="7" y="3"/>
                  <a:pt x="9" y="5"/>
                  <a:pt x="18" y="3"/>
                </a:cubicBezTo>
                <a:cubicBezTo>
                  <a:pt x="27" y="0"/>
                  <a:pt x="29" y="3"/>
                  <a:pt x="32" y="7"/>
                </a:cubicBezTo>
                <a:cubicBezTo>
                  <a:pt x="36" y="8"/>
                  <a:pt x="35" y="8"/>
                  <a:pt x="35" y="11"/>
                </a:cubicBezTo>
                <a:cubicBezTo>
                  <a:pt x="35" y="14"/>
                  <a:pt x="39" y="19"/>
                  <a:pt x="38" y="22"/>
                </a:cubicBezTo>
                <a:cubicBezTo>
                  <a:pt x="36" y="27"/>
                  <a:pt x="38" y="27"/>
                  <a:pt x="36" y="30"/>
                </a:cubicBezTo>
                <a:cubicBezTo>
                  <a:pt x="36" y="31"/>
                  <a:pt x="47" y="33"/>
                  <a:pt x="47" y="31"/>
                </a:cubicBezTo>
                <a:cubicBezTo>
                  <a:pt x="48" y="30"/>
                  <a:pt x="53" y="31"/>
                  <a:pt x="55" y="35"/>
                </a:cubicBezTo>
                <a:cubicBezTo>
                  <a:pt x="58" y="47"/>
                  <a:pt x="55" y="50"/>
                  <a:pt x="58" y="50"/>
                </a:cubicBezTo>
                <a:cubicBezTo>
                  <a:pt x="61" y="50"/>
                  <a:pt x="62" y="47"/>
                  <a:pt x="64" y="49"/>
                </a:cubicBezTo>
                <a:cubicBezTo>
                  <a:pt x="67" y="52"/>
                  <a:pt x="65" y="64"/>
                  <a:pt x="62" y="66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1" name="Freeform 18"/>
          <p:cNvSpPr>
            <a:spLocks/>
          </p:cNvSpPr>
          <p:nvPr/>
        </p:nvSpPr>
        <p:spPr bwMode="auto">
          <a:xfrm>
            <a:off x="3645807" y="5515325"/>
            <a:ext cx="117674" cy="156097"/>
          </a:xfrm>
          <a:custGeom>
            <a:avLst/>
            <a:gdLst/>
            <a:ahLst/>
            <a:cxnLst>
              <a:cxn ang="0">
                <a:pos x="42" y="42"/>
              </a:cxn>
              <a:cxn ang="0">
                <a:pos x="32" y="52"/>
              </a:cxn>
              <a:cxn ang="0">
                <a:pos x="22" y="52"/>
              </a:cxn>
              <a:cxn ang="0">
                <a:pos x="9" y="48"/>
              </a:cxn>
              <a:cxn ang="0">
                <a:pos x="2" y="45"/>
              </a:cxn>
              <a:cxn ang="0">
                <a:pos x="3" y="34"/>
              </a:cxn>
              <a:cxn ang="0">
                <a:pos x="3" y="20"/>
              </a:cxn>
              <a:cxn ang="0">
                <a:pos x="5" y="14"/>
              </a:cxn>
              <a:cxn ang="0">
                <a:pos x="8" y="3"/>
              </a:cxn>
              <a:cxn ang="0">
                <a:pos x="17" y="5"/>
              </a:cxn>
              <a:cxn ang="0">
                <a:pos x="23" y="12"/>
              </a:cxn>
              <a:cxn ang="0">
                <a:pos x="29" y="15"/>
              </a:cxn>
              <a:cxn ang="0">
                <a:pos x="35" y="22"/>
              </a:cxn>
              <a:cxn ang="0">
                <a:pos x="42" y="28"/>
              </a:cxn>
              <a:cxn ang="0">
                <a:pos x="42" y="42"/>
              </a:cxn>
            </a:cxnLst>
            <a:rect l="0" t="0" r="r" b="b"/>
            <a:pathLst>
              <a:path w="46" h="55">
                <a:moveTo>
                  <a:pt x="42" y="42"/>
                </a:moveTo>
                <a:cubicBezTo>
                  <a:pt x="39" y="48"/>
                  <a:pt x="35" y="49"/>
                  <a:pt x="32" y="52"/>
                </a:cubicBezTo>
                <a:cubicBezTo>
                  <a:pt x="28" y="55"/>
                  <a:pt x="26" y="51"/>
                  <a:pt x="22" y="52"/>
                </a:cubicBezTo>
                <a:cubicBezTo>
                  <a:pt x="19" y="54"/>
                  <a:pt x="13" y="48"/>
                  <a:pt x="9" y="48"/>
                </a:cubicBezTo>
                <a:cubicBezTo>
                  <a:pt x="5" y="48"/>
                  <a:pt x="2" y="45"/>
                  <a:pt x="2" y="45"/>
                </a:cubicBezTo>
                <a:cubicBezTo>
                  <a:pt x="0" y="42"/>
                  <a:pt x="0" y="35"/>
                  <a:pt x="3" y="34"/>
                </a:cubicBezTo>
                <a:cubicBezTo>
                  <a:pt x="6" y="32"/>
                  <a:pt x="2" y="23"/>
                  <a:pt x="3" y="20"/>
                </a:cubicBezTo>
                <a:cubicBezTo>
                  <a:pt x="6" y="18"/>
                  <a:pt x="2" y="18"/>
                  <a:pt x="5" y="14"/>
                </a:cubicBezTo>
                <a:cubicBezTo>
                  <a:pt x="8" y="9"/>
                  <a:pt x="5" y="8"/>
                  <a:pt x="8" y="3"/>
                </a:cubicBezTo>
                <a:cubicBezTo>
                  <a:pt x="11" y="8"/>
                  <a:pt x="11" y="0"/>
                  <a:pt x="17" y="5"/>
                </a:cubicBezTo>
                <a:cubicBezTo>
                  <a:pt x="22" y="9"/>
                  <a:pt x="19" y="14"/>
                  <a:pt x="23" y="12"/>
                </a:cubicBezTo>
                <a:cubicBezTo>
                  <a:pt x="26" y="9"/>
                  <a:pt x="25" y="14"/>
                  <a:pt x="29" y="15"/>
                </a:cubicBezTo>
                <a:cubicBezTo>
                  <a:pt x="34" y="18"/>
                  <a:pt x="32" y="18"/>
                  <a:pt x="35" y="22"/>
                </a:cubicBezTo>
                <a:cubicBezTo>
                  <a:pt x="40" y="23"/>
                  <a:pt x="39" y="23"/>
                  <a:pt x="42" y="28"/>
                </a:cubicBezTo>
                <a:cubicBezTo>
                  <a:pt x="46" y="34"/>
                  <a:pt x="39" y="34"/>
                  <a:pt x="42" y="4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Freeform 19"/>
          <p:cNvSpPr>
            <a:spLocks/>
          </p:cNvSpPr>
          <p:nvPr/>
        </p:nvSpPr>
        <p:spPr bwMode="auto">
          <a:xfrm>
            <a:off x="3184267" y="4666272"/>
            <a:ext cx="261496" cy="512058"/>
          </a:xfrm>
          <a:custGeom>
            <a:avLst/>
            <a:gdLst/>
            <a:ahLst/>
            <a:cxnLst>
              <a:cxn ang="0">
                <a:pos x="93" y="42"/>
              </a:cxn>
              <a:cxn ang="0">
                <a:pos x="85" y="42"/>
              </a:cxn>
              <a:cxn ang="0">
                <a:pos x="71" y="49"/>
              </a:cxn>
              <a:cxn ang="0">
                <a:pos x="64" y="66"/>
              </a:cxn>
              <a:cxn ang="0">
                <a:pos x="67" y="91"/>
              </a:cxn>
              <a:cxn ang="0">
                <a:pos x="74" y="96"/>
              </a:cxn>
              <a:cxn ang="0">
                <a:pos x="85" y="96"/>
              </a:cxn>
              <a:cxn ang="0">
                <a:pos x="88" y="108"/>
              </a:cxn>
              <a:cxn ang="0">
                <a:pos x="96" y="108"/>
              </a:cxn>
              <a:cxn ang="0">
                <a:pos x="102" y="124"/>
              </a:cxn>
              <a:cxn ang="0">
                <a:pos x="100" y="138"/>
              </a:cxn>
              <a:cxn ang="0">
                <a:pos x="97" y="149"/>
              </a:cxn>
              <a:cxn ang="0">
                <a:pos x="97" y="160"/>
              </a:cxn>
              <a:cxn ang="0">
                <a:pos x="96" y="172"/>
              </a:cxn>
              <a:cxn ang="0">
                <a:pos x="93" y="175"/>
              </a:cxn>
              <a:cxn ang="0">
                <a:pos x="88" y="181"/>
              </a:cxn>
              <a:cxn ang="0">
                <a:pos x="80" y="174"/>
              </a:cxn>
              <a:cxn ang="0">
                <a:pos x="65" y="161"/>
              </a:cxn>
              <a:cxn ang="0">
                <a:pos x="50" y="149"/>
              </a:cxn>
              <a:cxn ang="0">
                <a:pos x="42" y="135"/>
              </a:cxn>
              <a:cxn ang="0">
                <a:pos x="35" y="119"/>
              </a:cxn>
              <a:cxn ang="0">
                <a:pos x="30" y="108"/>
              </a:cxn>
              <a:cxn ang="0">
                <a:pos x="23" y="85"/>
              </a:cxn>
              <a:cxn ang="0">
                <a:pos x="14" y="70"/>
              </a:cxn>
              <a:cxn ang="0">
                <a:pos x="4" y="57"/>
              </a:cxn>
              <a:cxn ang="0">
                <a:pos x="3" y="52"/>
              </a:cxn>
              <a:cxn ang="0">
                <a:pos x="11" y="34"/>
              </a:cxn>
              <a:cxn ang="0">
                <a:pos x="9" y="43"/>
              </a:cxn>
              <a:cxn ang="0">
                <a:pos x="15" y="45"/>
              </a:cxn>
              <a:cxn ang="0">
                <a:pos x="21" y="48"/>
              </a:cxn>
              <a:cxn ang="0">
                <a:pos x="26" y="35"/>
              </a:cxn>
              <a:cxn ang="0">
                <a:pos x="47" y="18"/>
              </a:cxn>
              <a:cxn ang="0">
                <a:pos x="50" y="1"/>
              </a:cxn>
              <a:cxn ang="0">
                <a:pos x="55" y="4"/>
              </a:cxn>
              <a:cxn ang="0">
                <a:pos x="61" y="12"/>
              </a:cxn>
              <a:cxn ang="0">
                <a:pos x="70" y="25"/>
              </a:cxn>
              <a:cxn ang="0">
                <a:pos x="85" y="23"/>
              </a:cxn>
              <a:cxn ang="0">
                <a:pos x="91" y="28"/>
              </a:cxn>
              <a:cxn ang="0">
                <a:pos x="88" y="39"/>
              </a:cxn>
              <a:cxn ang="0">
                <a:pos x="93" y="42"/>
              </a:cxn>
            </a:cxnLst>
            <a:rect l="0" t="0" r="r" b="b"/>
            <a:pathLst>
              <a:path w="103" h="181">
                <a:moveTo>
                  <a:pt x="93" y="42"/>
                </a:moveTo>
                <a:cubicBezTo>
                  <a:pt x="88" y="45"/>
                  <a:pt x="91" y="39"/>
                  <a:pt x="85" y="42"/>
                </a:cubicBezTo>
                <a:cubicBezTo>
                  <a:pt x="79" y="46"/>
                  <a:pt x="77" y="45"/>
                  <a:pt x="71" y="49"/>
                </a:cubicBezTo>
                <a:cubicBezTo>
                  <a:pt x="67" y="56"/>
                  <a:pt x="70" y="63"/>
                  <a:pt x="64" y="66"/>
                </a:cubicBezTo>
                <a:cubicBezTo>
                  <a:pt x="55" y="74"/>
                  <a:pt x="68" y="87"/>
                  <a:pt x="67" y="91"/>
                </a:cubicBezTo>
                <a:cubicBezTo>
                  <a:pt x="65" y="96"/>
                  <a:pt x="74" y="90"/>
                  <a:pt x="74" y="96"/>
                </a:cubicBezTo>
                <a:cubicBezTo>
                  <a:pt x="73" y="104"/>
                  <a:pt x="84" y="99"/>
                  <a:pt x="85" y="96"/>
                </a:cubicBezTo>
                <a:cubicBezTo>
                  <a:pt x="88" y="91"/>
                  <a:pt x="85" y="108"/>
                  <a:pt x="88" y="108"/>
                </a:cubicBezTo>
                <a:cubicBezTo>
                  <a:pt x="91" y="110"/>
                  <a:pt x="91" y="107"/>
                  <a:pt x="96" y="108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99" y="132"/>
                  <a:pt x="100" y="138"/>
                </a:cubicBezTo>
                <a:cubicBezTo>
                  <a:pt x="102" y="143"/>
                  <a:pt x="94" y="144"/>
                  <a:pt x="97" y="149"/>
                </a:cubicBezTo>
                <a:cubicBezTo>
                  <a:pt x="100" y="153"/>
                  <a:pt x="93" y="156"/>
                  <a:pt x="97" y="160"/>
                </a:cubicBezTo>
                <a:cubicBezTo>
                  <a:pt x="103" y="163"/>
                  <a:pt x="96" y="169"/>
                  <a:pt x="96" y="172"/>
                </a:cubicBezTo>
                <a:cubicBezTo>
                  <a:pt x="96" y="172"/>
                  <a:pt x="96" y="175"/>
                  <a:pt x="93" y="175"/>
                </a:cubicBezTo>
                <a:cubicBezTo>
                  <a:pt x="91" y="175"/>
                  <a:pt x="97" y="178"/>
                  <a:pt x="88" y="181"/>
                </a:cubicBezTo>
                <a:cubicBezTo>
                  <a:pt x="87" y="178"/>
                  <a:pt x="82" y="178"/>
                  <a:pt x="80" y="174"/>
                </a:cubicBezTo>
                <a:cubicBezTo>
                  <a:pt x="80" y="169"/>
                  <a:pt x="77" y="169"/>
                  <a:pt x="65" y="161"/>
                </a:cubicBezTo>
                <a:cubicBezTo>
                  <a:pt x="52" y="155"/>
                  <a:pt x="52" y="152"/>
                  <a:pt x="50" y="149"/>
                </a:cubicBezTo>
                <a:cubicBezTo>
                  <a:pt x="47" y="146"/>
                  <a:pt x="41" y="143"/>
                  <a:pt x="42" y="135"/>
                </a:cubicBezTo>
                <a:cubicBezTo>
                  <a:pt x="42" y="127"/>
                  <a:pt x="35" y="124"/>
                  <a:pt x="35" y="119"/>
                </a:cubicBezTo>
                <a:cubicBezTo>
                  <a:pt x="35" y="115"/>
                  <a:pt x="32" y="115"/>
                  <a:pt x="30" y="108"/>
                </a:cubicBezTo>
                <a:cubicBezTo>
                  <a:pt x="30" y="102"/>
                  <a:pt x="24" y="93"/>
                  <a:pt x="23" y="85"/>
                </a:cubicBezTo>
                <a:cubicBezTo>
                  <a:pt x="21" y="79"/>
                  <a:pt x="17" y="79"/>
                  <a:pt x="14" y="70"/>
                </a:cubicBezTo>
                <a:cubicBezTo>
                  <a:pt x="12" y="63"/>
                  <a:pt x="0" y="62"/>
                  <a:pt x="4" y="57"/>
                </a:cubicBezTo>
                <a:cubicBezTo>
                  <a:pt x="9" y="56"/>
                  <a:pt x="4" y="56"/>
                  <a:pt x="3" y="52"/>
                </a:cubicBezTo>
                <a:cubicBezTo>
                  <a:pt x="1" y="48"/>
                  <a:pt x="1" y="43"/>
                  <a:pt x="11" y="34"/>
                </a:cubicBezTo>
                <a:cubicBezTo>
                  <a:pt x="14" y="40"/>
                  <a:pt x="8" y="40"/>
                  <a:pt x="9" y="43"/>
                </a:cubicBezTo>
                <a:cubicBezTo>
                  <a:pt x="9" y="46"/>
                  <a:pt x="11" y="43"/>
                  <a:pt x="15" y="45"/>
                </a:cubicBezTo>
                <a:cubicBezTo>
                  <a:pt x="18" y="45"/>
                  <a:pt x="18" y="51"/>
                  <a:pt x="21" y="48"/>
                </a:cubicBezTo>
                <a:cubicBezTo>
                  <a:pt x="24" y="45"/>
                  <a:pt x="21" y="45"/>
                  <a:pt x="26" y="35"/>
                </a:cubicBezTo>
                <a:cubicBezTo>
                  <a:pt x="30" y="28"/>
                  <a:pt x="42" y="25"/>
                  <a:pt x="47" y="18"/>
                </a:cubicBezTo>
                <a:cubicBezTo>
                  <a:pt x="50" y="11"/>
                  <a:pt x="50" y="9"/>
                  <a:pt x="50" y="1"/>
                </a:cubicBezTo>
                <a:cubicBezTo>
                  <a:pt x="52" y="0"/>
                  <a:pt x="52" y="3"/>
                  <a:pt x="55" y="4"/>
                </a:cubicBezTo>
                <a:cubicBezTo>
                  <a:pt x="59" y="6"/>
                  <a:pt x="56" y="9"/>
                  <a:pt x="61" y="12"/>
                </a:cubicBezTo>
                <a:cubicBezTo>
                  <a:pt x="67" y="15"/>
                  <a:pt x="65" y="25"/>
                  <a:pt x="70" y="25"/>
                </a:cubicBezTo>
                <a:cubicBezTo>
                  <a:pt x="76" y="25"/>
                  <a:pt x="79" y="21"/>
                  <a:pt x="85" y="23"/>
                </a:cubicBezTo>
                <a:cubicBezTo>
                  <a:pt x="93" y="26"/>
                  <a:pt x="93" y="26"/>
                  <a:pt x="91" y="28"/>
                </a:cubicBezTo>
                <a:cubicBezTo>
                  <a:pt x="88" y="34"/>
                  <a:pt x="85" y="40"/>
                  <a:pt x="88" y="39"/>
                </a:cubicBezTo>
                <a:cubicBezTo>
                  <a:pt x="91" y="39"/>
                  <a:pt x="91" y="40"/>
                  <a:pt x="93" y="4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3" name="Freeform 20"/>
          <p:cNvSpPr>
            <a:spLocks/>
          </p:cNvSpPr>
          <p:nvPr/>
        </p:nvSpPr>
        <p:spPr bwMode="auto">
          <a:xfrm>
            <a:off x="3230028" y="4321983"/>
            <a:ext cx="251036" cy="463916"/>
          </a:xfrm>
          <a:custGeom>
            <a:avLst/>
            <a:gdLst/>
            <a:ahLst/>
            <a:cxnLst>
              <a:cxn ang="0">
                <a:pos x="64" y="6"/>
              </a:cxn>
              <a:cxn ang="0">
                <a:pos x="61" y="2"/>
              </a:cxn>
              <a:cxn ang="0">
                <a:pos x="52" y="8"/>
              </a:cxn>
              <a:cxn ang="0">
                <a:pos x="40" y="13"/>
              </a:cxn>
              <a:cxn ang="0">
                <a:pos x="34" y="14"/>
              </a:cxn>
              <a:cxn ang="0">
                <a:pos x="29" y="25"/>
              </a:cxn>
              <a:cxn ang="0">
                <a:pos x="25" y="33"/>
              </a:cxn>
              <a:cxn ang="0">
                <a:pos x="20" y="41"/>
              </a:cxn>
              <a:cxn ang="0">
                <a:pos x="16" y="38"/>
              </a:cxn>
              <a:cxn ang="0">
                <a:pos x="17" y="45"/>
              </a:cxn>
              <a:cxn ang="0">
                <a:pos x="16" y="48"/>
              </a:cxn>
              <a:cxn ang="0">
                <a:pos x="13" y="47"/>
              </a:cxn>
              <a:cxn ang="0">
                <a:pos x="11" y="52"/>
              </a:cxn>
              <a:cxn ang="0">
                <a:pos x="13" y="55"/>
              </a:cxn>
              <a:cxn ang="0">
                <a:pos x="14" y="58"/>
              </a:cxn>
              <a:cxn ang="0">
                <a:pos x="16" y="64"/>
              </a:cxn>
              <a:cxn ang="0">
                <a:pos x="14" y="73"/>
              </a:cxn>
              <a:cxn ang="0">
                <a:pos x="16" y="87"/>
              </a:cxn>
              <a:cxn ang="0">
                <a:pos x="11" y="98"/>
              </a:cxn>
              <a:cxn ang="0">
                <a:pos x="5" y="103"/>
              </a:cxn>
              <a:cxn ang="0">
                <a:pos x="3" y="109"/>
              </a:cxn>
              <a:cxn ang="0">
                <a:pos x="13" y="115"/>
              </a:cxn>
              <a:cxn ang="0">
                <a:pos x="16" y="119"/>
              </a:cxn>
              <a:cxn ang="0">
                <a:pos x="23" y="120"/>
              </a:cxn>
              <a:cxn ang="0">
                <a:pos x="26" y="120"/>
              </a:cxn>
              <a:cxn ang="0">
                <a:pos x="32" y="123"/>
              </a:cxn>
              <a:cxn ang="0">
                <a:pos x="37" y="126"/>
              </a:cxn>
              <a:cxn ang="0">
                <a:pos x="43" y="134"/>
              </a:cxn>
              <a:cxn ang="0">
                <a:pos x="52" y="147"/>
              </a:cxn>
              <a:cxn ang="0">
                <a:pos x="67" y="145"/>
              </a:cxn>
              <a:cxn ang="0">
                <a:pos x="73" y="150"/>
              </a:cxn>
              <a:cxn ang="0">
                <a:pos x="70" y="161"/>
              </a:cxn>
              <a:cxn ang="0">
                <a:pos x="75" y="164"/>
              </a:cxn>
              <a:cxn ang="0">
                <a:pos x="78" y="140"/>
              </a:cxn>
              <a:cxn ang="0">
                <a:pos x="78" y="129"/>
              </a:cxn>
              <a:cxn ang="0">
                <a:pos x="73" y="119"/>
              </a:cxn>
              <a:cxn ang="0">
                <a:pos x="78" y="115"/>
              </a:cxn>
              <a:cxn ang="0">
                <a:pos x="81" y="117"/>
              </a:cxn>
              <a:cxn ang="0">
                <a:pos x="80" y="112"/>
              </a:cxn>
              <a:cxn ang="0">
                <a:pos x="75" y="112"/>
              </a:cxn>
              <a:cxn ang="0">
                <a:pos x="75" y="106"/>
              </a:cxn>
              <a:cxn ang="0">
                <a:pos x="89" y="106"/>
              </a:cxn>
              <a:cxn ang="0">
                <a:pos x="90" y="105"/>
              </a:cxn>
              <a:cxn ang="0">
                <a:pos x="95" y="101"/>
              </a:cxn>
              <a:cxn ang="0">
                <a:pos x="99" y="111"/>
              </a:cxn>
              <a:cxn ang="0">
                <a:pos x="95" y="98"/>
              </a:cxn>
              <a:cxn ang="0">
                <a:pos x="92" y="95"/>
              </a:cxn>
              <a:cxn ang="0">
                <a:pos x="95" y="90"/>
              </a:cxn>
              <a:cxn ang="0">
                <a:pos x="92" y="81"/>
              </a:cxn>
              <a:cxn ang="0">
                <a:pos x="95" y="62"/>
              </a:cxn>
              <a:cxn ang="0">
                <a:pos x="80" y="62"/>
              </a:cxn>
              <a:cxn ang="0">
                <a:pos x="72" y="55"/>
              </a:cxn>
              <a:cxn ang="0">
                <a:pos x="61" y="55"/>
              </a:cxn>
              <a:cxn ang="0">
                <a:pos x="55" y="50"/>
              </a:cxn>
              <a:cxn ang="0">
                <a:pos x="55" y="41"/>
              </a:cxn>
              <a:cxn ang="0">
                <a:pos x="49" y="33"/>
              </a:cxn>
              <a:cxn ang="0">
                <a:pos x="49" y="30"/>
              </a:cxn>
              <a:cxn ang="0">
                <a:pos x="55" y="14"/>
              </a:cxn>
              <a:cxn ang="0">
                <a:pos x="64" y="6"/>
              </a:cxn>
            </a:cxnLst>
            <a:rect l="0" t="0" r="r" b="b"/>
            <a:pathLst>
              <a:path w="99" h="164">
                <a:moveTo>
                  <a:pt x="64" y="6"/>
                </a:moveTo>
                <a:cubicBezTo>
                  <a:pt x="66" y="5"/>
                  <a:pt x="67" y="0"/>
                  <a:pt x="61" y="2"/>
                </a:cubicBezTo>
                <a:cubicBezTo>
                  <a:pt x="57" y="2"/>
                  <a:pt x="60" y="3"/>
                  <a:pt x="52" y="8"/>
                </a:cubicBezTo>
                <a:cubicBezTo>
                  <a:pt x="43" y="16"/>
                  <a:pt x="42" y="8"/>
                  <a:pt x="40" y="13"/>
                </a:cubicBezTo>
                <a:cubicBezTo>
                  <a:pt x="38" y="17"/>
                  <a:pt x="35" y="11"/>
                  <a:pt x="34" y="14"/>
                </a:cubicBezTo>
                <a:cubicBezTo>
                  <a:pt x="32" y="17"/>
                  <a:pt x="29" y="17"/>
                  <a:pt x="29" y="25"/>
                </a:cubicBezTo>
                <a:cubicBezTo>
                  <a:pt x="31" y="34"/>
                  <a:pt x="26" y="28"/>
                  <a:pt x="25" y="33"/>
                </a:cubicBezTo>
                <a:cubicBezTo>
                  <a:pt x="25" y="38"/>
                  <a:pt x="19" y="36"/>
                  <a:pt x="20" y="41"/>
                </a:cubicBezTo>
                <a:cubicBezTo>
                  <a:pt x="22" y="48"/>
                  <a:pt x="19" y="42"/>
                  <a:pt x="16" y="38"/>
                </a:cubicBezTo>
                <a:cubicBezTo>
                  <a:pt x="14" y="41"/>
                  <a:pt x="19" y="45"/>
                  <a:pt x="17" y="45"/>
                </a:cubicBezTo>
                <a:cubicBezTo>
                  <a:pt x="16" y="45"/>
                  <a:pt x="17" y="47"/>
                  <a:pt x="16" y="48"/>
                </a:cubicBezTo>
                <a:cubicBezTo>
                  <a:pt x="14" y="50"/>
                  <a:pt x="13" y="47"/>
                  <a:pt x="13" y="47"/>
                </a:cubicBezTo>
                <a:cubicBezTo>
                  <a:pt x="11" y="50"/>
                  <a:pt x="13" y="48"/>
                  <a:pt x="11" y="52"/>
                </a:cubicBezTo>
                <a:cubicBezTo>
                  <a:pt x="13" y="53"/>
                  <a:pt x="13" y="53"/>
                  <a:pt x="13" y="55"/>
                </a:cubicBezTo>
                <a:cubicBezTo>
                  <a:pt x="13" y="56"/>
                  <a:pt x="13" y="56"/>
                  <a:pt x="14" y="58"/>
                </a:cubicBezTo>
                <a:cubicBezTo>
                  <a:pt x="19" y="59"/>
                  <a:pt x="14" y="62"/>
                  <a:pt x="16" y="64"/>
                </a:cubicBezTo>
                <a:cubicBezTo>
                  <a:pt x="19" y="69"/>
                  <a:pt x="13" y="66"/>
                  <a:pt x="14" y="73"/>
                </a:cubicBezTo>
                <a:cubicBezTo>
                  <a:pt x="16" y="81"/>
                  <a:pt x="13" y="86"/>
                  <a:pt x="16" y="87"/>
                </a:cubicBezTo>
                <a:cubicBezTo>
                  <a:pt x="17" y="87"/>
                  <a:pt x="14" y="98"/>
                  <a:pt x="11" y="98"/>
                </a:cubicBezTo>
                <a:cubicBezTo>
                  <a:pt x="7" y="98"/>
                  <a:pt x="5" y="98"/>
                  <a:pt x="5" y="103"/>
                </a:cubicBezTo>
                <a:cubicBezTo>
                  <a:pt x="7" y="106"/>
                  <a:pt x="0" y="103"/>
                  <a:pt x="3" y="109"/>
                </a:cubicBezTo>
                <a:cubicBezTo>
                  <a:pt x="10" y="114"/>
                  <a:pt x="11" y="115"/>
                  <a:pt x="13" y="115"/>
                </a:cubicBezTo>
                <a:cubicBezTo>
                  <a:pt x="13" y="115"/>
                  <a:pt x="16" y="117"/>
                  <a:pt x="16" y="119"/>
                </a:cubicBezTo>
                <a:cubicBezTo>
                  <a:pt x="16" y="120"/>
                  <a:pt x="23" y="122"/>
                  <a:pt x="23" y="120"/>
                </a:cubicBezTo>
                <a:cubicBezTo>
                  <a:pt x="23" y="119"/>
                  <a:pt x="25" y="117"/>
                  <a:pt x="26" y="120"/>
                </a:cubicBezTo>
                <a:cubicBezTo>
                  <a:pt x="28" y="123"/>
                  <a:pt x="29" y="123"/>
                  <a:pt x="32" y="123"/>
                </a:cubicBezTo>
                <a:cubicBezTo>
                  <a:pt x="34" y="122"/>
                  <a:pt x="34" y="125"/>
                  <a:pt x="37" y="126"/>
                </a:cubicBezTo>
                <a:cubicBezTo>
                  <a:pt x="42" y="128"/>
                  <a:pt x="38" y="131"/>
                  <a:pt x="43" y="134"/>
                </a:cubicBezTo>
                <a:cubicBezTo>
                  <a:pt x="49" y="137"/>
                  <a:pt x="48" y="147"/>
                  <a:pt x="52" y="147"/>
                </a:cubicBezTo>
                <a:cubicBezTo>
                  <a:pt x="58" y="147"/>
                  <a:pt x="61" y="144"/>
                  <a:pt x="67" y="145"/>
                </a:cubicBezTo>
                <a:cubicBezTo>
                  <a:pt x="75" y="148"/>
                  <a:pt x="75" y="148"/>
                  <a:pt x="73" y="150"/>
                </a:cubicBezTo>
                <a:cubicBezTo>
                  <a:pt x="70" y="156"/>
                  <a:pt x="67" y="162"/>
                  <a:pt x="70" y="161"/>
                </a:cubicBezTo>
                <a:cubicBezTo>
                  <a:pt x="73" y="161"/>
                  <a:pt x="73" y="162"/>
                  <a:pt x="75" y="164"/>
                </a:cubicBezTo>
                <a:cubicBezTo>
                  <a:pt x="75" y="162"/>
                  <a:pt x="76" y="147"/>
                  <a:pt x="78" y="140"/>
                </a:cubicBezTo>
                <a:cubicBezTo>
                  <a:pt x="80" y="133"/>
                  <a:pt x="76" y="133"/>
                  <a:pt x="78" y="129"/>
                </a:cubicBezTo>
                <a:cubicBezTo>
                  <a:pt x="78" y="126"/>
                  <a:pt x="75" y="131"/>
                  <a:pt x="73" y="119"/>
                </a:cubicBezTo>
                <a:cubicBezTo>
                  <a:pt x="73" y="115"/>
                  <a:pt x="76" y="117"/>
                  <a:pt x="78" y="115"/>
                </a:cubicBezTo>
                <a:cubicBezTo>
                  <a:pt x="78" y="115"/>
                  <a:pt x="80" y="117"/>
                  <a:pt x="81" y="117"/>
                </a:cubicBezTo>
                <a:cubicBezTo>
                  <a:pt x="81" y="119"/>
                  <a:pt x="81" y="112"/>
                  <a:pt x="80" y="112"/>
                </a:cubicBezTo>
                <a:cubicBezTo>
                  <a:pt x="76" y="112"/>
                  <a:pt x="75" y="112"/>
                  <a:pt x="75" y="112"/>
                </a:cubicBezTo>
                <a:cubicBezTo>
                  <a:pt x="75" y="106"/>
                  <a:pt x="75" y="106"/>
                  <a:pt x="75" y="106"/>
                </a:cubicBezTo>
                <a:cubicBezTo>
                  <a:pt x="89" y="106"/>
                  <a:pt x="89" y="106"/>
                  <a:pt x="89" y="106"/>
                </a:cubicBezTo>
                <a:cubicBezTo>
                  <a:pt x="87" y="105"/>
                  <a:pt x="87" y="101"/>
                  <a:pt x="90" y="105"/>
                </a:cubicBezTo>
                <a:cubicBezTo>
                  <a:pt x="92" y="108"/>
                  <a:pt x="93" y="101"/>
                  <a:pt x="95" y="101"/>
                </a:cubicBezTo>
                <a:cubicBezTo>
                  <a:pt x="99" y="108"/>
                  <a:pt x="95" y="112"/>
                  <a:pt x="99" y="111"/>
                </a:cubicBezTo>
                <a:cubicBezTo>
                  <a:pt x="96" y="101"/>
                  <a:pt x="98" y="100"/>
                  <a:pt x="95" y="98"/>
                </a:cubicBezTo>
                <a:cubicBezTo>
                  <a:pt x="93" y="97"/>
                  <a:pt x="93" y="95"/>
                  <a:pt x="92" y="95"/>
                </a:cubicBezTo>
                <a:cubicBezTo>
                  <a:pt x="90" y="97"/>
                  <a:pt x="90" y="95"/>
                  <a:pt x="95" y="90"/>
                </a:cubicBezTo>
                <a:cubicBezTo>
                  <a:pt x="96" y="89"/>
                  <a:pt x="93" y="87"/>
                  <a:pt x="92" y="81"/>
                </a:cubicBezTo>
                <a:cubicBezTo>
                  <a:pt x="89" y="72"/>
                  <a:pt x="96" y="62"/>
                  <a:pt x="95" y="62"/>
                </a:cubicBezTo>
                <a:cubicBezTo>
                  <a:pt x="87" y="61"/>
                  <a:pt x="87" y="64"/>
                  <a:pt x="80" y="62"/>
                </a:cubicBezTo>
                <a:cubicBezTo>
                  <a:pt x="76" y="62"/>
                  <a:pt x="75" y="53"/>
                  <a:pt x="72" y="55"/>
                </a:cubicBezTo>
                <a:cubicBezTo>
                  <a:pt x="70" y="56"/>
                  <a:pt x="69" y="53"/>
                  <a:pt x="61" y="55"/>
                </a:cubicBezTo>
                <a:cubicBezTo>
                  <a:pt x="55" y="55"/>
                  <a:pt x="60" y="52"/>
                  <a:pt x="55" y="50"/>
                </a:cubicBezTo>
                <a:cubicBezTo>
                  <a:pt x="52" y="50"/>
                  <a:pt x="58" y="42"/>
                  <a:pt x="55" y="41"/>
                </a:cubicBezTo>
                <a:cubicBezTo>
                  <a:pt x="51" y="38"/>
                  <a:pt x="54" y="31"/>
                  <a:pt x="49" y="33"/>
                </a:cubicBezTo>
                <a:cubicBezTo>
                  <a:pt x="46" y="33"/>
                  <a:pt x="48" y="33"/>
                  <a:pt x="49" y="30"/>
                </a:cubicBezTo>
                <a:cubicBezTo>
                  <a:pt x="52" y="28"/>
                  <a:pt x="51" y="16"/>
                  <a:pt x="55" y="14"/>
                </a:cubicBezTo>
                <a:cubicBezTo>
                  <a:pt x="60" y="11"/>
                  <a:pt x="54" y="8"/>
                  <a:pt x="64" y="6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4" name="Freeform 21"/>
          <p:cNvSpPr>
            <a:spLocks/>
          </p:cNvSpPr>
          <p:nvPr/>
        </p:nvSpPr>
        <p:spPr bwMode="auto">
          <a:xfrm>
            <a:off x="3347702" y="4319064"/>
            <a:ext cx="281108" cy="334077"/>
          </a:xfrm>
          <a:custGeom>
            <a:avLst/>
            <a:gdLst/>
            <a:ahLst/>
            <a:cxnLst>
              <a:cxn ang="0">
                <a:pos x="102" y="73"/>
              </a:cxn>
              <a:cxn ang="0">
                <a:pos x="88" y="84"/>
              </a:cxn>
              <a:cxn ang="0">
                <a:pos x="82" y="87"/>
              </a:cxn>
              <a:cxn ang="0">
                <a:pos x="71" y="85"/>
              </a:cxn>
              <a:cxn ang="0">
                <a:pos x="77" y="99"/>
              </a:cxn>
              <a:cxn ang="0">
                <a:pos x="77" y="104"/>
              </a:cxn>
              <a:cxn ang="0">
                <a:pos x="71" y="110"/>
              </a:cxn>
              <a:cxn ang="0">
                <a:pos x="62" y="117"/>
              </a:cxn>
              <a:cxn ang="0">
                <a:pos x="53" y="112"/>
              </a:cxn>
              <a:cxn ang="0">
                <a:pos x="48" y="99"/>
              </a:cxn>
              <a:cxn ang="0">
                <a:pos x="45" y="96"/>
              </a:cxn>
              <a:cxn ang="0">
                <a:pos x="48" y="92"/>
              </a:cxn>
              <a:cxn ang="0">
                <a:pos x="45" y="82"/>
              </a:cxn>
              <a:cxn ang="0">
                <a:pos x="48" y="64"/>
              </a:cxn>
              <a:cxn ang="0">
                <a:pos x="33" y="64"/>
              </a:cxn>
              <a:cxn ang="0">
                <a:pos x="26" y="56"/>
              </a:cxn>
              <a:cxn ang="0">
                <a:pos x="15" y="56"/>
              </a:cxn>
              <a:cxn ang="0">
                <a:pos x="9" y="51"/>
              </a:cxn>
              <a:cxn ang="0">
                <a:pos x="9" y="42"/>
              </a:cxn>
              <a:cxn ang="0">
                <a:pos x="3" y="34"/>
              </a:cxn>
              <a:cxn ang="0">
                <a:pos x="3" y="31"/>
              </a:cxn>
              <a:cxn ang="0">
                <a:pos x="9" y="15"/>
              </a:cxn>
              <a:cxn ang="0">
                <a:pos x="18" y="7"/>
              </a:cxn>
              <a:cxn ang="0">
                <a:pos x="14" y="14"/>
              </a:cxn>
              <a:cxn ang="0">
                <a:pos x="15" y="17"/>
              </a:cxn>
              <a:cxn ang="0">
                <a:pos x="23" y="14"/>
              </a:cxn>
              <a:cxn ang="0">
                <a:pos x="26" y="9"/>
              </a:cxn>
              <a:cxn ang="0">
                <a:pos x="30" y="6"/>
              </a:cxn>
              <a:cxn ang="0">
                <a:pos x="41" y="18"/>
              </a:cxn>
              <a:cxn ang="0">
                <a:pos x="59" y="21"/>
              </a:cxn>
              <a:cxn ang="0">
                <a:pos x="71" y="23"/>
              </a:cxn>
              <a:cxn ang="0">
                <a:pos x="77" y="18"/>
              </a:cxn>
              <a:cxn ang="0">
                <a:pos x="88" y="18"/>
              </a:cxn>
              <a:cxn ang="0">
                <a:pos x="86" y="20"/>
              </a:cxn>
              <a:cxn ang="0">
                <a:pos x="91" y="26"/>
              </a:cxn>
              <a:cxn ang="0">
                <a:pos x="97" y="29"/>
              </a:cxn>
              <a:cxn ang="0">
                <a:pos x="100" y="34"/>
              </a:cxn>
              <a:cxn ang="0">
                <a:pos x="97" y="40"/>
              </a:cxn>
              <a:cxn ang="0">
                <a:pos x="108" y="40"/>
              </a:cxn>
              <a:cxn ang="0">
                <a:pos x="102" y="50"/>
              </a:cxn>
              <a:cxn ang="0">
                <a:pos x="105" y="54"/>
              </a:cxn>
              <a:cxn ang="0">
                <a:pos x="102" y="57"/>
              </a:cxn>
              <a:cxn ang="0">
                <a:pos x="99" y="62"/>
              </a:cxn>
              <a:cxn ang="0">
                <a:pos x="102" y="73"/>
              </a:cxn>
            </a:cxnLst>
            <a:rect l="0" t="0" r="r" b="b"/>
            <a:pathLst>
              <a:path w="111" h="118">
                <a:moveTo>
                  <a:pt x="102" y="73"/>
                </a:moveTo>
                <a:cubicBezTo>
                  <a:pt x="103" y="79"/>
                  <a:pt x="92" y="84"/>
                  <a:pt x="88" y="84"/>
                </a:cubicBezTo>
                <a:cubicBezTo>
                  <a:pt x="83" y="82"/>
                  <a:pt x="90" y="92"/>
                  <a:pt x="82" y="87"/>
                </a:cubicBezTo>
                <a:cubicBezTo>
                  <a:pt x="76" y="84"/>
                  <a:pt x="68" y="81"/>
                  <a:pt x="71" y="85"/>
                </a:cubicBezTo>
                <a:cubicBezTo>
                  <a:pt x="74" y="90"/>
                  <a:pt x="74" y="101"/>
                  <a:pt x="77" y="99"/>
                </a:cubicBezTo>
                <a:cubicBezTo>
                  <a:pt x="80" y="98"/>
                  <a:pt x="82" y="101"/>
                  <a:pt x="77" y="104"/>
                </a:cubicBezTo>
                <a:cubicBezTo>
                  <a:pt x="73" y="106"/>
                  <a:pt x="77" y="110"/>
                  <a:pt x="71" y="110"/>
                </a:cubicBezTo>
                <a:cubicBezTo>
                  <a:pt x="65" y="112"/>
                  <a:pt x="67" y="118"/>
                  <a:pt x="62" y="117"/>
                </a:cubicBezTo>
                <a:cubicBezTo>
                  <a:pt x="59" y="115"/>
                  <a:pt x="56" y="118"/>
                  <a:pt x="53" y="112"/>
                </a:cubicBezTo>
                <a:cubicBezTo>
                  <a:pt x="50" y="103"/>
                  <a:pt x="51" y="101"/>
                  <a:pt x="48" y="99"/>
                </a:cubicBezTo>
                <a:cubicBezTo>
                  <a:pt x="47" y="98"/>
                  <a:pt x="47" y="96"/>
                  <a:pt x="45" y="96"/>
                </a:cubicBezTo>
                <a:cubicBezTo>
                  <a:pt x="44" y="98"/>
                  <a:pt x="44" y="96"/>
                  <a:pt x="48" y="92"/>
                </a:cubicBezTo>
                <a:cubicBezTo>
                  <a:pt x="50" y="90"/>
                  <a:pt x="47" y="89"/>
                  <a:pt x="45" y="82"/>
                </a:cubicBezTo>
                <a:cubicBezTo>
                  <a:pt x="42" y="73"/>
                  <a:pt x="50" y="64"/>
                  <a:pt x="48" y="64"/>
                </a:cubicBezTo>
                <a:cubicBezTo>
                  <a:pt x="41" y="62"/>
                  <a:pt x="41" y="65"/>
                  <a:pt x="33" y="64"/>
                </a:cubicBezTo>
                <a:cubicBezTo>
                  <a:pt x="30" y="64"/>
                  <a:pt x="29" y="54"/>
                  <a:pt x="26" y="56"/>
                </a:cubicBezTo>
                <a:cubicBezTo>
                  <a:pt x="24" y="57"/>
                  <a:pt x="23" y="54"/>
                  <a:pt x="15" y="56"/>
                </a:cubicBezTo>
                <a:cubicBezTo>
                  <a:pt x="9" y="56"/>
                  <a:pt x="14" y="53"/>
                  <a:pt x="9" y="51"/>
                </a:cubicBezTo>
                <a:cubicBezTo>
                  <a:pt x="6" y="51"/>
                  <a:pt x="12" y="43"/>
                  <a:pt x="9" y="42"/>
                </a:cubicBezTo>
                <a:cubicBezTo>
                  <a:pt x="4" y="39"/>
                  <a:pt x="7" y="32"/>
                  <a:pt x="3" y="34"/>
                </a:cubicBezTo>
                <a:cubicBezTo>
                  <a:pt x="0" y="34"/>
                  <a:pt x="1" y="34"/>
                  <a:pt x="3" y="31"/>
                </a:cubicBezTo>
                <a:cubicBezTo>
                  <a:pt x="6" y="29"/>
                  <a:pt x="4" y="17"/>
                  <a:pt x="9" y="15"/>
                </a:cubicBezTo>
                <a:cubicBezTo>
                  <a:pt x="14" y="12"/>
                  <a:pt x="7" y="9"/>
                  <a:pt x="18" y="7"/>
                </a:cubicBezTo>
                <a:cubicBezTo>
                  <a:pt x="15" y="9"/>
                  <a:pt x="10" y="11"/>
                  <a:pt x="14" y="14"/>
                </a:cubicBezTo>
                <a:cubicBezTo>
                  <a:pt x="14" y="14"/>
                  <a:pt x="15" y="15"/>
                  <a:pt x="15" y="17"/>
                </a:cubicBezTo>
                <a:cubicBezTo>
                  <a:pt x="15" y="21"/>
                  <a:pt x="17" y="15"/>
                  <a:pt x="23" y="14"/>
                </a:cubicBezTo>
                <a:cubicBezTo>
                  <a:pt x="30" y="12"/>
                  <a:pt x="27" y="11"/>
                  <a:pt x="26" y="9"/>
                </a:cubicBezTo>
                <a:cubicBezTo>
                  <a:pt x="26" y="6"/>
                  <a:pt x="29" y="0"/>
                  <a:pt x="30" y="6"/>
                </a:cubicBezTo>
                <a:cubicBezTo>
                  <a:pt x="33" y="14"/>
                  <a:pt x="41" y="9"/>
                  <a:pt x="41" y="18"/>
                </a:cubicBezTo>
                <a:cubicBezTo>
                  <a:pt x="41" y="26"/>
                  <a:pt x="56" y="15"/>
                  <a:pt x="59" y="21"/>
                </a:cubicBezTo>
                <a:cubicBezTo>
                  <a:pt x="64" y="26"/>
                  <a:pt x="68" y="25"/>
                  <a:pt x="71" y="23"/>
                </a:cubicBezTo>
                <a:cubicBezTo>
                  <a:pt x="74" y="21"/>
                  <a:pt x="70" y="18"/>
                  <a:pt x="77" y="18"/>
                </a:cubicBezTo>
                <a:cubicBezTo>
                  <a:pt x="85" y="18"/>
                  <a:pt x="82" y="17"/>
                  <a:pt x="88" y="18"/>
                </a:cubicBezTo>
                <a:cubicBezTo>
                  <a:pt x="94" y="18"/>
                  <a:pt x="92" y="20"/>
                  <a:pt x="86" y="20"/>
                </a:cubicBezTo>
                <a:cubicBezTo>
                  <a:pt x="80" y="21"/>
                  <a:pt x="90" y="25"/>
                  <a:pt x="91" y="26"/>
                </a:cubicBezTo>
                <a:cubicBezTo>
                  <a:pt x="92" y="29"/>
                  <a:pt x="96" y="26"/>
                  <a:pt x="97" y="29"/>
                </a:cubicBezTo>
                <a:cubicBezTo>
                  <a:pt x="99" y="32"/>
                  <a:pt x="103" y="31"/>
                  <a:pt x="100" y="34"/>
                </a:cubicBezTo>
                <a:cubicBezTo>
                  <a:pt x="97" y="36"/>
                  <a:pt x="99" y="37"/>
                  <a:pt x="97" y="40"/>
                </a:cubicBezTo>
                <a:cubicBezTo>
                  <a:pt x="94" y="43"/>
                  <a:pt x="103" y="37"/>
                  <a:pt x="108" y="40"/>
                </a:cubicBezTo>
                <a:cubicBezTo>
                  <a:pt x="111" y="45"/>
                  <a:pt x="103" y="46"/>
                  <a:pt x="102" y="50"/>
                </a:cubicBezTo>
                <a:cubicBezTo>
                  <a:pt x="100" y="51"/>
                  <a:pt x="103" y="51"/>
                  <a:pt x="105" y="54"/>
                </a:cubicBezTo>
                <a:cubicBezTo>
                  <a:pt x="105" y="56"/>
                  <a:pt x="105" y="56"/>
                  <a:pt x="102" y="57"/>
                </a:cubicBezTo>
                <a:cubicBezTo>
                  <a:pt x="97" y="59"/>
                  <a:pt x="97" y="57"/>
                  <a:pt x="99" y="62"/>
                </a:cubicBezTo>
                <a:cubicBezTo>
                  <a:pt x="100" y="67"/>
                  <a:pt x="91" y="64"/>
                  <a:pt x="102" y="7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5" name="Freeform 22"/>
          <p:cNvSpPr>
            <a:spLocks/>
          </p:cNvSpPr>
          <p:nvPr/>
        </p:nvSpPr>
        <p:spPr bwMode="auto">
          <a:xfrm>
            <a:off x="3577819" y="4431396"/>
            <a:ext cx="111136" cy="210076"/>
          </a:xfrm>
          <a:custGeom>
            <a:avLst/>
            <a:gdLst/>
            <a:ahLst/>
            <a:cxnLst>
              <a:cxn ang="0">
                <a:pos x="44" y="66"/>
              </a:cxn>
              <a:cxn ang="0">
                <a:pos x="38" y="64"/>
              </a:cxn>
              <a:cxn ang="0">
                <a:pos x="30" y="69"/>
              </a:cxn>
              <a:cxn ang="0">
                <a:pos x="26" y="72"/>
              </a:cxn>
              <a:cxn ang="0">
                <a:pos x="18" y="64"/>
              </a:cxn>
              <a:cxn ang="0">
                <a:pos x="17" y="56"/>
              </a:cxn>
              <a:cxn ang="0">
                <a:pos x="18" y="47"/>
              </a:cxn>
              <a:cxn ang="0">
                <a:pos x="15" y="38"/>
              </a:cxn>
              <a:cxn ang="0">
                <a:pos x="14" y="33"/>
              </a:cxn>
              <a:cxn ang="0">
                <a:pos x="10" y="33"/>
              </a:cxn>
              <a:cxn ang="0">
                <a:pos x="7" y="22"/>
              </a:cxn>
              <a:cxn ang="0">
                <a:pos x="10" y="17"/>
              </a:cxn>
              <a:cxn ang="0">
                <a:pos x="14" y="14"/>
              </a:cxn>
              <a:cxn ang="0">
                <a:pos x="10" y="10"/>
              </a:cxn>
              <a:cxn ang="0">
                <a:pos x="17" y="0"/>
              </a:cxn>
              <a:cxn ang="0">
                <a:pos x="18" y="2"/>
              </a:cxn>
              <a:cxn ang="0">
                <a:pos x="27" y="13"/>
              </a:cxn>
              <a:cxn ang="0">
                <a:pos x="32" y="17"/>
              </a:cxn>
              <a:cxn ang="0">
                <a:pos x="37" y="22"/>
              </a:cxn>
              <a:cxn ang="0">
                <a:pos x="40" y="27"/>
              </a:cxn>
              <a:cxn ang="0">
                <a:pos x="38" y="33"/>
              </a:cxn>
              <a:cxn ang="0">
                <a:pos x="35" y="36"/>
              </a:cxn>
              <a:cxn ang="0">
                <a:pos x="32" y="38"/>
              </a:cxn>
              <a:cxn ang="0">
                <a:pos x="32" y="42"/>
              </a:cxn>
              <a:cxn ang="0">
                <a:pos x="35" y="50"/>
              </a:cxn>
              <a:cxn ang="0">
                <a:pos x="38" y="52"/>
              </a:cxn>
              <a:cxn ang="0">
                <a:pos x="40" y="58"/>
              </a:cxn>
              <a:cxn ang="0">
                <a:pos x="44" y="66"/>
              </a:cxn>
            </a:cxnLst>
            <a:rect l="0" t="0" r="r" b="b"/>
            <a:pathLst>
              <a:path w="44" h="74">
                <a:moveTo>
                  <a:pt x="44" y="66"/>
                </a:moveTo>
                <a:cubicBezTo>
                  <a:pt x="40" y="66"/>
                  <a:pt x="41" y="64"/>
                  <a:pt x="38" y="64"/>
                </a:cubicBezTo>
                <a:cubicBezTo>
                  <a:pt x="35" y="66"/>
                  <a:pt x="34" y="71"/>
                  <a:pt x="30" y="69"/>
                </a:cubicBezTo>
                <a:cubicBezTo>
                  <a:pt x="27" y="69"/>
                  <a:pt x="29" y="71"/>
                  <a:pt x="26" y="72"/>
                </a:cubicBezTo>
                <a:cubicBezTo>
                  <a:pt x="24" y="74"/>
                  <a:pt x="18" y="69"/>
                  <a:pt x="18" y="64"/>
                </a:cubicBezTo>
                <a:cubicBezTo>
                  <a:pt x="18" y="60"/>
                  <a:pt x="15" y="63"/>
                  <a:pt x="17" y="56"/>
                </a:cubicBezTo>
                <a:cubicBezTo>
                  <a:pt x="18" y="50"/>
                  <a:pt x="18" y="50"/>
                  <a:pt x="18" y="47"/>
                </a:cubicBezTo>
                <a:cubicBezTo>
                  <a:pt x="21" y="41"/>
                  <a:pt x="14" y="42"/>
                  <a:pt x="15" y="38"/>
                </a:cubicBezTo>
                <a:cubicBezTo>
                  <a:pt x="17" y="35"/>
                  <a:pt x="15" y="31"/>
                  <a:pt x="14" y="33"/>
                </a:cubicBezTo>
                <a:cubicBezTo>
                  <a:pt x="12" y="33"/>
                  <a:pt x="10" y="33"/>
                  <a:pt x="10" y="33"/>
                </a:cubicBezTo>
                <a:cubicBezTo>
                  <a:pt x="0" y="24"/>
                  <a:pt x="9" y="27"/>
                  <a:pt x="7" y="22"/>
                </a:cubicBezTo>
                <a:cubicBezTo>
                  <a:pt x="6" y="17"/>
                  <a:pt x="6" y="19"/>
                  <a:pt x="10" y="17"/>
                </a:cubicBezTo>
                <a:cubicBezTo>
                  <a:pt x="14" y="16"/>
                  <a:pt x="14" y="16"/>
                  <a:pt x="14" y="14"/>
                </a:cubicBezTo>
                <a:cubicBezTo>
                  <a:pt x="12" y="11"/>
                  <a:pt x="9" y="11"/>
                  <a:pt x="10" y="10"/>
                </a:cubicBezTo>
                <a:cubicBezTo>
                  <a:pt x="12" y="6"/>
                  <a:pt x="20" y="5"/>
                  <a:pt x="17" y="0"/>
                </a:cubicBezTo>
                <a:cubicBezTo>
                  <a:pt x="17" y="2"/>
                  <a:pt x="18" y="2"/>
                  <a:pt x="18" y="2"/>
                </a:cubicBezTo>
                <a:cubicBezTo>
                  <a:pt x="26" y="6"/>
                  <a:pt x="29" y="10"/>
                  <a:pt x="27" y="13"/>
                </a:cubicBezTo>
                <a:cubicBezTo>
                  <a:pt x="27" y="17"/>
                  <a:pt x="26" y="16"/>
                  <a:pt x="32" y="17"/>
                </a:cubicBezTo>
                <a:cubicBezTo>
                  <a:pt x="37" y="19"/>
                  <a:pt x="34" y="22"/>
                  <a:pt x="37" y="22"/>
                </a:cubicBezTo>
                <a:cubicBezTo>
                  <a:pt x="38" y="22"/>
                  <a:pt x="38" y="25"/>
                  <a:pt x="40" y="27"/>
                </a:cubicBezTo>
                <a:cubicBezTo>
                  <a:pt x="40" y="30"/>
                  <a:pt x="38" y="31"/>
                  <a:pt x="38" y="33"/>
                </a:cubicBezTo>
                <a:cubicBezTo>
                  <a:pt x="38" y="35"/>
                  <a:pt x="38" y="35"/>
                  <a:pt x="35" y="36"/>
                </a:cubicBezTo>
                <a:cubicBezTo>
                  <a:pt x="32" y="36"/>
                  <a:pt x="32" y="36"/>
                  <a:pt x="32" y="38"/>
                </a:cubicBezTo>
                <a:cubicBezTo>
                  <a:pt x="34" y="39"/>
                  <a:pt x="34" y="39"/>
                  <a:pt x="32" y="42"/>
                </a:cubicBezTo>
                <a:cubicBezTo>
                  <a:pt x="30" y="47"/>
                  <a:pt x="34" y="47"/>
                  <a:pt x="35" y="50"/>
                </a:cubicBezTo>
                <a:cubicBezTo>
                  <a:pt x="35" y="53"/>
                  <a:pt x="37" y="50"/>
                  <a:pt x="38" y="52"/>
                </a:cubicBezTo>
                <a:cubicBezTo>
                  <a:pt x="38" y="53"/>
                  <a:pt x="37" y="55"/>
                  <a:pt x="40" y="58"/>
                </a:cubicBezTo>
                <a:cubicBezTo>
                  <a:pt x="41" y="60"/>
                  <a:pt x="41" y="63"/>
                  <a:pt x="44" y="66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6" name="Freeform 23"/>
          <p:cNvSpPr>
            <a:spLocks/>
          </p:cNvSpPr>
          <p:nvPr/>
        </p:nvSpPr>
        <p:spPr bwMode="auto">
          <a:xfrm>
            <a:off x="3656267" y="4499962"/>
            <a:ext cx="83679" cy="124003"/>
          </a:xfrm>
          <a:custGeom>
            <a:avLst/>
            <a:gdLst/>
            <a:ahLst/>
            <a:cxnLst>
              <a:cxn ang="0">
                <a:pos x="33" y="4"/>
              </a:cxn>
              <a:cxn ang="0">
                <a:pos x="29" y="15"/>
              </a:cxn>
              <a:cxn ang="0">
                <a:pos x="32" y="23"/>
              </a:cxn>
              <a:cxn ang="0">
                <a:pos x="32" y="27"/>
              </a:cxn>
              <a:cxn ang="0">
                <a:pos x="29" y="37"/>
              </a:cxn>
              <a:cxn ang="0">
                <a:pos x="26" y="35"/>
              </a:cxn>
              <a:cxn ang="0">
                <a:pos x="20" y="37"/>
              </a:cxn>
              <a:cxn ang="0">
                <a:pos x="18" y="40"/>
              </a:cxn>
              <a:cxn ang="0">
                <a:pos x="13" y="41"/>
              </a:cxn>
              <a:cxn ang="0">
                <a:pos x="9" y="33"/>
              </a:cxn>
              <a:cxn ang="0">
                <a:pos x="7" y="27"/>
              </a:cxn>
              <a:cxn ang="0">
                <a:pos x="4" y="26"/>
              </a:cxn>
              <a:cxn ang="0">
                <a:pos x="1" y="18"/>
              </a:cxn>
              <a:cxn ang="0">
                <a:pos x="1" y="14"/>
              </a:cxn>
              <a:cxn ang="0">
                <a:pos x="4" y="12"/>
              </a:cxn>
              <a:cxn ang="0">
                <a:pos x="7" y="9"/>
              </a:cxn>
              <a:cxn ang="0">
                <a:pos x="9" y="3"/>
              </a:cxn>
              <a:cxn ang="0">
                <a:pos x="18" y="3"/>
              </a:cxn>
              <a:cxn ang="0">
                <a:pos x="21" y="1"/>
              </a:cxn>
              <a:cxn ang="0">
                <a:pos x="24" y="1"/>
              </a:cxn>
              <a:cxn ang="0">
                <a:pos x="33" y="4"/>
              </a:cxn>
            </a:cxnLst>
            <a:rect l="0" t="0" r="r" b="b"/>
            <a:pathLst>
              <a:path w="33" h="44">
                <a:moveTo>
                  <a:pt x="33" y="4"/>
                </a:moveTo>
                <a:cubicBezTo>
                  <a:pt x="30" y="12"/>
                  <a:pt x="29" y="9"/>
                  <a:pt x="29" y="15"/>
                </a:cubicBezTo>
                <a:cubicBezTo>
                  <a:pt x="30" y="20"/>
                  <a:pt x="30" y="21"/>
                  <a:pt x="32" y="23"/>
                </a:cubicBezTo>
                <a:cubicBezTo>
                  <a:pt x="33" y="24"/>
                  <a:pt x="33" y="26"/>
                  <a:pt x="32" y="27"/>
                </a:cubicBezTo>
                <a:cubicBezTo>
                  <a:pt x="30" y="29"/>
                  <a:pt x="33" y="33"/>
                  <a:pt x="29" y="37"/>
                </a:cubicBezTo>
                <a:cubicBezTo>
                  <a:pt x="27" y="35"/>
                  <a:pt x="26" y="37"/>
                  <a:pt x="26" y="35"/>
                </a:cubicBezTo>
                <a:cubicBezTo>
                  <a:pt x="26" y="32"/>
                  <a:pt x="21" y="38"/>
                  <a:pt x="20" y="37"/>
                </a:cubicBezTo>
                <a:cubicBezTo>
                  <a:pt x="16" y="35"/>
                  <a:pt x="16" y="37"/>
                  <a:pt x="18" y="40"/>
                </a:cubicBezTo>
                <a:cubicBezTo>
                  <a:pt x="20" y="44"/>
                  <a:pt x="15" y="40"/>
                  <a:pt x="13" y="41"/>
                </a:cubicBezTo>
                <a:cubicBezTo>
                  <a:pt x="10" y="38"/>
                  <a:pt x="10" y="35"/>
                  <a:pt x="9" y="33"/>
                </a:cubicBezTo>
                <a:cubicBezTo>
                  <a:pt x="6" y="30"/>
                  <a:pt x="7" y="29"/>
                  <a:pt x="7" y="27"/>
                </a:cubicBezTo>
                <a:cubicBezTo>
                  <a:pt x="6" y="26"/>
                  <a:pt x="4" y="29"/>
                  <a:pt x="4" y="26"/>
                </a:cubicBezTo>
                <a:cubicBezTo>
                  <a:pt x="3" y="23"/>
                  <a:pt x="0" y="23"/>
                  <a:pt x="1" y="18"/>
                </a:cubicBezTo>
                <a:cubicBezTo>
                  <a:pt x="3" y="15"/>
                  <a:pt x="3" y="15"/>
                  <a:pt x="1" y="14"/>
                </a:cubicBezTo>
                <a:cubicBezTo>
                  <a:pt x="1" y="12"/>
                  <a:pt x="1" y="12"/>
                  <a:pt x="4" y="12"/>
                </a:cubicBezTo>
                <a:cubicBezTo>
                  <a:pt x="7" y="10"/>
                  <a:pt x="7" y="10"/>
                  <a:pt x="7" y="9"/>
                </a:cubicBezTo>
                <a:cubicBezTo>
                  <a:pt x="7" y="7"/>
                  <a:pt x="9" y="6"/>
                  <a:pt x="9" y="3"/>
                </a:cubicBezTo>
                <a:cubicBezTo>
                  <a:pt x="12" y="0"/>
                  <a:pt x="18" y="4"/>
                  <a:pt x="18" y="3"/>
                </a:cubicBezTo>
                <a:cubicBezTo>
                  <a:pt x="18" y="1"/>
                  <a:pt x="20" y="1"/>
                  <a:pt x="21" y="1"/>
                </a:cubicBezTo>
                <a:cubicBezTo>
                  <a:pt x="23" y="1"/>
                  <a:pt x="24" y="3"/>
                  <a:pt x="24" y="1"/>
                </a:cubicBezTo>
                <a:cubicBezTo>
                  <a:pt x="24" y="1"/>
                  <a:pt x="30" y="3"/>
                  <a:pt x="33" y="4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7" name="Freeform 24"/>
          <p:cNvSpPr>
            <a:spLocks/>
          </p:cNvSpPr>
          <p:nvPr/>
        </p:nvSpPr>
        <p:spPr bwMode="auto">
          <a:xfrm>
            <a:off x="3729486" y="4511633"/>
            <a:ext cx="58836" cy="102120"/>
          </a:xfrm>
          <a:custGeom>
            <a:avLst/>
            <a:gdLst/>
            <a:ahLst/>
            <a:cxnLst>
              <a:cxn ang="0">
                <a:pos x="4" y="0"/>
              </a:cxn>
              <a:cxn ang="0">
                <a:pos x="7" y="0"/>
              </a:cxn>
              <a:cxn ang="0">
                <a:pos x="13" y="5"/>
              </a:cxn>
              <a:cxn ang="0">
                <a:pos x="20" y="9"/>
              </a:cxn>
              <a:cxn ang="0">
                <a:pos x="23" y="14"/>
              </a:cxn>
              <a:cxn ang="0">
                <a:pos x="23" y="17"/>
              </a:cxn>
              <a:cxn ang="0">
                <a:pos x="18" y="23"/>
              </a:cxn>
              <a:cxn ang="0">
                <a:pos x="12" y="34"/>
              </a:cxn>
              <a:cxn ang="0">
                <a:pos x="9" y="33"/>
              </a:cxn>
              <a:cxn ang="0">
                <a:pos x="4" y="34"/>
              </a:cxn>
              <a:cxn ang="0">
                <a:pos x="0" y="33"/>
              </a:cxn>
              <a:cxn ang="0">
                <a:pos x="3" y="23"/>
              </a:cxn>
              <a:cxn ang="0">
                <a:pos x="3" y="19"/>
              </a:cxn>
              <a:cxn ang="0">
                <a:pos x="0" y="11"/>
              </a:cxn>
              <a:cxn ang="0">
                <a:pos x="4" y="0"/>
              </a:cxn>
            </a:cxnLst>
            <a:rect l="0" t="0" r="r" b="b"/>
            <a:pathLst>
              <a:path w="23" h="36">
                <a:moveTo>
                  <a:pt x="4" y="0"/>
                </a:moveTo>
                <a:cubicBezTo>
                  <a:pt x="6" y="0"/>
                  <a:pt x="6" y="0"/>
                  <a:pt x="7" y="0"/>
                </a:cubicBezTo>
                <a:cubicBezTo>
                  <a:pt x="10" y="2"/>
                  <a:pt x="12" y="2"/>
                  <a:pt x="13" y="5"/>
                </a:cubicBezTo>
                <a:cubicBezTo>
                  <a:pt x="15" y="8"/>
                  <a:pt x="18" y="8"/>
                  <a:pt x="20" y="9"/>
                </a:cubicBezTo>
                <a:cubicBezTo>
                  <a:pt x="21" y="14"/>
                  <a:pt x="21" y="6"/>
                  <a:pt x="23" y="14"/>
                </a:cubicBezTo>
                <a:cubicBezTo>
                  <a:pt x="23" y="14"/>
                  <a:pt x="21" y="16"/>
                  <a:pt x="23" y="17"/>
                </a:cubicBezTo>
                <a:cubicBezTo>
                  <a:pt x="21" y="19"/>
                  <a:pt x="21" y="19"/>
                  <a:pt x="18" y="23"/>
                </a:cubicBezTo>
                <a:cubicBezTo>
                  <a:pt x="17" y="26"/>
                  <a:pt x="15" y="34"/>
                  <a:pt x="12" y="34"/>
                </a:cubicBezTo>
                <a:cubicBezTo>
                  <a:pt x="9" y="34"/>
                  <a:pt x="10" y="31"/>
                  <a:pt x="9" y="33"/>
                </a:cubicBezTo>
                <a:cubicBezTo>
                  <a:pt x="6" y="36"/>
                  <a:pt x="6" y="31"/>
                  <a:pt x="4" y="34"/>
                </a:cubicBezTo>
                <a:cubicBezTo>
                  <a:pt x="3" y="36"/>
                  <a:pt x="1" y="36"/>
                  <a:pt x="0" y="33"/>
                </a:cubicBezTo>
                <a:cubicBezTo>
                  <a:pt x="4" y="30"/>
                  <a:pt x="1" y="25"/>
                  <a:pt x="3" y="23"/>
                </a:cubicBezTo>
                <a:cubicBezTo>
                  <a:pt x="4" y="22"/>
                  <a:pt x="4" y="20"/>
                  <a:pt x="3" y="19"/>
                </a:cubicBezTo>
                <a:cubicBezTo>
                  <a:pt x="1" y="17"/>
                  <a:pt x="1" y="16"/>
                  <a:pt x="0" y="11"/>
                </a:cubicBezTo>
                <a:cubicBezTo>
                  <a:pt x="0" y="5"/>
                  <a:pt x="1" y="8"/>
                  <a:pt x="4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8" name="Freeform 25"/>
          <p:cNvSpPr>
            <a:spLocks/>
          </p:cNvSpPr>
          <p:nvPr/>
        </p:nvSpPr>
        <p:spPr bwMode="auto">
          <a:xfrm>
            <a:off x="3096666" y="4355536"/>
            <a:ext cx="67989" cy="90449"/>
          </a:xfrm>
          <a:custGeom>
            <a:avLst/>
            <a:gdLst/>
            <a:ahLst/>
            <a:cxnLst>
              <a:cxn ang="0">
                <a:pos x="27" y="18"/>
              </a:cxn>
              <a:cxn ang="0">
                <a:pos x="26" y="17"/>
              </a:cxn>
              <a:cxn ang="0">
                <a:pos x="24" y="23"/>
              </a:cxn>
              <a:cxn ang="0">
                <a:pos x="26" y="24"/>
              </a:cxn>
              <a:cxn ang="0">
                <a:pos x="24" y="28"/>
              </a:cxn>
              <a:cxn ang="0">
                <a:pos x="24" y="32"/>
              </a:cxn>
              <a:cxn ang="0">
                <a:pos x="23" y="31"/>
              </a:cxn>
              <a:cxn ang="0">
                <a:pos x="23" y="28"/>
              </a:cxn>
              <a:cxn ang="0">
                <a:pos x="21" y="26"/>
              </a:cxn>
              <a:cxn ang="0">
                <a:pos x="21" y="29"/>
              </a:cxn>
              <a:cxn ang="0">
                <a:pos x="20" y="29"/>
              </a:cxn>
              <a:cxn ang="0">
                <a:pos x="18" y="26"/>
              </a:cxn>
              <a:cxn ang="0">
                <a:pos x="20" y="23"/>
              </a:cxn>
              <a:cxn ang="0">
                <a:pos x="15" y="20"/>
              </a:cxn>
              <a:cxn ang="0">
                <a:pos x="11" y="17"/>
              </a:cxn>
              <a:cxn ang="0">
                <a:pos x="11" y="14"/>
              </a:cxn>
              <a:cxn ang="0">
                <a:pos x="6" y="12"/>
              </a:cxn>
              <a:cxn ang="0">
                <a:pos x="6" y="12"/>
              </a:cxn>
              <a:cxn ang="0">
                <a:pos x="9" y="15"/>
              </a:cxn>
              <a:cxn ang="0">
                <a:pos x="6" y="17"/>
              </a:cxn>
              <a:cxn ang="0">
                <a:pos x="3" y="14"/>
              </a:cxn>
              <a:cxn ang="0">
                <a:pos x="1" y="9"/>
              </a:cxn>
              <a:cxn ang="0">
                <a:pos x="3" y="7"/>
              </a:cxn>
              <a:cxn ang="0">
                <a:pos x="1" y="4"/>
              </a:cxn>
              <a:cxn ang="0">
                <a:pos x="3" y="3"/>
              </a:cxn>
              <a:cxn ang="0">
                <a:pos x="6" y="3"/>
              </a:cxn>
              <a:cxn ang="0">
                <a:pos x="12" y="3"/>
              </a:cxn>
              <a:cxn ang="0">
                <a:pos x="14" y="4"/>
              </a:cxn>
              <a:cxn ang="0">
                <a:pos x="18" y="4"/>
              </a:cxn>
              <a:cxn ang="0">
                <a:pos x="21" y="10"/>
              </a:cxn>
              <a:cxn ang="0">
                <a:pos x="27" y="18"/>
              </a:cxn>
            </a:cxnLst>
            <a:rect l="0" t="0" r="r" b="b"/>
            <a:pathLst>
              <a:path w="27" h="32">
                <a:moveTo>
                  <a:pt x="27" y="18"/>
                </a:moveTo>
                <a:cubicBezTo>
                  <a:pt x="26" y="18"/>
                  <a:pt x="26" y="17"/>
                  <a:pt x="26" y="17"/>
                </a:cubicBezTo>
                <a:cubicBezTo>
                  <a:pt x="24" y="17"/>
                  <a:pt x="24" y="20"/>
                  <a:pt x="24" y="23"/>
                </a:cubicBezTo>
                <a:cubicBezTo>
                  <a:pt x="24" y="23"/>
                  <a:pt x="27" y="23"/>
                  <a:pt x="26" y="24"/>
                </a:cubicBezTo>
                <a:cubicBezTo>
                  <a:pt x="24" y="26"/>
                  <a:pt x="26" y="26"/>
                  <a:pt x="24" y="28"/>
                </a:cubicBezTo>
                <a:cubicBezTo>
                  <a:pt x="24" y="29"/>
                  <a:pt x="23" y="29"/>
                  <a:pt x="24" y="32"/>
                </a:cubicBezTo>
                <a:cubicBezTo>
                  <a:pt x="24" y="32"/>
                  <a:pt x="24" y="31"/>
                  <a:pt x="23" y="31"/>
                </a:cubicBezTo>
                <a:cubicBezTo>
                  <a:pt x="23" y="29"/>
                  <a:pt x="24" y="28"/>
                  <a:pt x="23" y="28"/>
                </a:cubicBezTo>
                <a:cubicBezTo>
                  <a:pt x="21" y="26"/>
                  <a:pt x="23" y="24"/>
                  <a:pt x="21" y="26"/>
                </a:cubicBezTo>
                <a:cubicBezTo>
                  <a:pt x="18" y="26"/>
                  <a:pt x="23" y="28"/>
                  <a:pt x="21" y="29"/>
                </a:cubicBezTo>
                <a:cubicBezTo>
                  <a:pt x="21" y="31"/>
                  <a:pt x="21" y="29"/>
                  <a:pt x="20" y="29"/>
                </a:cubicBezTo>
                <a:cubicBezTo>
                  <a:pt x="20" y="29"/>
                  <a:pt x="17" y="28"/>
                  <a:pt x="18" y="26"/>
                </a:cubicBezTo>
                <a:cubicBezTo>
                  <a:pt x="20" y="26"/>
                  <a:pt x="18" y="24"/>
                  <a:pt x="20" y="23"/>
                </a:cubicBezTo>
                <a:cubicBezTo>
                  <a:pt x="20" y="23"/>
                  <a:pt x="18" y="21"/>
                  <a:pt x="15" y="20"/>
                </a:cubicBezTo>
                <a:cubicBezTo>
                  <a:pt x="12" y="17"/>
                  <a:pt x="12" y="18"/>
                  <a:pt x="11" y="17"/>
                </a:cubicBezTo>
                <a:cubicBezTo>
                  <a:pt x="11" y="17"/>
                  <a:pt x="11" y="17"/>
                  <a:pt x="11" y="14"/>
                </a:cubicBezTo>
                <a:cubicBezTo>
                  <a:pt x="11" y="12"/>
                  <a:pt x="8" y="12"/>
                  <a:pt x="6" y="12"/>
                </a:cubicBezTo>
                <a:cubicBezTo>
                  <a:pt x="6" y="10"/>
                  <a:pt x="6" y="12"/>
                  <a:pt x="6" y="12"/>
                </a:cubicBezTo>
                <a:cubicBezTo>
                  <a:pt x="8" y="14"/>
                  <a:pt x="11" y="15"/>
                  <a:pt x="9" y="15"/>
                </a:cubicBezTo>
                <a:cubicBezTo>
                  <a:pt x="8" y="17"/>
                  <a:pt x="8" y="18"/>
                  <a:pt x="6" y="17"/>
                </a:cubicBezTo>
                <a:cubicBezTo>
                  <a:pt x="6" y="15"/>
                  <a:pt x="3" y="14"/>
                  <a:pt x="3" y="14"/>
                </a:cubicBezTo>
                <a:cubicBezTo>
                  <a:pt x="3" y="14"/>
                  <a:pt x="0" y="12"/>
                  <a:pt x="1" y="9"/>
                </a:cubicBezTo>
                <a:cubicBezTo>
                  <a:pt x="1" y="6"/>
                  <a:pt x="3" y="9"/>
                  <a:pt x="3" y="7"/>
                </a:cubicBezTo>
                <a:cubicBezTo>
                  <a:pt x="3" y="4"/>
                  <a:pt x="3" y="6"/>
                  <a:pt x="1" y="4"/>
                </a:cubicBezTo>
                <a:cubicBezTo>
                  <a:pt x="0" y="4"/>
                  <a:pt x="3" y="4"/>
                  <a:pt x="3" y="3"/>
                </a:cubicBezTo>
                <a:cubicBezTo>
                  <a:pt x="3" y="1"/>
                  <a:pt x="3" y="0"/>
                  <a:pt x="6" y="3"/>
                </a:cubicBezTo>
                <a:cubicBezTo>
                  <a:pt x="11" y="6"/>
                  <a:pt x="9" y="1"/>
                  <a:pt x="12" y="3"/>
                </a:cubicBezTo>
                <a:cubicBezTo>
                  <a:pt x="12" y="4"/>
                  <a:pt x="14" y="3"/>
                  <a:pt x="14" y="4"/>
                </a:cubicBezTo>
                <a:cubicBezTo>
                  <a:pt x="14" y="6"/>
                  <a:pt x="17" y="7"/>
                  <a:pt x="18" y="4"/>
                </a:cubicBezTo>
                <a:cubicBezTo>
                  <a:pt x="20" y="6"/>
                  <a:pt x="20" y="7"/>
                  <a:pt x="21" y="10"/>
                </a:cubicBezTo>
                <a:cubicBezTo>
                  <a:pt x="23" y="14"/>
                  <a:pt x="27" y="17"/>
                  <a:pt x="27" y="18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9" name="Freeform 26"/>
          <p:cNvSpPr>
            <a:spLocks/>
          </p:cNvSpPr>
          <p:nvPr/>
        </p:nvSpPr>
        <p:spPr bwMode="auto">
          <a:xfrm>
            <a:off x="3060056" y="4250498"/>
            <a:ext cx="91524" cy="125462"/>
          </a:xfrm>
          <a:custGeom>
            <a:avLst/>
            <a:gdLst/>
            <a:ahLst/>
            <a:cxnLst>
              <a:cxn ang="0">
                <a:pos x="3" y="21"/>
              </a:cxn>
              <a:cxn ang="0">
                <a:pos x="6" y="19"/>
              </a:cxn>
              <a:cxn ang="0">
                <a:pos x="8" y="16"/>
              </a:cxn>
              <a:cxn ang="0">
                <a:pos x="11" y="13"/>
              </a:cxn>
              <a:cxn ang="0">
                <a:pos x="14" y="10"/>
              </a:cxn>
              <a:cxn ang="0">
                <a:pos x="17" y="11"/>
              </a:cxn>
              <a:cxn ang="0">
                <a:pos x="21" y="3"/>
              </a:cxn>
              <a:cxn ang="0">
                <a:pos x="24" y="3"/>
              </a:cxn>
              <a:cxn ang="0">
                <a:pos x="32" y="2"/>
              </a:cxn>
              <a:cxn ang="0">
                <a:pos x="36" y="0"/>
              </a:cxn>
              <a:cxn ang="0">
                <a:pos x="36" y="5"/>
              </a:cxn>
              <a:cxn ang="0">
                <a:pos x="33" y="13"/>
              </a:cxn>
              <a:cxn ang="0">
                <a:pos x="33" y="17"/>
              </a:cxn>
              <a:cxn ang="0">
                <a:pos x="33" y="25"/>
              </a:cxn>
              <a:cxn ang="0">
                <a:pos x="33" y="27"/>
              </a:cxn>
              <a:cxn ang="0">
                <a:pos x="32" y="28"/>
              </a:cxn>
              <a:cxn ang="0">
                <a:pos x="32" y="32"/>
              </a:cxn>
              <a:cxn ang="0">
                <a:pos x="32" y="35"/>
              </a:cxn>
              <a:cxn ang="0">
                <a:pos x="30" y="38"/>
              </a:cxn>
              <a:cxn ang="0">
                <a:pos x="32" y="41"/>
              </a:cxn>
              <a:cxn ang="0">
                <a:pos x="27" y="41"/>
              </a:cxn>
              <a:cxn ang="0">
                <a:pos x="26" y="39"/>
              </a:cxn>
              <a:cxn ang="0">
                <a:pos x="20" y="39"/>
              </a:cxn>
              <a:cxn ang="0">
                <a:pos x="17" y="39"/>
              </a:cxn>
              <a:cxn ang="0">
                <a:pos x="9" y="32"/>
              </a:cxn>
              <a:cxn ang="0">
                <a:pos x="3" y="24"/>
              </a:cxn>
              <a:cxn ang="0">
                <a:pos x="1" y="21"/>
              </a:cxn>
              <a:cxn ang="0">
                <a:pos x="3" y="21"/>
              </a:cxn>
            </a:cxnLst>
            <a:rect l="0" t="0" r="r" b="b"/>
            <a:pathLst>
              <a:path w="36" h="44">
                <a:moveTo>
                  <a:pt x="3" y="21"/>
                </a:moveTo>
                <a:cubicBezTo>
                  <a:pt x="6" y="21"/>
                  <a:pt x="6" y="21"/>
                  <a:pt x="6" y="19"/>
                </a:cubicBezTo>
                <a:cubicBezTo>
                  <a:pt x="8" y="16"/>
                  <a:pt x="9" y="19"/>
                  <a:pt x="8" y="16"/>
                </a:cubicBezTo>
                <a:cubicBezTo>
                  <a:pt x="8" y="11"/>
                  <a:pt x="8" y="13"/>
                  <a:pt x="11" y="13"/>
                </a:cubicBezTo>
                <a:cubicBezTo>
                  <a:pt x="12" y="13"/>
                  <a:pt x="12" y="8"/>
                  <a:pt x="14" y="10"/>
                </a:cubicBezTo>
                <a:cubicBezTo>
                  <a:pt x="15" y="13"/>
                  <a:pt x="17" y="13"/>
                  <a:pt x="17" y="11"/>
                </a:cubicBezTo>
                <a:cubicBezTo>
                  <a:pt x="15" y="10"/>
                  <a:pt x="21" y="5"/>
                  <a:pt x="21" y="3"/>
                </a:cubicBezTo>
                <a:cubicBezTo>
                  <a:pt x="23" y="2"/>
                  <a:pt x="23" y="2"/>
                  <a:pt x="24" y="3"/>
                </a:cubicBezTo>
                <a:cubicBezTo>
                  <a:pt x="24" y="3"/>
                  <a:pt x="30" y="3"/>
                  <a:pt x="32" y="2"/>
                </a:cubicBezTo>
                <a:cubicBezTo>
                  <a:pt x="33" y="0"/>
                  <a:pt x="35" y="0"/>
                  <a:pt x="36" y="0"/>
                </a:cubicBezTo>
                <a:cubicBezTo>
                  <a:pt x="35" y="2"/>
                  <a:pt x="35" y="3"/>
                  <a:pt x="36" y="5"/>
                </a:cubicBezTo>
                <a:cubicBezTo>
                  <a:pt x="36" y="8"/>
                  <a:pt x="33" y="10"/>
                  <a:pt x="33" y="13"/>
                </a:cubicBezTo>
                <a:cubicBezTo>
                  <a:pt x="33" y="16"/>
                  <a:pt x="32" y="14"/>
                  <a:pt x="33" y="17"/>
                </a:cubicBezTo>
                <a:cubicBezTo>
                  <a:pt x="33" y="22"/>
                  <a:pt x="33" y="24"/>
                  <a:pt x="33" y="25"/>
                </a:cubicBezTo>
                <a:cubicBezTo>
                  <a:pt x="33" y="27"/>
                  <a:pt x="33" y="27"/>
                  <a:pt x="33" y="27"/>
                </a:cubicBezTo>
                <a:cubicBezTo>
                  <a:pt x="32" y="27"/>
                  <a:pt x="33" y="27"/>
                  <a:pt x="32" y="28"/>
                </a:cubicBezTo>
                <a:cubicBezTo>
                  <a:pt x="32" y="30"/>
                  <a:pt x="30" y="32"/>
                  <a:pt x="32" y="32"/>
                </a:cubicBezTo>
                <a:cubicBezTo>
                  <a:pt x="32" y="32"/>
                  <a:pt x="33" y="35"/>
                  <a:pt x="32" y="35"/>
                </a:cubicBezTo>
                <a:cubicBezTo>
                  <a:pt x="32" y="35"/>
                  <a:pt x="30" y="36"/>
                  <a:pt x="30" y="38"/>
                </a:cubicBezTo>
                <a:cubicBezTo>
                  <a:pt x="32" y="39"/>
                  <a:pt x="32" y="41"/>
                  <a:pt x="32" y="41"/>
                </a:cubicBezTo>
                <a:cubicBezTo>
                  <a:pt x="30" y="44"/>
                  <a:pt x="27" y="43"/>
                  <a:pt x="27" y="41"/>
                </a:cubicBezTo>
                <a:cubicBezTo>
                  <a:pt x="27" y="39"/>
                  <a:pt x="26" y="41"/>
                  <a:pt x="26" y="39"/>
                </a:cubicBezTo>
                <a:cubicBezTo>
                  <a:pt x="23" y="38"/>
                  <a:pt x="24" y="43"/>
                  <a:pt x="20" y="39"/>
                </a:cubicBezTo>
                <a:cubicBezTo>
                  <a:pt x="17" y="36"/>
                  <a:pt x="17" y="38"/>
                  <a:pt x="17" y="39"/>
                </a:cubicBezTo>
                <a:cubicBezTo>
                  <a:pt x="12" y="35"/>
                  <a:pt x="11" y="35"/>
                  <a:pt x="9" y="32"/>
                </a:cubicBezTo>
                <a:cubicBezTo>
                  <a:pt x="8" y="27"/>
                  <a:pt x="5" y="27"/>
                  <a:pt x="3" y="24"/>
                </a:cubicBezTo>
                <a:cubicBezTo>
                  <a:pt x="1" y="22"/>
                  <a:pt x="0" y="22"/>
                  <a:pt x="1" y="21"/>
                </a:cubicBezTo>
                <a:cubicBezTo>
                  <a:pt x="1" y="19"/>
                  <a:pt x="3" y="22"/>
                  <a:pt x="3" y="2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0" name="Freeform 27"/>
          <p:cNvSpPr>
            <a:spLocks/>
          </p:cNvSpPr>
          <p:nvPr/>
        </p:nvSpPr>
        <p:spPr bwMode="auto">
          <a:xfrm>
            <a:off x="3024755" y="4222780"/>
            <a:ext cx="126826" cy="87531"/>
          </a:xfrm>
          <a:custGeom>
            <a:avLst/>
            <a:gdLst/>
            <a:ahLst/>
            <a:cxnLst>
              <a:cxn ang="0">
                <a:pos x="9" y="3"/>
              </a:cxn>
              <a:cxn ang="0">
                <a:pos x="3" y="9"/>
              </a:cxn>
              <a:cxn ang="0">
                <a:pos x="0" y="17"/>
              </a:cxn>
              <a:cxn ang="0">
                <a:pos x="9" y="21"/>
              </a:cxn>
              <a:cxn ang="0">
                <a:pos x="14" y="23"/>
              </a:cxn>
              <a:cxn ang="0">
                <a:pos x="14" y="26"/>
              </a:cxn>
              <a:cxn ang="0">
                <a:pos x="15" y="28"/>
              </a:cxn>
              <a:cxn ang="0">
                <a:pos x="17" y="31"/>
              </a:cxn>
              <a:cxn ang="0">
                <a:pos x="20" y="29"/>
              </a:cxn>
              <a:cxn ang="0">
                <a:pos x="21" y="26"/>
              </a:cxn>
              <a:cxn ang="0">
                <a:pos x="24" y="23"/>
              </a:cxn>
              <a:cxn ang="0">
                <a:pos x="28" y="20"/>
              </a:cxn>
              <a:cxn ang="0">
                <a:pos x="31" y="21"/>
              </a:cxn>
              <a:cxn ang="0">
                <a:pos x="35" y="14"/>
              </a:cxn>
              <a:cxn ang="0">
                <a:pos x="38" y="14"/>
              </a:cxn>
              <a:cxn ang="0">
                <a:pos x="46" y="12"/>
              </a:cxn>
              <a:cxn ang="0">
                <a:pos x="50" y="10"/>
              </a:cxn>
              <a:cxn ang="0">
                <a:pos x="47" y="7"/>
              </a:cxn>
              <a:cxn ang="0">
                <a:pos x="43" y="3"/>
              </a:cxn>
              <a:cxn ang="0">
                <a:pos x="35" y="1"/>
              </a:cxn>
              <a:cxn ang="0">
                <a:pos x="31" y="1"/>
              </a:cxn>
              <a:cxn ang="0">
                <a:pos x="28" y="1"/>
              </a:cxn>
              <a:cxn ang="0">
                <a:pos x="24" y="3"/>
              </a:cxn>
              <a:cxn ang="0">
                <a:pos x="17" y="3"/>
              </a:cxn>
              <a:cxn ang="0">
                <a:pos x="14" y="1"/>
              </a:cxn>
              <a:cxn ang="0">
                <a:pos x="9" y="3"/>
              </a:cxn>
            </a:cxnLst>
            <a:rect l="0" t="0" r="r" b="b"/>
            <a:pathLst>
              <a:path w="50" h="31">
                <a:moveTo>
                  <a:pt x="9" y="3"/>
                </a:moveTo>
                <a:cubicBezTo>
                  <a:pt x="8" y="4"/>
                  <a:pt x="5" y="9"/>
                  <a:pt x="3" y="9"/>
                </a:cubicBezTo>
                <a:cubicBezTo>
                  <a:pt x="1" y="10"/>
                  <a:pt x="5" y="15"/>
                  <a:pt x="0" y="17"/>
                </a:cubicBezTo>
                <a:cubicBezTo>
                  <a:pt x="6" y="18"/>
                  <a:pt x="8" y="23"/>
                  <a:pt x="9" y="21"/>
                </a:cubicBezTo>
                <a:cubicBezTo>
                  <a:pt x="9" y="21"/>
                  <a:pt x="14" y="20"/>
                  <a:pt x="14" y="23"/>
                </a:cubicBezTo>
                <a:cubicBezTo>
                  <a:pt x="14" y="24"/>
                  <a:pt x="14" y="26"/>
                  <a:pt x="14" y="26"/>
                </a:cubicBezTo>
                <a:cubicBezTo>
                  <a:pt x="15" y="28"/>
                  <a:pt x="14" y="24"/>
                  <a:pt x="15" y="28"/>
                </a:cubicBezTo>
                <a:cubicBezTo>
                  <a:pt x="17" y="31"/>
                  <a:pt x="18" y="29"/>
                  <a:pt x="17" y="31"/>
                </a:cubicBezTo>
                <a:cubicBezTo>
                  <a:pt x="20" y="31"/>
                  <a:pt x="20" y="31"/>
                  <a:pt x="20" y="29"/>
                </a:cubicBezTo>
                <a:cubicBezTo>
                  <a:pt x="21" y="26"/>
                  <a:pt x="23" y="29"/>
                  <a:pt x="21" y="26"/>
                </a:cubicBezTo>
                <a:cubicBezTo>
                  <a:pt x="21" y="21"/>
                  <a:pt x="21" y="23"/>
                  <a:pt x="24" y="23"/>
                </a:cubicBezTo>
                <a:cubicBezTo>
                  <a:pt x="26" y="23"/>
                  <a:pt x="26" y="18"/>
                  <a:pt x="28" y="20"/>
                </a:cubicBezTo>
                <a:cubicBezTo>
                  <a:pt x="29" y="23"/>
                  <a:pt x="31" y="23"/>
                  <a:pt x="31" y="21"/>
                </a:cubicBezTo>
                <a:cubicBezTo>
                  <a:pt x="29" y="20"/>
                  <a:pt x="35" y="15"/>
                  <a:pt x="35" y="14"/>
                </a:cubicBezTo>
                <a:cubicBezTo>
                  <a:pt x="37" y="12"/>
                  <a:pt x="37" y="12"/>
                  <a:pt x="38" y="14"/>
                </a:cubicBezTo>
                <a:cubicBezTo>
                  <a:pt x="38" y="14"/>
                  <a:pt x="44" y="14"/>
                  <a:pt x="46" y="12"/>
                </a:cubicBezTo>
                <a:cubicBezTo>
                  <a:pt x="47" y="10"/>
                  <a:pt x="49" y="10"/>
                  <a:pt x="50" y="10"/>
                </a:cubicBezTo>
                <a:cubicBezTo>
                  <a:pt x="50" y="10"/>
                  <a:pt x="49" y="9"/>
                  <a:pt x="47" y="7"/>
                </a:cubicBezTo>
                <a:cubicBezTo>
                  <a:pt x="44" y="6"/>
                  <a:pt x="44" y="6"/>
                  <a:pt x="43" y="3"/>
                </a:cubicBezTo>
                <a:cubicBezTo>
                  <a:pt x="41" y="1"/>
                  <a:pt x="37" y="0"/>
                  <a:pt x="35" y="1"/>
                </a:cubicBezTo>
                <a:cubicBezTo>
                  <a:pt x="34" y="1"/>
                  <a:pt x="32" y="1"/>
                  <a:pt x="31" y="1"/>
                </a:cubicBezTo>
                <a:cubicBezTo>
                  <a:pt x="29" y="0"/>
                  <a:pt x="28" y="0"/>
                  <a:pt x="28" y="1"/>
                </a:cubicBezTo>
                <a:cubicBezTo>
                  <a:pt x="29" y="1"/>
                  <a:pt x="26" y="3"/>
                  <a:pt x="24" y="3"/>
                </a:cubicBezTo>
                <a:cubicBezTo>
                  <a:pt x="21" y="3"/>
                  <a:pt x="18" y="1"/>
                  <a:pt x="17" y="3"/>
                </a:cubicBezTo>
                <a:cubicBezTo>
                  <a:pt x="15" y="3"/>
                  <a:pt x="15" y="1"/>
                  <a:pt x="14" y="1"/>
                </a:cubicBezTo>
                <a:cubicBezTo>
                  <a:pt x="12" y="1"/>
                  <a:pt x="12" y="4"/>
                  <a:pt x="9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1" name="Freeform 28"/>
          <p:cNvSpPr>
            <a:spLocks/>
          </p:cNvSpPr>
          <p:nvPr/>
        </p:nvSpPr>
        <p:spPr bwMode="auto">
          <a:xfrm>
            <a:off x="3012987" y="4270922"/>
            <a:ext cx="49684" cy="33553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14" y="4"/>
              </a:cxn>
              <a:cxn ang="0">
                <a:pos x="19" y="6"/>
              </a:cxn>
              <a:cxn ang="0">
                <a:pos x="19" y="9"/>
              </a:cxn>
              <a:cxn ang="0">
                <a:pos x="19" y="11"/>
              </a:cxn>
              <a:cxn ang="0">
                <a:pos x="14" y="12"/>
              </a:cxn>
              <a:cxn ang="0">
                <a:pos x="13" y="12"/>
              </a:cxn>
              <a:cxn ang="0">
                <a:pos x="4" y="9"/>
              </a:cxn>
              <a:cxn ang="0">
                <a:pos x="0" y="6"/>
              </a:cxn>
              <a:cxn ang="0">
                <a:pos x="5" y="0"/>
              </a:cxn>
              <a:cxn ang="0">
                <a:pos x="5" y="0"/>
              </a:cxn>
            </a:cxnLst>
            <a:rect l="0" t="0" r="r" b="b"/>
            <a:pathLst>
              <a:path w="20" h="12">
                <a:moveTo>
                  <a:pt x="5" y="0"/>
                </a:moveTo>
                <a:cubicBezTo>
                  <a:pt x="11" y="1"/>
                  <a:pt x="13" y="6"/>
                  <a:pt x="14" y="4"/>
                </a:cubicBezTo>
                <a:cubicBezTo>
                  <a:pt x="14" y="4"/>
                  <a:pt x="19" y="3"/>
                  <a:pt x="19" y="6"/>
                </a:cubicBezTo>
                <a:cubicBezTo>
                  <a:pt x="19" y="7"/>
                  <a:pt x="19" y="9"/>
                  <a:pt x="19" y="9"/>
                </a:cubicBezTo>
                <a:cubicBezTo>
                  <a:pt x="17" y="9"/>
                  <a:pt x="17" y="11"/>
                  <a:pt x="19" y="11"/>
                </a:cubicBezTo>
                <a:cubicBezTo>
                  <a:pt x="20" y="11"/>
                  <a:pt x="16" y="12"/>
                  <a:pt x="14" y="12"/>
                </a:cubicBezTo>
                <a:cubicBezTo>
                  <a:pt x="11" y="9"/>
                  <a:pt x="14" y="12"/>
                  <a:pt x="13" y="12"/>
                </a:cubicBezTo>
                <a:cubicBezTo>
                  <a:pt x="11" y="12"/>
                  <a:pt x="7" y="9"/>
                  <a:pt x="4" y="9"/>
                </a:cubicBezTo>
                <a:cubicBezTo>
                  <a:pt x="0" y="9"/>
                  <a:pt x="2" y="7"/>
                  <a:pt x="0" y="6"/>
                </a:cubicBezTo>
                <a:cubicBezTo>
                  <a:pt x="0" y="3"/>
                  <a:pt x="5" y="3"/>
                  <a:pt x="5" y="0"/>
                </a:cubicBezTo>
                <a:cubicBezTo>
                  <a:pt x="4" y="0"/>
                  <a:pt x="5" y="0"/>
                  <a:pt x="5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2" name="Freeform 29"/>
          <p:cNvSpPr>
            <a:spLocks/>
          </p:cNvSpPr>
          <p:nvPr/>
        </p:nvSpPr>
        <p:spPr bwMode="auto">
          <a:xfrm>
            <a:off x="2971148" y="4174638"/>
            <a:ext cx="77141" cy="113790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24" y="18"/>
              </a:cxn>
              <a:cxn ang="0">
                <a:pos x="26" y="18"/>
              </a:cxn>
              <a:cxn ang="0">
                <a:pos x="29" y="20"/>
              </a:cxn>
              <a:cxn ang="0">
                <a:pos x="29" y="18"/>
              </a:cxn>
              <a:cxn ang="0">
                <a:pos x="30" y="20"/>
              </a:cxn>
              <a:cxn ang="0">
                <a:pos x="24" y="26"/>
              </a:cxn>
              <a:cxn ang="0">
                <a:pos x="21" y="34"/>
              </a:cxn>
              <a:cxn ang="0">
                <a:pos x="21" y="34"/>
              </a:cxn>
              <a:cxn ang="0">
                <a:pos x="17" y="40"/>
              </a:cxn>
              <a:cxn ang="0">
                <a:pos x="9" y="39"/>
              </a:cxn>
              <a:cxn ang="0">
                <a:pos x="0" y="32"/>
              </a:cxn>
              <a:cxn ang="0">
                <a:pos x="0" y="29"/>
              </a:cxn>
              <a:cxn ang="0">
                <a:pos x="2" y="26"/>
              </a:cxn>
              <a:cxn ang="0">
                <a:pos x="0" y="25"/>
              </a:cxn>
              <a:cxn ang="0">
                <a:pos x="3" y="17"/>
              </a:cxn>
              <a:cxn ang="0">
                <a:pos x="14" y="17"/>
              </a:cxn>
              <a:cxn ang="0">
                <a:pos x="12" y="12"/>
              </a:cxn>
              <a:cxn ang="0">
                <a:pos x="8" y="7"/>
              </a:cxn>
              <a:cxn ang="0">
                <a:pos x="6" y="6"/>
              </a:cxn>
              <a:cxn ang="0">
                <a:pos x="9" y="6"/>
              </a:cxn>
              <a:cxn ang="0">
                <a:pos x="9" y="0"/>
              </a:cxn>
              <a:cxn ang="0">
                <a:pos x="24" y="0"/>
              </a:cxn>
            </a:cxnLst>
            <a:rect l="0" t="0" r="r" b="b"/>
            <a:pathLst>
              <a:path w="30" h="40">
                <a:moveTo>
                  <a:pt x="24" y="0"/>
                </a:moveTo>
                <a:cubicBezTo>
                  <a:pt x="24" y="18"/>
                  <a:pt x="24" y="18"/>
                  <a:pt x="24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7" y="20"/>
                  <a:pt x="27" y="21"/>
                  <a:pt x="29" y="20"/>
                </a:cubicBezTo>
                <a:cubicBezTo>
                  <a:pt x="29" y="20"/>
                  <a:pt x="29" y="20"/>
                  <a:pt x="29" y="18"/>
                </a:cubicBezTo>
                <a:cubicBezTo>
                  <a:pt x="27" y="18"/>
                  <a:pt x="29" y="17"/>
                  <a:pt x="30" y="20"/>
                </a:cubicBezTo>
                <a:cubicBezTo>
                  <a:pt x="29" y="21"/>
                  <a:pt x="26" y="26"/>
                  <a:pt x="24" y="26"/>
                </a:cubicBezTo>
                <a:cubicBezTo>
                  <a:pt x="23" y="28"/>
                  <a:pt x="26" y="32"/>
                  <a:pt x="21" y="34"/>
                </a:cubicBezTo>
                <a:cubicBezTo>
                  <a:pt x="21" y="34"/>
                  <a:pt x="20" y="34"/>
                  <a:pt x="21" y="34"/>
                </a:cubicBezTo>
                <a:cubicBezTo>
                  <a:pt x="21" y="37"/>
                  <a:pt x="17" y="37"/>
                  <a:pt x="17" y="40"/>
                </a:cubicBezTo>
                <a:cubicBezTo>
                  <a:pt x="14" y="39"/>
                  <a:pt x="12" y="37"/>
                  <a:pt x="9" y="39"/>
                </a:cubicBezTo>
                <a:cubicBezTo>
                  <a:pt x="6" y="39"/>
                  <a:pt x="6" y="39"/>
                  <a:pt x="0" y="32"/>
                </a:cubicBezTo>
                <a:cubicBezTo>
                  <a:pt x="0" y="32"/>
                  <a:pt x="0" y="31"/>
                  <a:pt x="0" y="29"/>
                </a:cubicBezTo>
                <a:cubicBezTo>
                  <a:pt x="0" y="28"/>
                  <a:pt x="2" y="26"/>
                  <a:pt x="2" y="26"/>
                </a:cubicBezTo>
                <a:cubicBezTo>
                  <a:pt x="0" y="25"/>
                  <a:pt x="0" y="25"/>
                  <a:pt x="0" y="25"/>
                </a:cubicBezTo>
                <a:cubicBezTo>
                  <a:pt x="3" y="17"/>
                  <a:pt x="3" y="17"/>
                  <a:pt x="3" y="17"/>
                </a:cubicBezTo>
                <a:cubicBezTo>
                  <a:pt x="14" y="17"/>
                  <a:pt x="14" y="17"/>
                  <a:pt x="14" y="17"/>
                </a:cubicBezTo>
                <a:cubicBezTo>
                  <a:pt x="15" y="11"/>
                  <a:pt x="12" y="15"/>
                  <a:pt x="12" y="12"/>
                </a:cubicBezTo>
                <a:cubicBezTo>
                  <a:pt x="11" y="9"/>
                  <a:pt x="9" y="9"/>
                  <a:pt x="8" y="7"/>
                </a:cubicBezTo>
                <a:cubicBezTo>
                  <a:pt x="8" y="6"/>
                  <a:pt x="6" y="6"/>
                  <a:pt x="6" y="6"/>
                </a:cubicBezTo>
                <a:cubicBezTo>
                  <a:pt x="9" y="6"/>
                  <a:pt x="9" y="6"/>
                  <a:pt x="9" y="6"/>
                </a:cubicBezTo>
                <a:cubicBezTo>
                  <a:pt x="9" y="0"/>
                  <a:pt x="9" y="0"/>
                  <a:pt x="9" y="0"/>
                </a:cubicBezTo>
                <a:cubicBezTo>
                  <a:pt x="24" y="0"/>
                  <a:pt x="24" y="0"/>
                  <a:pt x="2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3" name="Freeform 30"/>
          <p:cNvSpPr>
            <a:spLocks/>
          </p:cNvSpPr>
          <p:nvPr/>
        </p:nvSpPr>
        <p:spPr bwMode="auto">
          <a:xfrm>
            <a:off x="3192112" y="4629800"/>
            <a:ext cx="118980" cy="180897"/>
          </a:xfrm>
          <a:custGeom>
            <a:avLst/>
            <a:gdLst/>
            <a:ahLst/>
            <a:cxnLst>
              <a:cxn ang="0">
                <a:pos x="18" y="0"/>
              </a:cxn>
              <a:cxn ang="0">
                <a:pos x="27" y="6"/>
              </a:cxn>
              <a:cxn ang="0">
                <a:pos x="30" y="10"/>
              </a:cxn>
              <a:cxn ang="0">
                <a:pos x="38" y="11"/>
              </a:cxn>
              <a:cxn ang="0">
                <a:pos x="41" y="11"/>
              </a:cxn>
              <a:cxn ang="0">
                <a:pos x="47" y="14"/>
              </a:cxn>
              <a:cxn ang="0">
                <a:pos x="44" y="31"/>
              </a:cxn>
              <a:cxn ang="0">
                <a:pos x="23" y="48"/>
              </a:cxn>
              <a:cxn ang="0">
                <a:pos x="18" y="61"/>
              </a:cxn>
              <a:cxn ang="0">
                <a:pos x="12" y="58"/>
              </a:cxn>
              <a:cxn ang="0">
                <a:pos x="6" y="56"/>
              </a:cxn>
              <a:cxn ang="0">
                <a:pos x="7" y="47"/>
              </a:cxn>
              <a:cxn ang="0">
                <a:pos x="11" y="39"/>
              </a:cxn>
              <a:cxn ang="0">
                <a:pos x="4" y="39"/>
              </a:cxn>
              <a:cxn ang="0">
                <a:pos x="3" y="27"/>
              </a:cxn>
              <a:cxn ang="0">
                <a:pos x="6" y="19"/>
              </a:cxn>
              <a:cxn ang="0">
                <a:pos x="9" y="8"/>
              </a:cxn>
              <a:cxn ang="0">
                <a:pos x="18" y="0"/>
              </a:cxn>
            </a:cxnLst>
            <a:rect l="0" t="0" r="r" b="b"/>
            <a:pathLst>
              <a:path w="47" h="64">
                <a:moveTo>
                  <a:pt x="18" y="0"/>
                </a:moveTo>
                <a:cubicBezTo>
                  <a:pt x="24" y="5"/>
                  <a:pt x="26" y="6"/>
                  <a:pt x="27" y="6"/>
                </a:cubicBezTo>
                <a:cubicBezTo>
                  <a:pt x="27" y="6"/>
                  <a:pt x="30" y="8"/>
                  <a:pt x="30" y="10"/>
                </a:cubicBezTo>
                <a:cubicBezTo>
                  <a:pt x="30" y="11"/>
                  <a:pt x="38" y="13"/>
                  <a:pt x="38" y="11"/>
                </a:cubicBezTo>
                <a:cubicBezTo>
                  <a:pt x="38" y="10"/>
                  <a:pt x="39" y="8"/>
                  <a:pt x="41" y="11"/>
                </a:cubicBezTo>
                <a:cubicBezTo>
                  <a:pt x="42" y="14"/>
                  <a:pt x="44" y="14"/>
                  <a:pt x="47" y="14"/>
                </a:cubicBezTo>
                <a:cubicBezTo>
                  <a:pt x="47" y="22"/>
                  <a:pt x="47" y="23"/>
                  <a:pt x="44" y="31"/>
                </a:cubicBezTo>
                <a:cubicBezTo>
                  <a:pt x="39" y="37"/>
                  <a:pt x="27" y="41"/>
                  <a:pt x="23" y="48"/>
                </a:cubicBezTo>
                <a:cubicBezTo>
                  <a:pt x="18" y="58"/>
                  <a:pt x="21" y="58"/>
                  <a:pt x="18" y="61"/>
                </a:cubicBezTo>
                <a:cubicBezTo>
                  <a:pt x="15" y="64"/>
                  <a:pt x="15" y="58"/>
                  <a:pt x="12" y="58"/>
                </a:cubicBezTo>
                <a:cubicBezTo>
                  <a:pt x="7" y="56"/>
                  <a:pt x="6" y="59"/>
                  <a:pt x="6" y="56"/>
                </a:cubicBezTo>
                <a:cubicBezTo>
                  <a:pt x="4" y="53"/>
                  <a:pt x="11" y="53"/>
                  <a:pt x="7" y="47"/>
                </a:cubicBezTo>
                <a:cubicBezTo>
                  <a:pt x="11" y="47"/>
                  <a:pt x="11" y="42"/>
                  <a:pt x="11" y="39"/>
                </a:cubicBezTo>
                <a:cubicBezTo>
                  <a:pt x="11" y="36"/>
                  <a:pt x="9" y="44"/>
                  <a:pt x="4" y="39"/>
                </a:cubicBezTo>
                <a:cubicBezTo>
                  <a:pt x="0" y="34"/>
                  <a:pt x="4" y="37"/>
                  <a:pt x="3" y="27"/>
                </a:cubicBezTo>
                <a:cubicBezTo>
                  <a:pt x="1" y="20"/>
                  <a:pt x="6" y="25"/>
                  <a:pt x="6" y="19"/>
                </a:cubicBezTo>
                <a:cubicBezTo>
                  <a:pt x="6" y="14"/>
                  <a:pt x="11" y="16"/>
                  <a:pt x="9" y="8"/>
                </a:cubicBezTo>
                <a:cubicBezTo>
                  <a:pt x="9" y="2"/>
                  <a:pt x="20" y="5"/>
                  <a:pt x="18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4" name="Freeform 31"/>
          <p:cNvSpPr>
            <a:spLocks/>
          </p:cNvSpPr>
          <p:nvPr/>
        </p:nvSpPr>
        <p:spPr bwMode="auto">
          <a:xfrm>
            <a:off x="2984223" y="4661895"/>
            <a:ext cx="15689" cy="39390"/>
          </a:xfrm>
          <a:custGeom>
            <a:avLst/>
            <a:gdLst/>
            <a:ahLst/>
            <a:cxnLst>
              <a:cxn ang="0">
                <a:pos x="1" y="13"/>
              </a:cxn>
              <a:cxn ang="0">
                <a:pos x="3" y="10"/>
              </a:cxn>
              <a:cxn ang="0">
                <a:pos x="1" y="6"/>
              </a:cxn>
              <a:cxn ang="0">
                <a:pos x="0" y="3"/>
              </a:cxn>
              <a:cxn ang="0">
                <a:pos x="1" y="2"/>
              </a:cxn>
              <a:cxn ang="0">
                <a:pos x="3" y="3"/>
              </a:cxn>
              <a:cxn ang="0">
                <a:pos x="4" y="6"/>
              </a:cxn>
              <a:cxn ang="0">
                <a:pos x="6" y="10"/>
              </a:cxn>
              <a:cxn ang="0">
                <a:pos x="4" y="13"/>
              </a:cxn>
              <a:cxn ang="0">
                <a:pos x="1" y="13"/>
              </a:cxn>
            </a:cxnLst>
            <a:rect l="0" t="0" r="r" b="b"/>
            <a:pathLst>
              <a:path w="6" h="14">
                <a:moveTo>
                  <a:pt x="1" y="13"/>
                </a:moveTo>
                <a:cubicBezTo>
                  <a:pt x="0" y="11"/>
                  <a:pt x="3" y="10"/>
                  <a:pt x="3" y="10"/>
                </a:cubicBezTo>
                <a:cubicBezTo>
                  <a:pt x="4" y="8"/>
                  <a:pt x="3" y="8"/>
                  <a:pt x="1" y="6"/>
                </a:cubicBezTo>
                <a:cubicBezTo>
                  <a:pt x="1" y="5"/>
                  <a:pt x="1" y="3"/>
                  <a:pt x="0" y="3"/>
                </a:cubicBezTo>
                <a:cubicBezTo>
                  <a:pt x="0" y="3"/>
                  <a:pt x="0" y="3"/>
                  <a:pt x="1" y="2"/>
                </a:cubicBezTo>
                <a:cubicBezTo>
                  <a:pt x="1" y="0"/>
                  <a:pt x="1" y="2"/>
                  <a:pt x="3" y="3"/>
                </a:cubicBezTo>
                <a:cubicBezTo>
                  <a:pt x="3" y="5"/>
                  <a:pt x="3" y="6"/>
                  <a:pt x="4" y="6"/>
                </a:cubicBezTo>
                <a:cubicBezTo>
                  <a:pt x="6" y="8"/>
                  <a:pt x="4" y="8"/>
                  <a:pt x="6" y="10"/>
                </a:cubicBezTo>
                <a:cubicBezTo>
                  <a:pt x="6" y="11"/>
                  <a:pt x="6" y="13"/>
                  <a:pt x="4" y="13"/>
                </a:cubicBezTo>
                <a:cubicBezTo>
                  <a:pt x="1" y="14"/>
                  <a:pt x="1" y="13"/>
                  <a:pt x="1" y="1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5" name="Freeform 32"/>
          <p:cNvSpPr>
            <a:spLocks/>
          </p:cNvSpPr>
          <p:nvPr/>
        </p:nvSpPr>
        <p:spPr bwMode="auto">
          <a:xfrm>
            <a:off x="3002528" y="4677943"/>
            <a:ext cx="10460" cy="14589"/>
          </a:xfrm>
          <a:custGeom>
            <a:avLst/>
            <a:gdLst/>
            <a:ahLst/>
            <a:cxnLst>
              <a:cxn ang="0">
                <a:pos x="2" y="5"/>
              </a:cxn>
              <a:cxn ang="0">
                <a:pos x="3" y="2"/>
              </a:cxn>
              <a:cxn ang="0">
                <a:pos x="2" y="5"/>
              </a:cxn>
            </a:cxnLst>
            <a:rect l="0" t="0" r="r" b="b"/>
            <a:pathLst>
              <a:path w="4" h="5">
                <a:moveTo>
                  <a:pt x="2" y="5"/>
                </a:moveTo>
                <a:cubicBezTo>
                  <a:pt x="0" y="3"/>
                  <a:pt x="2" y="0"/>
                  <a:pt x="3" y="2"/>
                </a:cubicBezTo>
                <a:cubicBezTo>
                  <a:pt x="4" y="2"/>
                  <a:pt x="3" y="5"/>
                  <a:pt x="2" y="5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6" name="Freeform 33"/>
          <p:cNvSpPr>
            <a:spLocks/>
          </p:cNvSpPr>
          <p:nvPr/>
        </p:nvSpPr>
        <p:spPr bwMode="auto">
          <a:xfrm>
            <a:off x="3019525" y="4686695"/>
            <a:ext cx="7845" cy="875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3" y="0"/>
              </a:cxn>
              <a:cxn ang="0">
                <a:pos x="0" y="3"/>
              </a:cxn>
            </a:cxnLst>
            <a:rect l="0" t="0" r="r" b="b"/>
            <a:pathLst>
              <a:path w="3" h="3">
                <a:moveTo>
                  <a:pt x="0" y="3"/>
                </a:moveTo>
                <a:cubicBezTo>
                  <a:pt x="3" y="0"/>
                  <a:pt x="3" y="0"/>
                  <a:pt x="3" y="0"/>
                </a:cubicBezTo>
                <a:cubicBezTo>
                  <a:pt x="3" y="2"/>
                  <a:pt x="3" y="3"/>
                  <a:pt x="0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7" name="Freeform 34"/>
          <p:cNvSpPr>
            <a:spLocks/>
          </p:cNvSpPr>
          <p:nvPr/>
        </p:nvSpPr>
        <p:spPr bwMode="auto">
          <a:xfrm>
            <a:off x="2999912" y="4669189"/>
            <a:ext cx="7845" cy="1458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3"/>
              </a:cxn>
              <a:cxn ang="0">
                <a:pos x="0" y="2"/>
              </a:cxn>
            </a:cxnLst>
            <a:rect l="0" t="0" r="r" b="b"/>
            <a:pathLst>
              <a:path w="3" h="5">
                <a:moveTo>
                  <a:pt x="0" y="2"/>
                </a:moveTo>
                <a:cubicBezTo>
                  <a:pt x="0" y="0"/>
                  <a:pt x="3" y="2"/>
                  <a:pt x="1" y="3"/>
                </a:cubicBezTo>
                <a:cubicBezTo>
                  <a:pt x="1" y="5"/>
                  <a:pt x="0" y="3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8" name="Freeform 35"/>
          <p:cNvSpPr>
            <a:spLocks/>
          </p:cNvSpPr>
          <p:nvPr/>
        </p:nvSpPr>
        <p:spPr bwMode="auto">
          <a:xfrm>
            <a:off x="2978993" y="4675024"/>
            <a:ext cx="13074" cy="8753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2" y="3"/>
              </a:cxn>
              <a:cxn ang="0">
                <a:pos x="2" y="1"/>
              </a:cxn>
            </a:cxnLst>
            <a:rect l="0" t="0" r="r" b="b"/>
            <a:pathLst>
              <a:path w="5" h="3">
                <a:moveTo>
                  <a:pt x="2" y="1"/>
                </a:moveTo>
                <a:cubicBezTo>
                  <a:pt x="3" y="0"/>
                  <a:pt x="5" y="3"/>
                  <a:pt x="2" y="3"/>
                </a:cubicBezTo>
                <a:cubicBezTo>
                  <a:pt x="0" y="3"/>
                  <a:pt x="0" y="1"/>
                  <a:pt x="2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9" name="Freeform 36"/>
          <p:cNvSpPr>
            <a:spLocks/>
          </p:cNvSpPr>
          <p:nvPr/>
        </p:nvSpPr>
        <p:spPr bwMode="auto">
          <a:xfrm>
            <a:off x="3002528" y="4701284"/>
            <a:ext cx="7845" cy="8753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3" h="3">
                <a:moveTo>
                  <a:pt x="2" y="2"/>
                </a:moveTo>
                <a:cubicBezTo>
                  <a:pt x="0" y="0"/>
                  <a:pt x="3" y="2"/>
                  <a:pt x="2" y="2"/>
                </a:cubicBezTo>
                <a:cubicBezTo>
                  <a:pt x="2" y="3"/>
                  <a:pt x="2" y="3"/>
                  <a:pt x="2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0" name="Freeform 37"/>
          <p:cNvSpPr>
            <a:spLocks/>
          </p:cNvSpPr>
          <p:nvPr/>
        </p:nvSpPr>
        <p:spPr bwMode="auto">
          <a:xfrm>
            <a:off x="3002528" y="4658977"/>
            <a:ext cx="5230" cy="2918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1"/>
              </a:cxn>
              <a:cxn ang="0">
                <a:pos x="0" y="1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0" y="1"/>
                  <a:pt x="2" y="0"/>
                  <a:pt x="2" y="1"/>
                </a:cubicBezTo>
                <a:cubicBezTo>
                  <a:pt x="2" y="1"/>
                  <a:pt x="2" y="1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1" name="Freeform 38"/>
          <p:cNvSpPr>
            <a:spLocks/>
          </p:cNvSpPr>
          <p:nvPr/>
        </p:nvSpPr>
        <p:spPr bwMode="auto">
          <a:xfrm>
            <a:off x="3250949" y="4151296"/>
            <a:ext cx="45761" cy="26259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9" y="1"/>
              </a:cxn>
              <a:cxn ang="0">
                <a:pos x="16" y="6"/>
              </a:cxn>
              <a:cxn ang="0">
                <a:pos x="12" y="6"/>
              </a:cxn>
              <a:cxn ang="0">
                <a:pos x="7" y="8"/>
              </a:cxn>
              <a:cxn ang="0">
                <a:pos x="1" y="4"/>
              </a:cxn>
              <a:cxn ang="0">
                <a:pos x="0" y="1"/>
              </a:cxn>
            </a:cxnLst>
            <a:rect l="0" t="0" r="r" b="b"/>
            <a:pathLst>
              <a:path w="18" h="9">
                <a:moveTo>
                  <a:pt x="0" y="1"/>
                </a:moveTo>
                <a:cubicBezTo>
                  <a:pt x="1" y="0"/>
                  <a:pt x="4" y="0"/>
                  <a:pt x="9" y="1"/>
                </a:cubicBezTo>
                <a:cubicBezTo>
                  <a:pt x="15" y="3"/>
                  <a:pt x="16" y="3"/>
                  <a:pt x="16" y="6"/>
                </a:cubicBezTo>
                <a:cubicBezTo>
                  <a:pt x="18" y="8"/>
                  <a:pt x="15" y="6"/>
                  <a:pt x="12" y="6"/>
                </a:cubicBezTo>
                <a:cubicBezTo>
                  <a:pt x="9" y="6"/>
                  <a:pt x="12" y="9"/>
                  <a:pt x="7" y="8"/>
                </a:cubicBezTo>
                <a:cubicBezTo>
                  <a:pt x="1" y="6"/>
                  <a:pt x="4" y="4"/>
                  <a:pt x="1" y="4"/>
                </a:cubicBezTo>
                <a:cubicBezTo>
                  <a:pt x="0" y="3"/>
                  <a:pt x="0" y="3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2" name="Freeform 39"/>
          <p:cNvSpPr>
            <a:spLocks/>
          </p:cNvSpPr>
          <p:nvPr/>
        </p:nvSpPr>
        <p:spPr bwMode="auto">
          <a:xfrm>
            <a:off x="3326783" y="4111907"/>
            <a:ext cx="61452" cy="62730"/>
          </a:xfrm>
          <a:custGeom>
            <a:avLst/>
            <a:gdLst/>
            <a:ahLst/>
            <a:cxnLst>
              <a:cxn ang="0">
                <a:pos x="23" y="18"/>
              </a:cxn>
              <a:cxn ang="0">
                <a:pos x="12" y="18"/>
              </a:cxn>
              <a:cxn ang="0">
                <a:pos x="4" y="18"/>
              </a:cxn>
              <a:cxn ang="0">
                <a:pos x="0" y="14"/>
              </a:cxn>
              <a:cxn ang="0">
                <a:pos x="15" y="14"/>
              </a:cxn>
              <a:cxn ang="0">
                <a:pos x="17" y="11"/>
              </a:cxn>
              <a:cxn ang="0">
                <a:pos x="14" y="4"/>
              </a:cxn>
              <a:cxn ang="0">
                <a:pos x="9" y="1"/>
              </a:cxn>
              <a:cxn ang="0">
                <a:pos x="17" y="1"/>
              </a:cxn>
              <a:cxn ang="0">
                <a:pos x="23" y="1"/>
              </a:cxn>
              <a:cxn ang="0">
                <a:pos x="21" y="12"/>
              </a:cxn>
              <a:cxn ang="0">
                <a:pos x="23" y="18"/>
              </a:cxn>
            </a:cxnLst>
            <a:rect l="0" t="0" r="r" b="b"/>
            <a:pathLst>
              <a:path w="24" h="22">
                <a:moveTo>
                  <a:pt x="23" y="18"/>
                </a:moveTo>
                <a:cubicBezTo>
                  <a:pt x="17" y="15"/>
                  <a:pt x="15" y="20"/>
                  <a:pt x="12" y="18"/>
                </a:cubicBezTo>
                <a:cubicBezTo>
                  <a:pt x="4" y="15"/>
                  <a:pt x="8" y="22"/>
                  <a:pt x="4" y="18"/>
                </a:cubicBezTo>
                <a:cubicBezTo>
                  <a:pt x="1" y="15"/>
                  <a:pt x="0" y="17"/>
                  <a:pt x="0" y="14"/>
                </a:cubicBezTo>
                <a:cubicBezTo>
                  <a:pt x="1" y="11"/>
                  <a:pt x="11" y="17"/>
                  <a:pt x="15" y="14"/>
                </a:cubicBezTo>
                <a:cubicBezTo>
                  <a:pt x="17" y="14"/>
                  <a:pt x="20" y="15"/>
                  <a:pt x="17" y="11"/>
                </a:cubicBezTo>
                <a:cubicBezTo>
                  <a:pt x="11" y="6"/>
                  <a:pt x="17" y="6"/>
                  <a:pt x="14" y="4"/>
                </a:cubicBezTo>
                <a:cubicBezTo>
                  <a:pt x="9" y="3"/>
                  <a:pt x="8" y="4"/>
                  <a:pt x="9" y="1"/>
                </a:cubicBezTo>
                <a:cubicBezTo>
                  <a:pt x="9" y="0"/>
                  <a:pt x="15" y="0"/>
                  <a:pt x="17" y="1"/>
                </a:cubicBezTo>
                <a:cubicBezTo>
                  <a:pt x="20" y="3"/>
                  <a:pt x="20" y="1"/>
                  <a:pt x="23" y="1"/>
                </a:cubicBezTo>
                <a:cubicBezTo>
                  <a:pt x="21" y="6"/>
                  <a:pt x="24" y="9"/>
                  <a:pt x="21" y="12"/>
                </a:cubicBezTo>
                <a:cubicBezTo>
                  <a:pt x="20" y="15"/>
                  <a:pt x="23" y="14"/>
                  <a:pt x="23" y="18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3" name="Freeform 40"/>
          <p:cNvSpPr>
            <a:spLocks/>
          </p:cNvSpPr>
          <p:nvPr/>
        </p:nvSpPr>
        <p:spPr bwMode="auto">
          <a:xfrm>
            <a:off x="3377774" y="4106072"/>
            <a:ext cx="75833" cy="77319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1" y="14"/>
              </a:cxn>
              <a:cxn ang="0">
                <a:pos x="3" y="20"/>
              </a:cxn>
              <a:cxn ang="0">
                <a:pos x="7" y="20"/>
              </a:cxn>
              <a:cxn ang="0">
                <a:pos x="12" y="17"/>
              </a:cxn>
              <a:cxn ang="0">
                <a:pos x="15" y="17"/>
              </a:cxn>
              <a:cxn ang="0">
                <a:pos x="26" y="19"/>
              </a:cxn>
              <a:cxn ang="0">
                <a:pos x="29" y="14"/>
              </a:cxn>
              <a:cxn ang="0">
                <a:pos x="24" y="11"/>
              </a:cxn>
              <a:cxn ang="0">
                <a:pos x="21" y="9"/>
              </a:cxn>
              <a:cxn ang="0">
                <a:pos x="20" y="8"/>
              </a:cxn>
              <a:cxn ang="0">
                <a:pos x="15" y="5"/>
              </a:cxn>
              <a:cxn ang="0">
                <a:pos x="7" y="2"/>
              </a:cxn>
              <a:cxn ang="0">
                <a:pos x="3" y="3"/>
              </a:cxn>
            </a:cxnLst>
            <a:rect l="0" t="0" r="r" b="b"/>
            <a:pathLst>
              <a:path w="30" h="27">
                <a:moveTo>
                  <a:pt x="3" y="3"/>
                </a:moveTo>
                <a:cubicBezTo>
                  <a:pt x="1" y="8"/>
                  <a:pt x="4" y="11"/>
                  <a:pt x="1" y="14"/>
                </a:cubicBezTo>
                <a:cubicBezTo>
                  <a:pt x="0" y="17"/>
                  <a:pt x="3" y="16"/>
                  <a:pt x="3" y="20"/>
                </a:cubicBezTo>
                <a:cubicBezTo>
                  <a:pt x="4" y="27"/>
                  <a:pt x="6" y="23"/>
                  <a:pt x="7" y="20"/>
                </a:cubicBezTo>
                <a:cubicBezTo>
                  <a:pt x="9" y="17"/>
                  <a:pt x="10" y="16"/>
                  <a:pt x="12" y="17"/>
                </a:cubicBezTo>
                <a:cubicBezTo>
                  <a:pt x="12" y="20"/>
                  <a:pt x="14" y="20"/>
                  <a:pt x="15" y="17"/>
                </a:cubicBezTo>
                <a:cubicBezTo>
                  <a:pt x="18" y="16"/>
                  <a:pt x="24" y="17"/>
                  <a:pt x="26" y="19"/>
                </a:cubicBezTo>
                <a:cubicBezTo>
                  <a:pt x="27" y="20"/>
                  <a:pt x="30" y="16"/>
                  <a:pt x="29" y="14"/>
                </a:cubicBezTo>
                <a:cubicBezTo>
                  <a:pt x="26" y="13"/>
                  <a:pt x="26" y="11"/>
                  <a:pt x="24" y="11"/>
                </a:cubicBezTo>
                <a:cubicBezTo>
                  <a:pt x="21" y="11"/>
                  <a:pt x="20" y="9"/>
                  <a:pt x="21" y="9"/>
                </a:cubicBezTo>
                <a:cubicBezTo>
                  <a:pt x="24" y="9"/>
                  <a:pt x="23" y="6"/>
                  <a:pt x="20" y="8"/>
                </a:cubicBezTo>
                <a:cubicBezTo>
                  <a:pt x="15" y="9"/>
                  <a:pt x="18" y="3"/>
                  <a:pt x="15" y="5"/>
                </a:cubicBezTo>
                <a:cubicBezTo>
                  <a:pt x="14" y="6"/>
                  <a:pt x="9" y="0"/>
                  <a:pt x="7" y="2"/>
                </a:cubicBezTo>
                <a:cubicBezTo>
                  <a:pt x="6" y="3"/>
                  <a:pt x="4" y="0"/>
                  <a:pt x="3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4" name="Freeform 233"/>
          <p:cNvSpPr>
            <a:spLocks noEditPoints="1"/>
          </p:cNvSpPr>
          <p:nvPr/>
        </p:nvSpPr>
        <p:spPr bwMode="auto">
          <a:xfrm>
            <a:off x="3342472" y="5277532"/>
            <a:ext cx="405318" cy="1056211"/>
          </a:xfrm>
          <a:custGeom>
            <a:avLst/>
            <a:gdLst/>
            <a:ahLst/>
            <a:cxnLst>
              <a:cxn ang="0">
                <a:pos x="124" y="104"/>
              </a:cxn>
              <a:cxn ang="0">
                <a:pos x="130" y="140"/>
              </a:cxn>
              <a:cxn ang="0">
                <a:pos x="131" y="166"/>
              </a:cxn>
              <a:cxn ang="0">
                <a:pos x="93" y="180"/>
              </a:cxn>
              <a:cxn ang="0">
                <a:pos x="92" y="199"/>
              </a:cxn>
              <a:cxn ang="0">
                <a:pos x="69" y="202"/>
              </a:cxn>
              <a:cxn ang="0">
                <a:pos x="81" y="222"/>
              </a:cxn>
              <a:cxn ang="0">
                <a:pos x="73" y="227"/>
              </a:cxn>
              <a:cxn ang="0">
                <a:pos x="58" y="250"/>
              </a:cxn>
              <a:cxn ang="0">
                <a:pos x="64" y="275"/>
              </a:cxn>
              <a:cxn ang="0">
                <a:pos x="49" y="298"/>
              </a:cxn>
              <a:cxn ang="0">
                <a:pos x="43" y="335"/>
              </a:cxn>
              <a:cxn ang="0">
                <a:pos x="13" y="328"/>
              </a:cxn>
              <a:cxn ang="0">
                <a:pos x="2" y="306"/>
              </a:cxn>
              <a:cxn ang="0">
                <a:pos x="11" y="281"/>
              </a:cxn>
              <a:cxn ang="0">
                <a:pos x="16" y="261"/>
              </a:cxn>
              <a:cxn ang="0">
                <a:pos x="17" y="247"/>
              </a:cxn>
              <a:cxn ang="0">
                <a:pos x="16" y="228"/>
              </a:cxn>
              <a:cxn ang="0">
                <a:pos x="16" y="206"/>
              </a:cxn>
              <a:cxn ang="0">
                <a:pos x="22" y="179"/>
              </a:cxn>
              <a:cxn ang="0">
                <a:pos x="26" y="151"/>
              </a:cxn>
              <a:cxn ang="0">
                <a:pos x="31" y="119"/>
              </a:cxn>
              <a:cxn ang="0">
                <a:pos x="28" y="91"/>
              </a:cxn>
              <a:cxn ang="0">
                <a:pos x="34" y="67"/>
              </a:cxn>
              <a:cxn ang="0">
                <a:pos x="42" y="33"/>
              </a:cxn>
              <a:cxn ang="0">
                <a:pos x="52" y="11"/>
              </a:cxn>
              <a:cxn ang="0">
                <a:pos x="66" y="5"/>
              </a:cxn>
              <a:cxn ang="0">
                <a:pos x="86" y="3"/>
              </a:cxn>
              <a:cxn ang="0">
                <a:pos x="101" y="20"/>
              </a:cxn>
              <a:cxn ang="0">
                <a:pos x="128" y="39"/>
              </a:cxn>
              <a:cxn ang="0">
                <a:pos x="121" y="56"/>
              </a:cxn>
              <a:cxn ang="0">
                <a:pos x="145" y="57"/>
              </a:cxn>
              <a:cxn ang="0">
                <a:pos x="159" y="42"/>
              </a:cxn>
              <a:cxn ang="0">
                <a:pos x="133" y="82"/>
              </a:cxn>
              <a:cxn ang="0">
                <a:pos x="45" y="366"/>
              </a:cxn>
              <a:cxn ang="0">
                <a:pos x="64" y="366"/>
              </a:cxn>
              <a:cxn ang="0">
                <a:pos x="66" y="363"/>
              </a:cxn>
              <a:cxn ang="0">
                <a:pos x="46" y="349"/>
              </a:cxn>
              <a:cxn ang="0">
                <a:pos x="43" y="345"/>
              </a:cxn>
              <a:cxn ang="0">
                <a:pos x="42" y="366"/>
              </a:cxn>
              <a:cxn ang="0">
                <a:pos x="78" y="365"/>
              </a:cxn>
              <a:cxn ang="0">
                <a:pos x="72" y="366"/>
              </a:cxn>
              <a:cxn ang="0">
                <a:pos x="49" y="370"/>
              </a:cxn>
              <a:cxn ang="0">
                <a:pos x="51" y="368"/>
              </a:cxn>
              <a:cxn ang="0">
                <a:pos x="45" y="371"/>
              </a:cxn>
              <a:cxn ang="0">
                <a:pos x="55" y="371"/>
              </a:cxn>
              <a:cxn ang="0">
                <a:pos x="58" y="370"/>
              </a:cxn>
            </a:cxnLst>
            <a:rect l="0" t="0" r="r" b="b"/>
            <a:pathLst>
              <a:path w="160" h="373">
                <a:moveTo>
                  <a:pt x="128" y="87"/>
                </a:moveTo>
                <a:cubicBezTo>
                  <a:pt x="125" y="91"/>
                  <a:pt x="128" y="93"/>
                  <a:pt x="125" y="98"/>
                </a:cubicBezTo>
                <a:cubicBezTo>
                  <a:pt x="122" y="102"/>
                  <a:pt x="127" y="102"/>
                  <a:pt x="124" y="104"/>
                </a:cubicBezTo>
                <a:cubicBezTo>
                  <a:pt x="122" y="107"/>
                  <a:pt x="127" y="116"/>
                  <a:pt x="124" y="118"/>
                </a:cubicBezTo>
                <a:cubicBezTo>
                  <a:pt x="121" y="119"/>
                  <a:pt x="121" y="126"/>
                  <a:pt x="122" y="129"/>
                </a:cubicBezTo>
                <a:cubicBezTo>
                  <a:pt x="118" y="135"/>
                  <a:pt x="127" y="135"/>
                  <a:pt x="130" y="140"/>
                </a:cubicBezTo>
                <a:cubicBezTo>
                  <a:pt x="134" y="146"/>
                  <a:pt x="128" y="144"/>
                  <a:pt x="130" y="149"/>
                </a:cubicBezTo>
                <a:cubicBezTo>
                  <a:pt x="133" y="155"/>
                  <a:pt x="136" y="149"/>
                  <a:pt x="136" y="155"/>
                </a:cubicBezTo>
                <a:cubicBezTo>
                  <a:pt x="136" y="160"/>
                  <a:pt x="134" y="163"/>
                  <a:pt x="131" y="166"/>
                </a:cubicBezTo>
                <a:cubicBezTo>
                  <a:pt x="128" y="171"/>
                  <a:pt x="131" y="171"/>
                  <a:pt x="127" y="174"/>
                </a:cubicBezTo>
                <a:cubicBezTo>
                  <a:pt x="121" y="177"/>
                  <a:pt x="110" y="180"/>
                  <a:pt x="102" y="182"/>
                </a:cubicBezTo>
                <a:cubicBezTo>
                  <a:pt x="95" y="182"/>
                  <a:pt x="96" y="183"/>
                  <a:pt x="93" y="180"/>
                </a:cubicBezTo>
                <a:cubicBezTo>
                  <a:pt x="89" y="179"/>
                  <a:pt x="90" y="183"/>
                  <a:pt x="92" y="185"/>
                </a:cubicBezTo>
                <a:cubicBezTo>
                  <a:pt x="95" y="186"/>
                  <a:pt x="93" y="189"/>
                  <a:pt x="92" y="192"/>
                </a:cubicBezTo>
                <a:cubicBezTo>
                  <a:pt x="90" y="194"/>
                  <a:pt x="89" y="197"/>
                  <a:pt x="92" y="199"/>
                </a:cubicBezTo>
                <a:cubicBezTo>
                  <a:pt x="93" y="200"/>
                  <a:pt x="93" y="202"/>
                  <a:pt x="87" y="205"/>
                </a:cubicBezTo>
                <a:cubicBezTo>
                  <a:pt x="83" y="206"/>
                  <a:pt x="86" y="205"/>
                  <a:pt x="81" y="205"/>
                </a:cubicBezTo>
                <a:cubicBezTo>
                  <a:pt x="77" y="206"/>
                  <a:pt x="73" y="200"/>
                  <a:pt x="69" y="202"/>
                </a:cubicBezTo>
                <a:cubicBezTo>
                  <a:pt x="66" y="203"/>
                  <a:pt x="70" y="208"/>
                  <a:pt x="69" y="213"/>
                </a:cubicBezTo>
                <a:cubicBezTo>
                  <a:pt x="69" y="219"/>
                  <a:pt x="72" y="219"/>
                  <a:pt x="78" y="216"/>
                </a:cubicBezTo>
                <a:cubicBezTo>
                  <a:pt x="81" y="216"/>
                  <a:pt x="81" y="220"/>
                  <a:pt x="81" y="222"/>
                </a:cubicBezTo>
                <a:cubicBezTo>
                  <a:pt x="80" y="227"/>
                  <a:pt x="77" y="227"/>
                  <a:pt x="75" y="224"/>
                </a:cubicBezTo>
                <a:cubicBezTo>
                  <a:pt x="73" y="220"/>
                  <a:pt x="67" y="222"/>
                  <a:pt x="70" y="225"/>
                </a:cubicBezTo>
                <a:cubicBezTo>
                  <a:pt x="73" y="227"/>
                  <a:pt x="77" y="225"/>
                  <a:pt x="73" y="227"/>
                </a:cubicBezTo>
                <a:cubicBezTo>
                  <a:pt x="67" y="228"/>
                  <a:pt x="66" y="234"/>
                  <a:pt x="67" y="237"/>
                </a:cubicBezTo>
                <a:cubicBezTo>
                  <a:pt x="70" y="245"/>
                  <a:pt x="63" y="244"/>
                  <a:pt x="64" y="247"/>
                </a:cubicBezTo>
                <a:cubicBezTo>
                  <a:pt x="67" y="250"/>
                  <a:pt x="60" y="248"/>
                  <a:pt x="58" y="250"/>
                </a:cubicBezTo>
                <a:cubicBezTo>
                  <a:pt x="57" y="253"/>
                  <a:pt x="55" y="248"/>
                  <a:pt x="52" y="256"/>
                </a:cubicBezTo>
                <a:cubicBezTo>
                  <a:pt x="48" y="262"/>
                  <a:pt x="48" y="262"/>
                  <a:pt x="52" y="269"/>
                </a:cubicBezTo>
                <a:cubicBezTo>
                  <a:pt x="58" y="276"/>
                  <a:pt x="63" y="270"/>
                  <a:pt x="64" y="275"/>
                </a:cubicBezTo>
                <a:cubicBezTo>
                  <a:pt x="64" y="281"/>
                  <a:pt x="61" y="279"/>
                  <a:pt x="63" y="281"/>
                </a:cubicBezTo>
                <a:cubicBezTo>
                  <a:pt x="64" y="284"/>
                  <a:pt x="60" y="284"/>
                  <a:pt x="60" y="287"/>
                </a:cubicBezTo>
                <a:cubicBezTo>
                  <a:pt x="60" y="289"/>
                  <a:pt x="51" y="290"/>
                  <a:pt x="49" y="298"/>
                </a:cubicBezTo>
                <a:cubicBezTo>
                  <a:pt x="48" y="304"/>
                  <a:pt x="49" y="307"/>
                  <a:pt x="43" y="309"/>
                </a:cubicBezTo>
                <a:cubicBezTo>
                  <a:pt x="35" y="312"/>
                  <a:pt x="37" y="318"/>
                  <a:pt x="37" y="323"/>
                </a:cubicBezTo>
                <a:cubicBezTo>
                  <a:pt x="38" y="331"/>
                  <a:pt x="45" y="335"/>
                  <a:pt x="43" y="335"/>
                </a:cubicBezTo>
                <a:cubicBezTo>
                  <a:pt x="42" y="332"/>
                  <a:pt x="34" y="334"/>
                  <a:pt x="29" y="331"/>
                </a:cubicBezTo>
                <a:cubicBezTo>
                  <a:pt x="29" y="331"/>
                  <a:pt x="22" y="331"/>
                  <a:pt x="17" y="331"/>
                </a:cubicBezTo>
                <a:cubicBezTo>
                  <a:pt x="13" y="331"/>
                  <a:pt x="16" y="329"/>
                  <a:pt x="13" y="328"/>
                </a:cubicBezTo>
                <a:cubicBezTo>
                  <a:pt x="10" y="326"/>
                  <a:pt x="13" y="314"/>
                  <a:pt x="10" y="314"/>
                </a:cubicBezTo>
                <a:cubicBezTo>
                  <a:pt x="7" y="314"/>
                  <a:pt x="5" y="318"/>
                  <a:pt x="5" y="314"/>
                </a:cubicBezTo>
                <a:cubicBezTo>
                  <a:pt x="3" y="307"/>
                  <a:pt x="0" y="310"/>
                  <a:pt x="2" y="306"/>
                </a:cubicBezTo>
                <a:cubicBezTo>
                  <a:pt x="3" y="303"/>
                  <a:pt x="0" y="298"/>
                  <a:pt x="3" y="300"/>
                </a:cubicBezTo>
                <a:cubicBezTo>
                  <a:pt x="7" y="300"/>
                  <a:pt x="8" y="290"/>
                  <a:pt x="11" y="289"/>
                </a:cubicBezTo>
                <a:cubicBezTo>
                  <a:pt x="14" y="286"/>
                  <a:pt x="8" y="284"/>
                  <a:pt x="11" y="281"/>
                </a:cubicBezTo>
                <a:cubicBezTo>
                  <a:pt x="13" y="279"/>
                  <a:pt x="10" y="279"/>
                  <a:pt x="14" y="275"/>
                </a:cubicBezTo>
                <a:cubicBezTo>
                  <a:pt x="19" y="272"/>
                  <a:pt x="11" y="272"/>
                  <a:pt x="16" y="269"/>
                </a:cubicBezTo>
                <a:cubicBezTo>
                  <a:pt x="19" y="267"/>
                  <a:pt x="14" y="262"/>
                  <a:pt x="16" y="261"/>
                </a:cubicBezTo>
                <a:cubicBezTo>
                  <a:pt x="19" y="259"/>
                  <a:pt x="13" y="256"/>
                  <a:pt x="17" y="255"/>
                </a:cubicBezTo>
                <a:cubicBezTo>
                  <a:pt x="20" y="253"/>
                  <a:pt x="20" y="248"/>
                  <a:pt x="16" y="248"/>
                </a:cubicBezTo>
                <a:cubicBezTo>
                  <a:pt x="13" y="247"/>
                  <a:pt x="13" y="245"/>
                  <a:pt x="17" y="247"/>
                </a:cubicBezTo>
                <a:cubicBezTo>
                  <a:pt x="22" y="247"/>
                  <a:pt x="23" y="241"/>
                  <a:pt x="17" y="242"/>
                </a:cubicBezTo>
                <a:cubicBezTo>
                  <a:pt x="13" y="244"/>
                  <a:pt x="19" y="237"/>
                  <a:pt x="17" y="236"/>
                </a:cubicBezTo>
                <a:cubicBezTo>
                  <a:pt x="14" y="234"/>
                  <a:pt x="17" y="230"/>
                  <a:pt x="16" y="228"/>
                </a:cubicBezTo>
                <a:cubicBezTo>
                  <a:pt x="16" y="227"/>
                  <a:pt x="13" y="227"/>
                  <a:pt x="13" y="220"/>
                </a:cubicBezTo>
                <a:cubicBezTo>
                  <a:pt x="14" y="214"/>
                  <a:pt x="16" y="219"/>
                  <a:pt x="16" y="216"/>
                </a:cubicBezTo>
                <a:cubicBezTo>
                  <a:pt x="17" y="214"/>
                  <a:pt x="14" y="213"/>
                  <a:pt x="16" y="206"/>
                </a:cubicBezTo>
                <a:cubicBezTo>
                  <a:pt x="16" y="200"/>
                  <a:pt x="13" y="202"/>
                  <a:pt x="16" y="199"/>
                </a:cubicBezTo>
                <a:cubicBezTo>
                  <a:pt x="19" y="196"/>
                  <a:pt x="14" y="191"/>
                  <a:pt x="17" y="188"/>
                </a:cubicBezTo>
                <a:cubicBezTo>
                  <a:pt x="20" y="186"/>
                  <a:pt x="16" y="183"/>
                  <a:pt x="22" y="179"/>
                </a:cubicBezTo>
                <a:cubicBezTo>
                  <a:pt x="25" y="177"/>
                  <a:pt x="20" y="169"/>
                  <a:pt x="20" y="166"/>
                </a:cubicBezTo>
                <a:cubicBezTo>
                  <a:pt x="22" y="163"/>
                  <a:pt x="20" y="158"/>
                  <a:pt x="22" y="155"/>
                </a:cubicBezTo>
                <a:cubicBezTo>
                  <a:pt x="22" y="152"/>
                  <a:pt x="23" y="155"/>
                  <a:pt x="26" y="151"/>
                </a:cubicBezTo>
                <a:cubicBezTo>
                  <a:pt x="28" y="147"/>
                  <a:pt x="26" y="146"/>
                  <a:pt x="28" y="136"/>
                </a:cubicBezTo>
                <a:cubicBezTo>
                  <a:pt x="28" y="129"/>
                  <a:pt x="32" y="132"/>
                  <a:pt x="31" y="127"/>
                </a:cubicBezTo>
                <a:cubicBezTo>
                  <a:pt x="31" y="123"/>
                  <a:pt x="34" y="119"/>
                  <a:pt x="31" y="119"/>
                </a:cubicBezTo>
                <a:cubicBezTo>
                  <a:pt x="28" y="119"/>
                  <a:pt x="31" y="118"/>
                  <a:pt x="29" y="113"/>
                </a:cubicBezTo>
                <a:cubicBezTo>
                  <a:pt x="28" y="109"/>
                  <a:pt x="28" y="106"/>
                  <a:pt x="26" y="102"/>
                </a:cubicBezTo>
                <a:cubicBezTo>
                  <a:pt x="25" y="101"/>
                  <a:pt x="26" y="96"/>
                  <a:pt x="28" y="91"/>
                </a:cubicBezTo>
                <a:cubicBezTo>
                  <a:pt x="29" y="87"/>
                  <a:pt x="29" y="90"/>
                  <a:pt x="31" y="88"/>
                </a:cubicBezTo>
                <a:cubicBezTo>
                  <a:pt x="32" y="85"/>
                  <a:pt x="28" y="79"/>
                  <a:pt x="31" y="76"/>
                </a:cubicBezTo>
                <a:cubicBezTo>
                  <a:pt x="32" y="74"/>
                  <a:pt x="32" y="68"/>
                  <a:pt x="34" y="67"/>
                </a:cubicBezTo>
                <a:cubicBezTo>
                  <a:pt x="37" y="65"/>
                  <a:pt x="35" y="67"/>
                  <a:pt x="38" y="59"/>
                </a:cubicBezTo>
                <a:cubicBezTo>
                  <a:pt x="40" y="51"/>
                  <a:pt x="46" y="59"/>
                  <a:pt x="43" y="51"/>
                </a:cubicBezTo>
                <a:cubicBezTo>
                  <a:pt x="40" y="46"/>
                  <a:pt x="43" y="34"/>
                  <a:pt x="42" y="33"/>
                </a:cubicBezTo>
                <a:cubicBezTo>
                  <a:pt x="40" y="28"/>
                  <a:pt x="48" y="25"/>
                  <a:pt x="49" y="25"/>
                </a:cubicBezTo>
                <a:cubicBezTo>
                  <a:pt x="52" y="23"/>
                  <a:pt x="52" y="19"/>
                  <a:pt x="52" y="15"/>
                </a:cubicBezTo>
                <a:cubicBezTo>
                  <a:pt x="54" y="14"/>
                  <a:pt x="54" y="12"/>
                  <a:pt x="52" y="11"/>
                </a:cubicBezTo>
                <a:cubicBezTo>
                  <a:pt x="55" y="9"/>
                  <a:pt x="55" y="6"/>
                  <a:pt x="57" y="5"/>
                </a:cubicBezTo>
                <a:cubicBezTo>
                  <a:pt x="60" y="3"/>
                  <a:pt x="58" y="1"/>
                  <a:pt x="60" y="0"/>
                </a:cubicBezTo>
                <a:cubicBezTo>
                  <a:pt x="61" y="0"/>
                  <a:pt x="61" y="5"/>
                  <a:pt x="66" y="5"/>
                </a:cubicBezTo>
                <a:cubicBezTo>
                  <a:pt x="70" y="3"/>
                  <a:pt x="73" y="3"/>
                  <a:pt x="75" y="11"/>
                </a:cubicBezTo>
                <a:cubicBezTo>
                  <a:pt x="77" y="5"/>
                  <a:pt x="78" y="3"/>
                  <a:pt x="80" y="3"/>
                </a:cubicBezTo>
                <a:cubicBezTo>
                  <a:pt x="83" y="3"/>
                  <a:pt x="84" y="3"/>
                  <a:pt x="86" y="3"/>
                </a:cubicBezTo>
                <a:cubicBezTo>
                  <a:pt x="87" y="3"/>
                  <a:pt x="87" y="5"/>
                  <a:pt x="89" y="6"/>
                </a:cubicBezTo>
                <a:cubicBezTo>
                  <a:pt x="90" y="8"/>
                  <a:pt x="90" y="6"/>
                  <a:pt x="92" y="11"/>
                </a:cubicBezTo>
                <a:cubicBezTo>
                  <a:pt x="95" y="17"/>
                  <a:pt x="99" y="17"/>
                  <a:pt x="101" y="20"/>
                </a:cubicBezTo>
                <a:cubicBezTo>
                  <a:pt x="102" y="23"/>
                  <a:pt x="107" y="22"/>
                  <a:pt x="112" y="26"/>
                </a:cubicBezTo>
                <a:cubicBezTo>
                  <a:pt x="118" y="31"/>
                  <a:pt x="121" y="33"/>
                  <a:pt x="124" y="33"/>
                </a:cubicBezTo>
                <a:cubicBezTo>
                  <a:pt x="125" y="33"/>
                  <a:pt x="130" y="37"/>
                  <a:pt x="128" y="39"/>
                </a:cubicBezTo>
                <a:cubicBezTo>
                  <a:pt x="125" y="43"/>
                  <a:pt x="128" y="43"/>
                  <a:pt x="125" y="45"/>
                </a:cubicBezTo>
                <a:cubicBezTo>
                  <a:pt x="122" y="46"/>
                  <a:pt x="125" y="48"/>
                  <a:pt x="124" y="51"/>
                </a:cubicBezTo>
                <a:cubicBezTo>
                  <a:pt x="122" y="54"/>
                  <a:pt x="119" y="54"/>
                  <a:pt x="121" y="56"/>
                </a:cubicBezTo>
                <a:cubicBezTo>
                  <a:pt x="121" y="59"/>
                  <a:pt x="121" y="57"/>
                  <a:pt x="125" y="57"/>
                </a:cubicBezTo>
                <a:cubicBezTo>
                  <a:pt x="131" y="57"/>
                  <a:pt x="134" y="62"/>
                  <a:pt x="139" y="59"/>
                </a:cubicBezTo>
                <a:cubicBezTo>
                  <a:pt x="142" y="54"/>
                  <a:pt x="144" y="62"/>
                  <a:pt x="145" y="57"/>
                </a:cubicBezTo>
                <a:cubicBezTo>
                  <a:pt x="145" y="53"/>
                  <a:pt x="150" y="53"/>
                  <a:pt x="151" y="48"/>
                </a:cubicBezTo>
                <a:cubicBezTo>
                  <a:pt x="151" y="43"/>
                  <a:pt x="153" y="45"/>
                  <a:pt x="151" y="39"/>
                </a:cubicBezTo>
                <a:cubicBezTo>
                  <a:pt x="154" y="40"/>
                  <a:pt x="156" y="34"/>
                  <a:pt x="159" y="42"/>
                </a:cubicBezTo>
                <a:cubicBezTo>
                  <a:pt x="160" y="48"/>
                  <a:pt x="160" y="54"/>
                  <a:pt x="156" y="57"/>
                </a:cubicBezTo>
                <a:cubicBezTo>
                  <a:pt x="151" y="60"/>
                  <a:pt x="145" y="64"/>
                  <a:pt x="140" y="71"/>
                </a:cubicBezTo>
                <a:cubicBezTo>
                  <a:pt x="134" y="79"/>
                  <a:pt x="134" y="82"/>
                  <a:pt x="133" y="82"/>
                </a:cubicBezTo>
                <a:cubicBezTo>
                  <a:pt x="130" y="84"/>
                  <a:pt x="130" y="85"/>
                  <a:pt x="128" y="87"/>
                </a:cubicBezTo>
                <a:close/>
                <a:moveTo>
                  <a:pt x="42" y="366"/>
                </a:moveTo>
                <a:cubicBezTo>
                  <a:pt x="45" y="366"/>
                  <a:pt x="42" y="365"/>
                  <a:pt x="45" y="366"/>
                </a:cubicBezTo>
                <a:cubicBezTo>
                  <a:pt x="48" y="366"/>
                  <a:pt x="54" y="366"/>
                  <a:pt x="57" y="368"/>
                </a:cubicBezTo>
                <a:cubicBezTo>
                  <a:pt x="60" y="370"/>
                  <a:pt x="58" y="368"/>
                  <a:pt x="60" y="368"/>
                </a:cubicBezTo>
                <a:cubicBezTo>
                  <a:pt x="63" y="368"/>
                  <a:pt x="63" y="365"/>
                  <a:pt x="64" y="366"/>
                </a:cubicBezTo>
                <a:cubicBezTo>
                  <a:pt x="64" y="368"/>
                  <a:pt x="64" y="366"/>
                  <a:pt x="66" y="366"/>
                </a:cubicBezTo>
                <a:cubicBezTo>
                  <a:pt x="67" y="366"/>
                  <a:pt x="67" y="366"/>
                  <a:pt x="67" y="365"/>
                </a:cubicBezTo>
                <a:cubicBezTo>
                  <a:pt x="69" y="363"/>
                  <a:pt x="67" y="363"/>
                  <a:pt x="66" y="363"/>
                </a:cubicBezTo>
                <a:cubicBezTo>
                  <a:pt x="63" y="365"/>
                  <a:pt x="63" y="363"/>
                  <a:pt x="60" y="362"/>
                </a:cubicBezTo>
                <a:cubicBezTo>
                  <a:pt x="58" y="362"/>
                  <a:pt x="57" y="359"/>
                  <a:pt x="54" y="357"/>
                </a:cubicBezTo>
                <a:cubicBezTo>
                  <a:pt x="51" y="356"/>
                  <a:pt x="46" y="351"/>
                  <a:pt x="46" y="349"/>
                </a:cubicBezTo>
                <a:cubicBezTo>
                  <a:pt x="45" y="348"/>
                  <a:pt x="46" y="346"/>
                  <a:pt x="43" y="346"/>
                </a:cubicBezTo>
                <a:cubicBezTo>
                  <a:pt x="42" y="346"/>
                  <a:pt x="42" y="346"/>
                  <a:pt x="42" y="345"/>
                </a:cubicBezTo>
                <a:cubicBezTo>
                  <a:pt x="43" y="343"/>
                  <a:pt x="43" y="343"/>
                  <a:pt x="43" y="345"/>
                </a:cubicBezTo>
                <a:cubicBezTo>
                  <a:pt x="45" y="345"/>
                  <a:pt x="45" y="345"/>
                  <a:pt x="45" y="345"/>
                </a:cubicBezTo>
                <a:cubicBezTo>
                  <a:pt x="45" y="343"/>
                  <a:pt x="43" y="342"/>
                  <a:pt x="42" y="338"/>
                </a:cubicBezTo>
                <a:cubicBezTo>
                  <a:pt x="42" y="366"/>
                  <a:pt x="42" y="366"/>
                  <a:pt x="42" y="366"/>
                </a:cubicBezTo>
                <a:close/>
                <a:moveTo>
                  <a:pt x="73" y="366"/>
                </a:moveTo>
                <a:cubicBezTo>
                  <a:pt x="75" y="365"/>
                  <a:pt x="75" y="366"/>
                  <a:pt x="77" y="366"/>
                </a:cubicBezTo>
                <a:cubicBezTo>
                  <a:pt x="78" y="365"/>
                  <a:pt x="77" y="366"/>
                  <a:pt x="78" y="365"/>
                </a:cubicBezTo>
                <a:cubicBezTo>
                  <a:pt x="80" y="365"/>
                  <a:pt x="80" y="363"/>
                  <a:pt x="78" y="365"/>
                </a:cubicBezTo>
                <a:cubicBezTo>
                  <a:pt x="77" y="365"/>
                  <a:pt x="77" y="363"/>
                  <a:pt x="73" y="365"/>
                </a:cubicBezTo>
                <a:cubicBezTo>
                  <a:pt x="73" y="365"/>
                  <a:pt x="70" y="365"/>
                  <a:pt x="72" y="366"/>
                </a:cubicBezTo>
                <a:cubicBezTo>
                  <a:pt x="73" y="366"/>
                  <a:pt x="73" y="366"/>
                  <a:pt x="73" y="366"/>
                </a:cubicBezTo>
                <a:close/>
                <a:moveTo>
                  <a:pt x="48" y="371"/>
                </a:moveTo>
                <a:cubicBezTo>
                  <a:pt x="49" y="371"/>
                  <a:pt x="48" y="370"/>
                  <a:pt x="49" y="370"/>
                </a:cubicBezTo>
                <a:cubicBezTo>
                  <a:pt x="51" y="370"/>
                  <a:pt x="49" y="371"/>
                  <a:pt x="51" y="371"/>
                </a:cubicBezTo>
                <a:cubicBezTo>
                  <a:pt x="52" y="371"/>
                  <a:pt x="52" y="371"/>
                  <a:pt x="54" y="370"/>
                </a:cubicBezTo>
                <a:cubicBezTo>
                  <a:pt x="54" y="368"/>
                  <a:pt x="52" y="368"/>
                  <a:pt x="51" y="368"/>
                </a:cubicBezTo>
                <a:cubicBezTo>
                  <a:pt x="49" y="368"/>
                  <a:pt x="48" y="366"/>
                  <a:pt x="45" y="366"/>
                </a:cubicBezTo>
                <a:cubicBezTo>
                  <a:pt x="43" y="366"/>
                  <a:pt x="43" y="368"/>
                  <a:pt x="45" y="368"/>
                </a:cubicBezTo>
                <a:cubicBezTo>
                  <a:pt x="45" y="368"/>
                  <a:pt x="45" y="368"/>
                  <a:pt x="45" y="371"/>
                </a:cubicBezTo>
                <a:cubicBezTo>
                  <a:pt x="45" y="371"/>
                  <a:pt x="46" y="371"/>
                  <a:pt x="48" y="371"/>
                </a:cubicBezTo>
                <a:close/>
                <a:moveTo>
                  <a:pt x="54" y="371"/>
                </a:moveTo>
                <a:cubicBezTo>
                  <a:pt x="54" y="371"/>
                  <a:pt x="55" y="370"/>
                  <a:pt x="55" y="371"/>
                </a:cubicBezTo>
                <a:cubicBezTo>
                  <a:pt x="55" y="373"/>
                  <a:pt x="54" y="373"/>
                  <a:pt x="54" y="371"/>
                </a:cubicBezTo>
                <a:close/>
                <a:moveTo>
                  <a:pt x="57" y="371"/>
                </a:moveTo>
                <a:cubicBezTo>
                  <a:pt x="55" y="371"/>
                  <a:pt x="57" y="370"/>
                  <a:pt x="58" y="370"/>
                </a:cubicBezTo>
                <a:cubicBezTo>
                  <a:pt x="58" y="371"/>
                  <a:pt x="58" y="371"/>
                  <a:pt x="57" y="37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5" name="Freeform 239"/>
          <p:cNvSpPr>
            <a:spLocks noEditPoints="1"/>
          </p:cNvSpPr>
          <p:nvPr/>
        </p:nvSpPr>
        <p:spPr bwMode="auto">
          <a:xfrm>
            <a:off x="3235259" y="3909126"/>
            <a:ext cx="126826" cy="177980"/>
          </a:xfrm>
          <a:custGeom>
            <a:avLst/>
            <a:gdLst/>
            <a:ahLst/>
            <a:cxnLst>
              <a:cxn ang="0">
                <a:pos x="42" y="61"/>
              </a:cxn>
              <a:cxn ang="0">
                <a:pos x="47" y="59"/>
              </a:cxn>
              <a:cxn ang="0">
                <a:pos x="45" y="63"/>
              </a:cxn>
              <a:cxn ang="0">
                <a:pos x="42" y="61"/>
              </a:cxn>
              <a:cxn ang="0">
                <a:pos x="11" y="27"/>
              </a:cxn>
              <a:cxn ang="0">
                <a:pos x="11" y="22"/>
              </a:cxn>
              <a:cxn ang="0">
                <a:pos x="9" y="19"/>
              </a:cxn>
              <a:cxn ang="0">
                <a:pos x="7" y="23"/>
              </a:cxn>
              <a:cxn ang="0">
                <a:pos x="9" y="27"/>
              </a:cxn>
              <a:cxn ang="0">
                <a:pos x="11" y="27"/>
              </a:cxn>
              <a:cxn ang="0">
                <a:pos x="12" y="33"/>
              </a:cxn>
              <a:cxn ang="0">
                <a:pos x="12" y="30"/>
              </a:cxn>
              <a:cxn ang="0">
                <a:pos x="11" y="28"/>
              </a:cxn>
              <a:cxn ang="0">
                <a:pos x="11" y="31"/>
              </a:cxn>
              <a:cxn ang="0">
                <a:pos x="12" y="33"/>
              </a:cxn>
              <a:cxn ang="0">
                <a:pos x="6" y="3"/>
              </a:cxn>
              <a:cxn ang="0">
                <a:pos x="9" y="3"/>
              </a:cxn>
              <a:cxn ang="0">
                <a:pos x="4" y="2"/>
              </a:cxn>
              <a:cxn ang="0">
                <a:pos x="3" y="3"/>
              </a:cxn>
              <a:cxn ang="0">
                <a:pos x="3" y="5"/>
              </a:cxn>
              <a:cxn ang="0">
                <a:pos x="6" y="3"/>
              </a:cxn>
              <a:cxn ang="0">
                <a:pos x="17" y="8"/>
              </a:cxn>
              <a:cxn ang="0">
                <a:pos x="15" y="5"/>
              </a:cxn>
              <a:cxn ang="0">
                <a:pos x="11" y="0"/>
              </a:cxn>
              <a:cxn ang="0">
                <a:pos x="12" y="2"/>
              </a:cxn>
              <a:cxn ang="0">
                <a:pos x="15" y="5"/>
              </a:cxn>
              <a:cxn ang="0">
                <a:pos x="15" y="8"/>
              </a:cxn>
              <a:cxn ang="0">
                <a:pos x="15" y="11"/>
              </a:cxn>
              <a:cxn ang="0">
                <a:pos x="17" y="8"/>
              </a:cxn>
              <a:cxn ang="0">
                <a:pos x="48" y="49"/>
              </a:cxn>
              <a:cxn ang="0">
                <a:pos x="50" y="49"/>
              </a:cxn>
              <a:cxn ang="0">
                <a:pos x="47" y="47"/>
              </a:cxn>
              <a:cxn ang="0">
                <a:pos x="48" y="49"/>
              </a:cxn>
              <a:cxn ang="0">
                <a:pos x="23" y="19"/>
              </a:cxn>
              <a:cxn ang="0">
                <a:pos x="21" y="23"/>
              </a:cxn>
              <a:cxn ang="0">
                <a:pos x="23" y="25"/>
              </a:cxn>
              <a:cxn ang="0">
                <a:pos x="23" y="23"/>
              </a:cxn>
              <a:cxn ang="0">
                <a:pos x="23" y="17"/>
              </a:cxn>
              <a:cxn ang="0">
                <a:pos x="18" y="16"/>
              </a:cxn>
              <a:cxn ang="0">
                <a:pos x="23" y="19"/>
              </a:cxn>
              <a:cxn ang="0">
                <a:pos x="39" y="47"/>
              </a:cxn>
              <a:cxn ang="0">
                <a:pos x="39" y="49"/>
              </a:cxn>
              <a:cxn ang="0">
                <a:pos x="41" y="44"/>
              </a:cxn>
              <a:cxn ang="0">
                <a:pos x="38" y="42"/>
              </a:cxn>
              <a:cxn ang="0">
                <a:pos x="39" y="45"/>
              </a:cxn>
              <a:cxn ang="0">
                <a:pos x="39" y="47"/>
              </a:cxn>
              <a:cxn ang="0">
                <a:pos x="26" y="36"/>
              </a:cxn>
              <a:cxn ang="0">
                <a:pos x="26" y="36"/>
              </a:cxn>
              <a:cxn ang="0">
                <a:pos x="24" y="34"/>
              </a:cxn>
              <a:cxn ang="0">
                <a:pos x="26" y="36"/>
              </a:cxn>
              <a:cxn ang="0">
                <a:pos x="29" y="28"/>
              </a:cxn>
              <a:cxn ang="0">
                <a:pos x="27" y="23"/>
              </a:cxn>
              <a:cxn ang="0">
                <a:pos x="27" y="25"/>
              </a:cxn>
              <a:cxn ang="0">
                <a:pos x="29" y="28"/>
              </a:cxn>
              <a:cxn ang="0">
                <a:pos x="29" y="30"/>
              </a:cxn>
              <a:cxn ang="0">
                <a:pos x="29" y="28"/>
              </a:cxn>
              <a:cxn ang="0">
                <a:pos x="33" y="42"/>
              </a:cxn>
              <a:cxn ang="0">
                <a:pos x="33" y="41"/>
              </a:cxn>
              <a:cxn ang="0">
                <a:pos x="32" y="39"/>
              </a:cxn>
              <a:cxn ang="0">
                <a:pos x="30" y="34"/>
              </a:cxn>
              <a:cxn ang="0">
                <a:pos x="32" y="38"/>
              </a:cxn>
              <a:cxn ang="0">
                <a:pos x="32" y="41"/>
              </a:cxn>
              <a:cxn ang="0">
                <a:pos x="33" y="42"/>
              </a:cxn>
            </a:cxnLst>
            <a:rect l="0" t="0" r="r" b="b"/>
            <a:pathLst>
              <a:path w="50" h="63">
                <a:moveTo>
                  <a:pt x="42" y="61"/>
                </a:moveTo>
                <a:cubicBezTo>
                  <a:pt x="45" y="58"/>
                  <a:pt x="47" y="61"/>
                  <a:pt x="47" y="59"/>
                </a:cubicBezTo>
                <a:cubicBezTo>
                  <a:pt x="48" y="56"/>
                  <a:pt x="50" y="61"/>
                  <a:pt x="45" y="63"/>
                </a:cubicBezTo>
                <a:cubicBezTo>
                  <a:pt x="42" y="63"/>
                  <a:pt x="42" y="63"/>
                  <a:pt x="42" y="61"/>
                </a:cubicBezTo>
                <a:close/>
                <a:moveTo>
                  <a:pt x="11" y="27"/>
                </a:moveTo>
                <a:cubicBezTo>
                  <a:pt x="12" y="25"/>
                  <a:pt x="12" y="23"/>
                  <a:pt x="11" y="22"/>
                </a:cubicBezTo>
                <a:cubicBezTo>
                  <a:pt x="9" y="20"/>
                  <a:pt x="9" y="19"/>
                  <a:pt x="9" y="19"/>
                </a:cubicBezTo>
                <a:cubicBezTo>
                  <a:pt x="7" y="19"/>
                  <a:pt x="7" y="20"/>
                  <a:pt x="7" y="23"/>
                </a:cubicBezTo>
                <a:cubicBezTo>
                  <a:pt x="6" y="25"/>
                  <a:pt x="6" y="25"/>
                  <a:pt x="9" y="27"/>
                </a:cubicBezTo>
                <a:cubicBezTo>
                  <a:pt x="11" y="28"/>
                  <a:pt x="11" y="27"/>
                  <a:pt x="11" y="27"/>
                </a:cubicBezTo>
                <a:close/>
                <a:moveTo>
                  <a:pt x="12" y="33"/>
                </a:moveTo>
                <a:cubicBezTo>
                  <a:pt x="13" y="33"/>
                  <a:pt x="13" y="33"/>
                  <a:pt x="12" y="30"/>
                </a:cubicBezTo>
                <a:cubicBezTo>
                  <a:pt x="12" y="27"/>
                  <a:pt x="12" y="30"/>
                  <a:pt x="11" y="28"/>
                </a:cubicBezTo>
                <a:cubicBezTo>
                  <a:pt x="9" y="27"/>
                  <a:pt x="9" y="30"/>
                  <a:pt x="11" y="31"/>
                </a:cubicBezTo>
                <a:cubicBezTo>
                  <a:pt x="12" y="33"/>
                  <a:pt x="11" y="33"/>
                  <a:pt x="12" y="33"/>
                </a:cubicBezTo>
                <a:close/>
                <a:moveTo>
                  <a:pt x="6" y="3"/>
                </a:moveTo>
                <a:cubicBezTo>
                  <a:pt x="9" y="3"/>
                  <a:pt x="9" y="5"/>
                  <a:pt x="9" y="3"/>
                </a:cubicBezTo>
                <a:cubicBezTo>
                  <a:pt x="11" y="2"/>
                  <a:pt x="7" y="3"/>
                  <a:pt x="4" y="2"/>
                </a:cubicBezTo>
                <a:cubicBezTo>
                  <a:pt x="1" y="2"/>
                  <a:pt x="6" y="5"/>
                  <a:pt x="3" y="3"/>
                </a:cubicBezTo>
                <a:cubicBezTo>
                  <a:pt x="1" y="3"/>
                  <a:pt x="0" y="3"/>
                  <a:pt x="3" y="5"/>
                </a:cubicBezTo>
                <a:cubicBezTo>
                  <a:pt x="3" y="5"/>
                  <a:pt x="3" y="5"/>
                  <a:pt x="6" y="3"/>
                </a:cubicBezTo>
                <a:close/>
                <a:moveTo>
                  <a:pt x="17" y="8"/>
                </a:moveTo>
                <a:cubicBezTo>
                  <a:pt x="17" y="8"/>
                  <a:pt x="17" y="5"/>
                  <a:pt x="15" y="5"/>
                </a:cubicBezTo>
                <a:cubicBezTo>
                  <a:pt x="13" y="3"/>
                  <a:pt x="13" y="0"/>
                  <a:pt x="11" y="0"/>
                </a:cubicBezTo>
                <a:cubicBezTo>
                  <a:pt x="7" y="0"/>
                  <a:pt x="11" y="0"/>
                  <a:pt x="12" y="2"/>
                </a:cubicBezTo>
                <a:cubicBezTo>
                  <a:pt x="13" y="2"/>
                  <a:pt x="13" y="3"/>
                  <a:pt x="15" y="5"/>
                </a:cubicBezTo>
                <a:cubicBezTo>
                  <a:pt x="17" y="6"/>
                  <a:pt x="15" y="5"/>
                  <a:pt x="15" y="8"/>
                </a:cubicBezTo>
                <a:cubicBezTo>
                  <a:pt x="15" y="11"/>
                  <a:pt x="12" y="8"/>
                  <a:pt x="15" y="11"/>
                </a:cubicBezTo>
                <a:cubicBezTo>
                  <a:pt x="15" y="13"/>
                  <a:pt x="15" y="8"/>
                  <a:pt x="17" y="8"/>
                </a:cubicBezTo>
                <a:close/>
                <a:moveTo>
                  <a:pt x="48" y="49"/>
                </a:moveTo>
                <a:cubicBezTo>
                  <a:pt x="50" y="49"/>
                  <a:pt x="50" y="49"/>
                  <a:pt x="50" y="49"/>
                </a:cubicBezTo>
                <a:cubicBezTo>
                  <a:pt x="50" y="47"/>
                  <a:pt x="47" y="47"/>
                  <a:pt x="47" y="47"/>
                </a:cubicBezTo>
                <a:cubicBezTo>
                  <a:pt x="47" y="47"/>
                  <a:pt x="47" y="49"/>
                  <a:pt x="48" y="49"/>
                </a:cubicBezTo>
                <a:close/>
                <a:moveTo>
                  <a:pt x="23" y="19"/>
                </a:moveTo>
                <a:cubicBezTo>
                  <a:pt x="24" y="22"/>
                  <a:pt x="21" y="22"/>
                  <a:pt x="21" y="23"/>
                </a:cubicBezTo>
                <a:cubicBezTo>
                  <a:pt x="23" y="23"/>
                  <a:pt x="23" y="27"/>
                  <a:pt x="23" y="25"/>
                </a:cubicBezTo>
                <a:cubicBezTo>
                  <a:pt x="24" y="25"/>
                  <a:pt x="23" y="25"/>
                  <a:pt x="23" y="23"/>
                </a:cubicBezTo>
                <a:cubicBezTo>
                  <a:pt x="23" y="20"/>
                  <a:pt x="24" y="20"/>
                  <a:pt x="23" y="17"/>
                </a:cubicBezTo>
                <a:cubicBezTo>
                  <a:pt x="21" y="16"/>
                  <a:pt x="18" y="14"/>
                  <a:pt x="18" y="16"/>
                </a:cubicBezTo>
                <a:cubicBezTo>
                  <a:pt x="18" y="16"/>
                  <a:pt x="21" y="17"/>
                  <a:pt x="23" y="19"/>
                </a:cubicBezTo>
                <a:close/>
                <a:moveTo>
                  <a:pt x="39" y="47"/>
                </a:moveTo>
                <a:cubicBezTo>
                  <a:pt x="38" y="49"/>
                  <a:pt x="38" y="50"/>
                  <a:pt x="39" y="49"/>
                </a:cubicBezTo>
                <a:cubicBezTo>
                  <a:pt x="42" y="47"/>
                  <a:pt x="42" y="45"/>
                  <a:pt x="41" y="44"/>
                </a:cubicBezTo>
                <a:cubicBezTo>
                  <a:pt x="41" y="42"/>
                  <a:pt x="41" y="44"/>
                  <a:pt x="38" y="42"/>
                </a:cubicBezTo>
                <a:cubicBezTo>
                  <a:pt x="36" y="42"/>
                  <a:pt x="38" y="45"/>
                  <a:pt x="39" y="45"/>
                </a:cubicBezTo>
                <a:cubicBezTo>
                  <a:pt x="41" y="44"/>
                  <a:pt x="41" y="45"/>
                  <a:pt x="39" y="47"/>
                </a:cubicBezTo>
                <a:close/>
                <a:moveTo>
                  <a:pt x="26" y="36"/>
                </a:moveTo>
                <a:cubicBezTo>
                  <a:pt x="27" y="38"/>
                  <a:pt x="27" y="36"/>
                  <a:pt x="26" y="36"/>
                </a:cubicBezTo>
                <a:cubicBezTo>
                  <a:pt x="26" y="34"/>
                  <a:pt x="24" y="33"/>
                  <a:pt x="24" y="34"/>
                </a:cubicBezTo>
                <a:cubicBezTo>
                  <a:pt x="24" y="36"/>
                  <a:pt x="24" y="34"/>
                  <a:pt x="26" y="36"/>
                </a:cubicBezTo>
                <a:close/>
                <a:moveTo>
                  <a:pt x="29" y="28"/>
                </a:moveTo>
                <a:cubicBezTo>
                  <a:pt x="29" y="27"/>
                  <a:pt x="29" y="25"/>
                  <a:pt x="27" y="23"/>
                </a:cubicBezTo>
                <a:cubicBezTo>
                  <a:pt x="26" y="23"/>
                  <a:pt x="26" y="23"/>
                  <a:pt x="27" y="25"/>
                </a:cubicBezTo>
                <a:cubicBezTo>
                  <a:pt x="27" y="25"/>
                  <a:pt x="27" y="27"/>
                  <a:pt x="29" y="28"/>
                </a:cubicBezTo>
                <a:cubicBezTo>
                  <a:pt x="30" y="30"/>
                  <a:pt x="27" y="31"/>
                  <a:pt x="29" y="30"/>
                </a:cubicBezTo>
                <a:cubicBezTo>
                  <a:pt x="30" y="30"/>
                  <a:pt x="30" y="28"/>
                  <a:pt x="29" y="28"/>
                </a:cubicBezTo>
                <a:close/>
                <a:moveTo>
                  <a:pt x="33" y="42"/>
                </a:moveTo>
                <a:cubicBezTo>
                  <a:pt x="33" y="42"/>
                  <a:pt x="35" y="42"/>
                  <a:pt x="33" y="41"/>
                </a:cubicBezTo>
                <a:cubicBezTo>
                  <a:pt x="33" y="39"/>
                  <a:pt x="32" y="39"/>
                  <a:pt x="32" y="39"/>
                </a:cubicBezTo>
                <a:cubicBezTo>
                  <a:pt x="32" y="38"/>
                  <a:pt x="30" y="34"/>
                  <a:pt x="30" y="34"/>
                </a:cubicBezTo>
                <a:cubicBezTo>
                  <a:pt x="29" y="33"/>
                  <a:pt x="30" y="36"/>
                  <a:pt x="32" y="38"/>
                </a:cubicBezTo>
                <a:cubicBezTo>
                  <a:pt x="32" y="41"/>
                  <a:pt x="30" y="38"/>
                  <a:pt x="32" y="41"/>
                </a:cubicBezTo>
                <a:cubicBezTo>
                  <a:pt x="32" y="41"/>
                  <a:pt x="33" y="41"/>
                  <a:pt x="33" y="4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6" name="Freeform 240"/>
          <p:cNvSpPr>
            <a:spLocks noEditPoints="1"/>
          </p:cNvSpPr>
          <p:nvPr/>
        </p:nvSpPr>
        <p:spPr bwMode="auto">
          <a:xfrm>
            <a:off x="3118893" y="4015622"/>
            <a:ext cx="218350" cy="105038"/>
          </a:xfrm>
          <a:custGeom>
            <a:avLst/>
            <a:gdLst/>
            <a:ahLst/>
            <a:cxnLst>
              <a:cxn ang="0">
                <a:pos x="8" y="13"/>
              </a:cxn>
              <a:cxn ang="0">
                <a:pos x="3" y="15"/>
              </a:cxn>
              <a:cxn ang="0">
                <a:pos x="0" y="13"/>
              </a:cxn>
              <a:cxn ang="0">
                <a:pos x="4" y="10"/>
              </a:cxn>
              <a:cxn ang="0">
                <a:pos x="17" y="3"/>
              </a:cxn>
              <a:cxn ang="0">
                <a:pos x="24" y="1"/>
              </a:cxn>
              <a:cxn ang="0">
                <a:pos x="30" y="1"/>
              </a:cxn>
              <a:cxn ang="0">
                <a:pos x="35" y="3"/>
              </a:cxn>
              <a:cxn ang="0">
                <a:pos x="42" y="6"/>
              </a:cxn>
              <a:cxn ang="0">
                <a:pos x="50" y="10"/>
              </a:cxn>
              <a:cxn ang="0">
                <a:pos x="58" y="13"/>
              </a:cxn>
              <a:cxn ang="0">
                <a:pos x="59" y="15"/>
              </a:cxn>
              <a:cxn ang="0">
                <a:pos x="62" y="18"/>
              </a:cxn>
              <a:cxn ang="0">
                <a:pos x="65" y="20"/>
              </a:cxn>
              <a:cxn ang="0">
                <a:pos x="70" y="21"/>
              </a:cxn>
              <a:cxn ang="0">
                <a:pos x="74" y="23"/>
              </a:cxn>
              <a:cxn ang="0">
                <a:pos x="76" y="26"/>
              </a:cxn>
              <a:cxn ang="0">
                <a:pos x="82" y="29"/>
              </a:cxn>
              <a:cxn ang="0">
                <a:pos x="85" y="32"/>
              </a:cxn>
              <a:cxn ang="0">
                <a:pos x="79" y="34"/>
              </a:cxn>
              <a:cxn ang="0">
                <a:pos x="64" y="34"/>
              </a:cxn>
              <a:cxn ang="0">
                <a:pos x="61" y="30"/>
              </a:cxn>
              <a:cxn ang="0">
                <a:pos x="56" y="26"/>
              </a:cxn>
              <a:cxn ang="0">
                <a:pos x="50" y="20"/>
              </a:cxn>
              <a:cxn ang="0">
                <a:pos x="42" y="17"/>
              </a:cxn>
              <a:cxn ang="0">
                <a:pos x="32" y="12"/>
              </a:cxn>
              <a:cxn ang="0">
                <a:pos x="23" y="10"/>
              </a:cxn>
              <a:cxn ang="0">
                <a:pos x="26" y="7"/>
              </a:cxn>
              <a:cxn ang="0">
                <a:pos x="15" y="9"/>
              </a:cxn>
              <a:cxn ang="0">
                <a:pos x="8" y="13"/>
              </a:cxn>
              <a:cxn ang="0">
                <a:pos x="18" y="18"/>
              </a:cxn>
              <a:cxn ang="0">
                <a:pos x="15" y="13"/>
              </a:cxn>
              <a:cxn ang="0">
                <a:pos x="18" y="18"/>
              </a:cxn>
              <a:cxn ang="0">
                <a:pos x="50" y="9"/>
              </a:cxn>
              <a:cxn ang="0">
                <a:pos x="51" y="7"/>
              </a:cxn>
              <a:cxn ang="0">
                <a:pos x="50" y="9"/>
              </a:cxn>
              <a:cxn ang="0">
                <a:pos x="53" y="9"/>
              </a:cxn>
              <a:cxn ang="0">
                <a:pos x="55" y="10"/>
              </a:cxn>
              <a:cxn ang="0">
                <a:pos x="53" y="9"/>
              </a:cxn>
            </a:cxnLst>
            <a:rect l="0" t="0" r="r" b="b"/>
            <a:pathLst>
              <a:path w="86" h="37">
                <a:moveTo>
                  <a:pt x="8" y="13"/>
                </a:moveTo>
                <a:cubicBezTo>
                  <a:pt x="4" y="13"/>
                  <a:pt x="3" y="17"/>
                  <a:pt x="3" y="15"/>
                </a:cubicBezTo>
                <a:cubicBezTo>
                  <a:pt x="3" y="13"/>
                  <a:pt x="0" y="15"/>
                  <a:pt x="0" y="13"/>
                </a:cubicBezTo>
                <a:cubicBezTo>
                  <a:pt x="0" y="12"/>
                  <a:pt x="4" y="13"/>
                  <a:pt x="4" y="10"/>
                </a:cubicBezTo>
                <a:cubicBezTo>
                  <a:pt x="3" y="9"/>
                  <a:pt x="8" y="4"/>
                  <a:pt x="17" y="3"/>
                </a:cubicBezTo>
                <a:cubicBezTo>
                  <a:pt x="21" y="3"/>
                  <a:pt x="20" y="0"/>
                  <a:pt x="24" y="1"/>
                </a:cubicBezTo>
                <a:cubicBezTo>
                  <a:pt x="30" y="3"/>
                  <a:pt x="29" y="0"/>
                  <a:pt x="30" y="1"/>
                </a:cubicBezTo>
                <a:cubicBezTo>
                  <a:pt x="32" y="3"/>
                  <a:pt x="33" y="0"/>
                  <a:pt x="35" y="3"/>
                </a:cubicBezTo>
                <a:cubicBezTo>
                  <a:pt x="36" y="4"/>
                  <a:pt x="39" y="1"/>
                  <a:pt x="42" y="6"/>
                </a:cubicBezTo>
                <a:cubicBezTo>
                  <a:pt x="45" y="10"/>
                  <a:pt x="45" y="6"/>
                  <a:pt x="50" y="10"/>
                </a:cubicBezTo>
                <a:cubicBezTo>
                  <a:pt x="56" y="13"/>
                  <a:pt x="58" y="12"/>
                  <a:pt x="58" y="13"/>
                </a:cubicBezTo>
                <a:cubicBezTo>
                  <a:pt x="56" y="15"/>
                  <a:pt x="59" y="17"/>
                  <a:pt x="59" y="15"/>
                </a:cubicBezTo>
                <a:cubicBezTo>
                  <a:pt x="58" y="13"/>
                  <a:pt x="61" y="15"/>
                  <a:pt x="62" y="18"/>
                </a:cubicBezTo>
                <a:cubicBezTo>
                  <a:pt x="65" y="20"/>
                  <a:pt x="65" y="18"/>
                  <a:pt x="65" y="20"/>
                </a:cubicBezTo>
                <a:cubicBezTo>
                  <a:pt x="67" y="23"/>
                  <a:pt x="68" y="20"/>
                  <a:pt x="70" y="21"/>
                </a:cubicBezTo>
                <a:cubicBezTo>
                  <a:pt x="71" y="23"/>
                  <a:pt x="73" y="20"/>
                  <a:pt x="74" y="23"/>
                </a:cubicBezTo>
                <a:cubicBezTo>
                  <a:pt x="74" y="26"/>
                  <a:pt x="70" y="24"/>
                  <a:pt x="76" y="26"/>
                </a:cubicBezTo>
                <a:cubicBezTo>
                  <a:pt x="80" y="26"/>
                  <a:pt x="80" y="27"/>
                  <a:pt x="82" y="29"/>
                </a:cubicBezTo>
                <a:cubicBezTo>
                  <a:pt x="83" y="30"/>
                  <a:pt x="86" y="29"/>
                  <a:pt x="85" y="32"/>
                </a:cubicBezTo>
                <a:cubicBezTo>
                  <a:pt x="83" y="34"/>
                  <a:pt x="83" y="30"/>
                  <a:pt x="79" y="34"/>
                </a:cubicBezTo>
                <a:cubicBezTo>
                  <a:pt x="73" y="37"/>
                  <a:pt x="76" y="32"/>
                  <a:pt x="64" y="34"/>
                </a:cubicBezTo>
                <a:cubicBezTo>
                  <a:pt x="51" y="35"/>
                  <a:pt x="58" y="34"/>
                  <a:pt x="61" y="30"/>
                </a:cubicBezTo>
                <a:cubicBezTo>
                  <a:pt x="64" y="27"/>
                  <a:pt x="61" y="26"/>
                  <a:pt x="56" y="26"/>
                </a:cubicBezTo>
                <a:cubicBezTo>
                  <a:pt x="51" y="26"/>
                  <a:pt x="51" y="23"/>
                  <a:pt x="50" y="20"/>
                </a:cubicBezTo>
                <a:cubicBezTo>
                  <a:pt x="48" y="15"/>
                  <a:pt x="47" y="18"/>
                  <a:pt x="42" y="17"/>
                </a:cubicBezTo>
                <a:cubicBezTo>
                  <a:pt x="36" y="15"/>
                  <a:pt x="38" y="12"/>
                  <a:pt x="32" y="12"/>
                </a:cubicBezTo>
                <a:cubicBezTo>
                  <a:pt x="26" y="12"/>
                  <a:pt x="26" y="12"/>
                  <a:pt x="23" y="10"/>
                </a:cubicBezTo>
                <a:cubicBezTo>
                  <a:pt x="21" y="9"/>
                  <a:pt x="27" y="7"/>
                  <a:pt x="26" y="7"/>
                </a:cubicBezTo>
                <a:cubicBezTo>
                  <a:pt x="24" y="6"/>
                  <a:pt x="18" y="4"/>
                  <a:pt x="15" y="9"/>
                </a:cubicBezTo>
                <a:cubicBezTo>
                  <a:pt x="11" y="12"/>
                  <a:pt x="8" y="10"/>
                  <a:pt x="8" y="13"/>
                </a:cubicBezTo>
                <a:close/>
                <a:moveTo>
                  <a:pt x="18" y="18"/>
                </a:moveTo>
                <a:cubicBezTo>
                  <a:pt x="14" y="20"/>
                  <a:pt x="14" y="13"/>
                  <a:pt x="15" y="13"/>
                </a:cubicBezTo>
                <a:cubicBezTo>
                  <a:pt x="18" y="13"/>
                  <a:pt x="20" y="18"/>
                  <a:pt x="18" y="18"/>
                </a:cubicBezTo>
                <a:close/>
                <a:moveTo>
                  <a:pt x="50" y="9"/>
                </a:moveTo>
                <a:cubicBezTo>
                  <a:pt x="48" y="7"/>
                  <a:pt x="50" y="7"/>
                  <a:pt x="51" y="7"/>
                </a:cubicBezTo>
                <a:cubicBezTo>
                  <a:pt x="51" y="9"/>
                  <a:pt x="51" y="9"/>
                  <a:pt x="50" y="9"/>
                </a:cubicBezTo>
                <a:close/>
                <a:moveTo>
                  <a:pt x="53" y="9"/>
                </a:moveTo>
                <a:cubicBezTo>
                  <a:pt x="53" y="9"/>
                  <a:pt x="56" y="10"/>
                  <a:pt x="55" y="10"/>
                </a:cubicBezTo>
                <a:cubicBezTo>
                  <a:pt x="53" y="10"/>
                  <a:pt x="51" y="10"/>
                  <a:pt x="53" y="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7" name="Freeform 241"/>
          <p:cNvSpPr>
            <a:spLocks/>
          </p:cNvSpPr>
          <p:nvPr/>
        </p:nvSpPr>
        <p:spPr bwMode="auto">
          <a:xfrm>
            <a:off x="3350317" y="4138166"/>
            <a:ext cx="11767" cy="875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5" y="3"/>
              </a:cxn>
              <a:cxn ang="0">
                <a:pos x="0" y="2"/>
              </a:cxn>
            </a:cxnLst>
            <a:rect l="0" t="0" r="r" b="b"/>
            <a:pathLst>
              <a:path w="5" h="3">
                <a:moveTo>
                  <a:pt x="0" y="2"/>
                </a:moveTo>
                <a:cubicBezTo>
                  <a:pt x="0" y="0"/>
                  <a:pt x="5" y="2"/>
                  <a:pt x="5" y="3"/>
                </a:cubicBezTo>
                <a:cubicBezTo>
                  <a:pt x="0" y="2"/>
                  <a:pt x="0" y="2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8" name="Freeform 242"/>
          <p:cNvSpPr>
            <a:spLocks/>
          </p:cNvSpPr>
          <p:nvPr/>
        </p:nvSpPr>
        <p:spPr bwMode="auto">
          <a:xfrm>
            <a:off x="3431381" y="4321983"/>
            <a:ext cx="14383" cy="16047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2" y="2"/>
              </a:cxn>
              <a:cxn ang="0">
                <a:pos x="3" y="3"/>
              </a:cxn>
              <a:cxn ang="0">
                <a:pos x="3" y="3"/>
              </a:cxn>
            </a:cxnLst>
            <a:rect l="0" t="0" r="r" b="b"/>
            <a:pathLst>
              <a:path w="6" h="6">
                <a:moveTo>
                  <a:pt x="3" y="3"/>
                </a:moveTo>
                <a:cubicBezTo>
                  <a:pt x="2" y="2"/>
                  <a:pt x="0" y="0"/>
                  <a:pt x="2" y="2"/>
                </a:cubicBezTo>
                <a:cubicBezTo>
                  <a:pt x="3" y="2"/>
                  <a:pt x="2" y="3"/>
                  <a:pt x="3" y="3"/>
                </a:cubicBezTo>
                <a:cubicBezTo>
                  <a:pt x="5" y="3"/>
                  <a:pt x="6" y="6"/>
                  <a:pt x="3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39" name="Freeform 243"/>
          <p:cNvSpPr>
            <a:spLocks/>
          </p:cNvSpPr>
          <p:nvPr/>
        </p:nvSpPr>
        <p:spPr bwMode="auto">
          <a:xfrm>
            <a:off x="3445763" y="4327818"/>
            <a:ext cx="7845" cy="10211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2" y="0"/>
              </a:cxn>
              <a:cxn ang="0">
                <a:pos x="2" y="3"/>
              </a:cxn>
              <a:cxn ang="0">
                <a:pos x="2" y="1"/>
              </a:cxn>
            </a:cxnLst>
            <a:rect l="0" t="0" r="r" b="b"/>
            <a:pathLst>
              <a:path w="3" h="4">
                <a:moveTo>
                  <a:pt x="2" y="1"/>
                </a:moveTo>
                <a:cubicBezTo>
                  <a:pt x="0" y="1"/>
                  <a:pt x="2" y="0"/>
                  <a:pt x="2" y="0"/>
                </a:cubicBezTo>
                <a:cubicBezTo>
                  <a:pt x="3" y="1"/>
                  <a:pt x="3" y="4"/>
                  <a:pt x="2" y="3"/>
                </a:cubicBezTo>
                <a:cubicBezTo>
                  <a:pt x="2" y="1"/>
                  <a:pt x="2" y="1"/>
                  <a:pt x="2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0" name="Freeform 244"/>
          <p:cNvSpPr>
            <a:spLocks/>
          </p:cNvSpPr>
          <p:nvPr/>
        </p:nvSpPr>
        <p:spPr bwMode="auto">
          <a:xfrm>
            <a:off x="3532057" y="4358453"/>
            <a:ext cx="15689" cy="875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2"/>
              </a:cxn>
              <a:cxn ang="0">
                <a:pos x="5" y="3"/>
              </a:cxn>
              <a:cxn ang="0">
                <a:pos x="2" y="3"/>
              </a:cxn>
              <a:cxn ang="0">
                <a:pos x="0" y="2"/>
              </a:cxn>
            </a:cxnLst>
            <a:rect l="0" t="0" r="r" b="b"/>
            <a:pathLst>
              <a:path w="6" h="3">
                <a:moveTo>
                  <a:pt x="0" y="2"/>
                </a:moveTo>
                <a:cubicBezTo>
                  <a:pt x="0" y="0"/>
                  <a:pt x="2" y="3"/>
                  <a:pt x="3" y="2"/>
                </a:cubicBezTo>
                <a:cubicBezTo>
                  <a:pt x="5" y="0"/>
                  <a:pt x="6" y="2"/>
                  <a:pt x="5" y="3"/>
                </a:cubicBezTo>
                <a:cubicBezTo>
                  <a:pt x="3" y="3"/>
                  <a:pt x="2" y="3"/>
                  <a:pt x="2" y="3"/>
                </a:cubicBezTo>
                <a:cubicBezTo>
                  <a:pt x="2" y="3"/>
                  <a:pt x="0" y="3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1" name="Freeform 245"/>
          <p:cNvSpPr>
            <a:spLocks/>
          </p:cNvSpPr>
          <p:nvPr/>
        </p:nvSpPr>
        <p:spPr bwMode="auto">
          <a:xfrm>
            <a:off x="3598739" y="4421184"/>
            <a:ext cx="2615" cy="2918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0" y="1"/>
              </a:cxn>
              <a:cxn ang="0">
                <a:pos x="1" y="0"/>
              </a:cxn>
            </a:cxnLst>
            <a:rect l="0" t="0" r="r" b="b"/>
            <a:pathLst>
              <a:path w="1" h="1">
                <a:moveTo>
                  <a:pt x="1" y="0"/>
                </a:moveTo>
                <a:cubicBezTo>
                  <a:pt x="0" y="1"/>
                  <a:pt x="0" y="1"/>
                  <a:pt x="0" y="1"/>
                </a:cubicBezTo>
                <a:cubicBezTo>
                  <a:pt x="0" y="0"/>
                  <a:pt x="0" y="0"/>
                  <a:pt x="1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2" name="Freeform 246"/>
          <p:cNvSpPr>
            <a:spLocks/>
          </p:cNvSpPr>
          <p:nvPr/>
        </p:nvSpPr>
        <p:spPr bwMode="auto">
          <a:xfrm>
            <a:off x="3593508" y="4424102"/>
            <a:ext cx="7845" cy="4377"/>
          </a:xfrm>
          <a:custGeom>
            <a:avLst/>
            <a:gdLst/>
            <a:ahLst/>
            <a:cxnLst>
              <a:cxn ang="0">
                <a:pos x="2" y="2"/>
              </a:cxn>
              <a:cxn ang="0">
                <a:pos x="3" y="0"/>
              </a:cxn>
              <a:cxn ang="0">
                <a:pos x="2" y="2"/>
              </a:cxn>
              <a:cxn ang="0">
                <a:pos x="2" y="2"/>
              </a:cxn>
            </a:cxnLst>
            <a:rect l="0" t="0" r="r" b="b"/>
            <a:pathLst>
              <a:path w="3" h="2">
                <a:moveTo>
                  <a:pt x="2" y="2"/>
                </a:moveTo>
                <a:cubicBezTo>
                  <a:pt x="2" y="0"/>
                  <a:pt x="2" y="0"/>
                  <a:pt x="3" y="0"/>
                </a:cubicBezTo>
                <a:cubicBezTo>
                  <a:pt x="3" y="0"/>
                  <a:pt x="3" y="2"/>
                  <a:pt x="2" y="2"/>
                </a:cubicBezTo>
                <a:cubicBezTo>
                  <a:pt x="2" y="2"/>
                  <a:pt x="0" y="2"/>
                  <a:pt x="2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3" name="Freeform 247"/>
          <p:cNvSpPr>
            <a:spLocks/>
          </p:cNvSpPr>
          <p:nvPr/>
        </p:nvSpPr>
        <p:spPr bwMode="auto">
          <a:xfrm>
            <a:off x="3601354" y="4428479"/>
            <a:ext cx="3922" cy="2918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0" y="0"/>
                  <a:pt x="0" y="0"/>
                  <a:pt x="0" y="0"/>
                </a:cubicBezTo>
                <a:cubicBezTo>
                  <a:pt x="2" y="0"/>
                  <a:pt x="0" y="0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4" name="Freeform 248"/>
          <p:cNvSpPr>
            <a:spLocks/>
          </p:cNvSpPr>
          <p:nvPr/>
        </p:nvSpPr>
        <p:spPr bwMode="auto">
          <a:xfrm>
            <a:off x="3598739" y="4421184"/>
            <a:ext cx="2615" cy="2918"/>
          </a:xfrm>
          <a:custGeom>
            <a:avLst/>
            <a:gdLst/>
            <a:ahLst/>
            <a:cxnLst>
              <a:cxn ang="0">
                <a:pos x="1" y="1"/>
              </a:cxn>
              <a:cxn ang="0">
                <a:pos x="1" y="0"/>
              </a:cxn>
              <a:cxn ang="0">
                <a:pos x="1" y="1"/>
              </a:cxn>
            </a:cxnLst>
            <a:rect l="0" t="0" r="r" b="b"/>
            <a:pathLst>
              <a:path w="1" h="1">
                <a:moveTo>
                  <a:pt x="1" y="1"/>
                </a:moveTo>
                <a:cubicBezTo>
                  <a:pt x="0" y="1"/>
                  <a:pt x="1" y="0"/>
                  <a:pt x="1" y="0"/>
                </a:cubicBezTo>
                <a:cubicBezTo>
                  <a:pt x="1" y="1"/>
                  <a:pt x="1" y="1"/>
                  <a:pt x="1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5" name="Freeform 249"/>
          <p:cNvSpPr>
            <a:spLocks/>
          </p:cNvSpPr>
          <p:nvPr/>
        </p:nvSpPr>
        <p:spPr bwMode="auto">
          <a:xfrm>
            <a:off x="3601354" y="4349700"/>
            <a:ext cx="6537" cy="14589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3" y="2"/>
              </a:cxn>
              <a:cxn ang="0">
                <a:pos x="0" y="3"/>
              </a:cxn>
            </a:cxnLst>
            <a:rect l="0" t="0" r="r" b="b"/>
            <a:pathLst>
              <a:path w="3" h="5">
                <a:moveTo>
                  <a:pt x="0" y="3"/>
                </a:moveTo>
                <a:cubicBezTo>
                  <a:pt x="0" y="2"/>
                  <a:pt x="3" y="0"/>
                  <a:pt x="3" y="2"/>
                </a:cubicBezTo>
                <a:cubicBezTo>
                  <a:pt x="3" y="3"/>
                  <a:pt x="0" y="5"/>
                  <a:pt x="0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6" name="Freeform 250"/>
          <p:cNvSpPr>
            <a:spLocks/>
          </p:cNvSpPr>
          <p:nvPr/>
        </p:nvSpPr>
        <p:spPr bwMode="auto">
          <a:xfrm>
            <a:off x="3577819" y="4367207"/>
            <a:ext cx="27457" cy="21883"/>
          </a:xfrm>
          <a:custGeom>
            <a:avLst/>
            <a:gdLst/>
            <a:ahLst/>
            <a:cxnLst>
              <a:cxn ang="0">
                <a:pos x="6" y="8"/>
              </a:cxn>
              <a:cxn ang="0">
                <a:pos x="1" y="8"/>
              </a:cxn>
              <a:cxn ang="0">
                <a:pos x="4" y="5"/>
              </a:cxn>
              <a:cxn ang="0">
                <a:pos x="4" y="2"/>
              </a:cxn>
              <a:cxn ang="0">
                <a:pos x="9" y="2"/>
              </a:cxn>
              <a:cxn ang="0">
                <a:pos x="6" y="8"/>
              </a:cxn>
            </a:cxnLst>
            <a:rect l="0" t="0" r="r" b="b"/>
            <a:pathLst>
              <a:path w="11" h="8">
                <a:moveTo>
                  <a:pt x="6" y="8"/>
                </a:moveTo>
                <a:cubicBezTo>
                  <a:pt x="1" y="8"/>
                  <a:pt x="0" y="8"/>
                  <a:pt x="1" y="8"/>
                </a:cubicBezTo>
                <a:cubicBezTo>
                  <a:pt x="4" y="6"/>
                  <a:pt x="4" y="6"/>
                  <a:pt x="4" y="5"/>
                </a:cubicBezTo>
                <a:cubicBezTo>
                  <a:pt x="4" y="2"/>
                  <a:pt x="1" y="2"/>
                  <a:pt x="4" y="2"/>
                </a:cubicBezTo>
                <a:cubicBezTo>
                  <a:pt x="9" y="0"/>
                  <a:pt x="11" y="0"/>
                  <a:pt x="9" y="2"/>
                </a:cubicBezTo>
                <a:cubicBezTo>
                  <a:pt x="8" y="3"/>
                  <a:pt x="11" y="8"/>
                  <a:pt x="6" y="8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7" name="Freeform 251"/>
          <p:cNvSpPr>
            <a:spLocks/>
          </p:cNvSpPr>
          <p:nvPr/>
        </p:nvSpPr>
        <p:spPr bwMode="auto">
          <a:xfrm>
            <a:off x="3580434" y="4327818"/>
            <a:ext cx="10460" cy="7295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2" y="0"/>
              </a:cxn>
              <a:cxn ang="0">
                <a:pos x="2" y="3"/>
              </a:cxn>
            </a:cxnLst>
            <a:rect l="0" t="0" r="r" b="b"/>
            <a:pathLst>
              <a:path w="4" h="3">
                <a:moveTo>
                  <a:pt x="2" y="3"/>
                </a:moveTo>
                <a:cubicBezTo>
                  <a:pt x="0" y="3"/>
                  <a:pt x="2" y="0"/>
                  <a:pt x="2" y="0"/>
                </a:cubicBezTo>
                <a:cubicBezTo>
                  <a:pt x="4" y="0"/>
                  <a:pt x="4" y="3"/>
                  <a:pt x="2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8" name="Freeform 252"/>
          <p:cNvSpPr>
            <a:spLocks/>
          </p:cNvSpPr>
          <p:nvPr/>
        </p:nvSpPr>
        <p:spPr bwMode="auto">
          <a:xfrm>
            <a:off x="3593508" y="4295722"/>
            <a:ext cx="5230" cy="875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cubicBezTo>
                  <a:pt x="0" y="2"/>
                  <a:pt x="0" y="0"/>
                  <a:pt x="2" y="0"/>
                </a:cubicBezTo>
                <a:cubicBezTo>
                  <a:pt x="2" y="0"/>
                  <a:pt x="2" y="3"/>
                  <a:pt x="0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9" name="Freeform 253"/>
          <p:cNvSpPr>
            <a:spLocks/>
          </p:cNvSpPr>
          <p:nvPr/>
        </p:nvSpPr>
        <p:spPr bwMode="auto">
          <a:xfrm>
            <a:off x="3598739" y="4276758"/>
            <a:ext cx="6537" cy="11671"/>
          </a:xfrm>
          <a:custGeom>
            <a:avLst/>
            <a:gdLst/>
            <a:ahLst/>
            <a:cxnLst>
              <a:cxn ang="0">
                <a:pos x="0" y="4"/>
              </a:cxn>
              <a:cxn ang="0">
                <a:pos x="1" y="1"/>
              </a:cxn>
              <a:cxn ang="0">
                <a:pos x="1" y="3"/>
              </a:cxn>
              <a:cxn ang="0">
                <a:pos x="0" y="4"/>
              </a:cxn>
            </a:cxnLst>
            <a:rect l="0" t="0" r="r" b="b"/>
            <a:pathLst>
              <a:path w="3" h="4">
                <a:moveTo>
                  <a:pt x="0" y="4"/>
                </a:moveTo>
                <a:cubicBezTo>
                  <a:pt x="0" y="3"/>
                  <a:pt x="0" y="1"/>
                  <a:pt x="1" y="1"/>
                </a:cubicBezTo>
                <a:cubicBezTo>
                  <a:pt x="1" y="0"/>
                  <a:pt x="3" y="1"/>
                  <a:pt x="1" y="3"/>
                </a:cubicBezTo>
                <a:cubicBezTo>
                  <a:pt x="1" y="4"/>
                  <a:pt x="1" y="4"/>
                  <a:pt x="0" y="4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0" name="Freeform 254"/>
          <p:cNvSpPr>
            <a:spLocks/>
          </p:cNvSpPr>
          <p:nvPr/>
        </p:nvSpPr>
        <p:spPr bwMode="auto">
          <a:xfrm>
            <a:off x="3590893" y="4234451"/>
            <a:ext cx="2615" cy="13129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0" y="2"/>
              </a:cxn>
              <a:cxn ang="0">
                <a:pos x="1" y="0"/>
              </a:cxn>
              <a:cxn ang="0">
                <a:pos x="1" y="3"/>
              </a:cxn>
            </a:cxnLst>
            <a:rect l="0" t="0" r="r" b="b"/>
            <a:pathLst>
              <a:path w="1" h="5">
                <a:moveTo>
                  <a:pt x="1" y="3"/>
                </a:moveTo>
                <a:cubicBezTo>
                  <a:pt x="0" y="5"/>
                  <a:pt x="1" y="3"/>
                  <a:pt x="0" y="2"/>
                </a:cubicBezTo>
                <a:cubicBezTo>
                  <a:pt x="0" y="0"/>
                  <a:pt x="0" y="0"/>
                  <a:pt x="1" y="0"/>
                </a:cubicBezTo>
                <a:cubicBezTo>
                  <a:pt x="1" y="3"/>
                  <a:pt x="1" y="3"/>
                  <a:pt x="1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1" name="Freeform 255"/>
          <p:cNvSpPr>
            <a:spLocks/>
          </p:cNvSpPr>
          <p:nvPr/>
        </p:nvSpPr>
        <p:spPr bwMode="auto">
          <a:xfrm>
            <a:off x="3623580" y="4295722"/>
            <a:ext cx="7845" cy="14589"/>
          </a:xfrm>
          <a:custGeom>
            <a:avLst/>
            <a:gdLst/>
            <a:ahLst/>
            <a:cxnLst>
              <a:cxn ang="0">
                <a:pos x="3" y="3"/>
              </a:cxn>
              <a:cxn ang="0">
                <a:pos x="2" y="2"/>
              </a:cxn>
              <a:cxn ang="0">
                <a:pos x="2" y="2"/>
              </a:cxn>
              <a:cxn ang="0">
                <a:pos x="3" y="3"/>
              </a:cxn>
            </a:cxnLst>
            <a:rect l="0" t="0" r="r" b="b"/>
            <a:pathLst>
              <a:path w="3" h="5">
                <a:moveTo>
                  <a:pt x="3" y="3"/>
                </a:moveTo>
                <a:cubicBezTo>
                  <a:pt x="2" y="5"/>
                  <a:pt x="0" y="3"/>
                  <a:pt x="2" y="2"/>
                </a:cubicBezTo>
                <a:cubicBezTo>
                  <a:pt x="2" y="0"/>
                  <a:pt x="2" y="0"/>
                  <a:pt x="2" y="2"/>
                </a:cubicBezTo>
                <a:cubicBezTo>
                  <a:pt x="3" y="2"/>
                  <a:pt x="3" y="2"/>
                  <a:pt x="3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2" name="Freeform 256"/>
          <p:cNvSpPr>
            <a:spLocks/>
          </p:cNvSpPr>
          <p:nvPr/>
        </p:nvSpPr>
        <p:spPr bwMode="auto">
          <a:xfrm>
            <a:off x="3509830" y="4160049"/>
            <a:ext cx="2615" cy="583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1" y="2"/>
              </a:cxn>
              <a:cxn ang="0">
                <a:pos x="0" y="2"/>
              </a:cxn>
            </a:cxnLst>
            <a:rect l="0" t="0" r="r" b="b"/>
            <a:pathLst>
              <a:path w="1" h="2">
                <a:moveTo>
                  <a:pt x="0" y="2"/>
                </a:moveTo>
                <a:cubicBezTo>
                  <a:pt x="0" y="2"/>
                  <a:pt x="1" y="0"/>
                  <a:pt x="1" y="2"/>
                </a:cubicBezTo>
                <a:cubicBezTo>
                  <a:pt x="0" y="2"/>
                  <a:pt x="0" y="2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3" name="Freeform 257"/>
          <p:cNvSpPr>
            <a:spLocks/>
          </p:cNvSpPr>
          <p:nvPr/>
        </p:nvSpPr>
        <p:spPr bwMode="auto">
          <a:xfrm>
            <a:off x="3518983" y="4174638"/>
            <a:ext cx="10460" cy="291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0"/>
              </a:cxn>
              <a:cxn ang="0">
                <a:pos x="0" y="0"/>
              </a:cxn>
            </a:cxnLst>
            <a:rect l="0" t="0" r="r" b="b"/>
            <a:pathLst>
              <a:path w="4" h="1">
                <a:moveTo>
                  <a:pt x="0" y="0"/>
                </a:moveTo>
                <a:cubicBezTo>
                  <a:pt x="0" y="0"/>
                  <a:pt x="2" y="0"/>
                  <a:pt x="4" y="0"/>
                </a:cubicBezTo>
                <a:cubicBezTo>
                  <a:pt x="4" y="0"/>
                  <a:pt x="0" y="1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4" name="Freeform 258"/>
          <p:cNvSpPr>
            <a:spLocks/>
          </p:cNvSpPr>
          <p:nvPr/>
        </p:nvSpPr>
        <p:spPr bwMode="auto">
          <a:xfrm>
            <a:off x="3593508" y="4250498"/>
            <a:ext cx="11767" cy="20424"/>
          </a:xfrm>
          <a:custGeom>
            <a:avLst/>
            <a:gdLst/>
            <a:ahLst/>
            <a:cxnLst>
              <a:cxn ang="0">
                <a:pos x="3" y="5"/>
              </a:cxn>
              <a:cxn ang="0">
                <a:pos x="2" y="2"/>
              </a:cxn>
              <a:cxn ang="0">
                <a:pos x="3" y="2"/>
              </a:cxn>
              <a:cxn ang="0">
                <a:pos x="5" y="7"/>
              </a:cxn>
              <a:cxn ang="0">
                <a:pos x="3" y="5"/>
              </a:cxn>
            </a:cxnLst>
            <a:rect l="0" t="0" r="r" b="b"/>
            <a:pathLst>
              <a:path w="5" h="7">
                <a:moveTo>
                  <a:pt x="3" y="5"/>
                </a:moveTo>
                <a:cubicBezTo>
                  <a:pt x="0" y="5"/>
                  <a:pt x="2" y="3"/>
                  <a:pt x="2" y="2"/>
                </a:cubicBezTo>
                <a:cubicBezTo>
                  <a:pt x="0" y="2"/>
                  <a:pt x="2" y="0"/>
                  <a:pt x="3" y="2"/>
                </a:cubicBezTo>
                <a:cubicBezTo>
                  <a:pt x="5" y="3"/>
                  <a:pt x="5" y="7"/>
                  <a:pt x="5" y="7"/>
                </a:cubicBezTo>
                <a:cubicBezTo>
                  <a:pt x="3" y="7"/>
                  <a:pt x="5" y="5"/>
                  <a:pt x="3" y="5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5" name="Freeform 259"/>
          <p:cNvSpPr>
            <a:spLocks/>
          </p:cNvSpPr>
          <p:nvPr/>
        </p:nvSpPr>
        <p:spPr bwMode="auto">
          <a:xfrm>
            <a:off x="3580434" y="4208192"/>
            <a:ext cx="10460" cy="17506"/>
          </a:xfrm>
          <a:custGeom>
            <a:avLst/>
            <a:gdLst/>
            <a:ahLst/>
            <a:cxnLst>
              <a:cxn ang="0">
                <a:pos x="2" y="5"/>
              </a:cxn>
              <a:cxn ang="0">
                <a:pos x="0" y="2"/>
              </a:cxn>
              <a:cxn ang="0">
                <a:pos x="2" y="3"/>
              </a:cxn>
              <a:cxn ang="0">
                <a:pos x="2" y="5"/>
              </a:cxn>
            </a:cxnLst>
            <a:rect l="0" t="0" r="r" b="b"/>
            <a:pathLst>
              <a:path w="4" h="6">
                <a:moveTo>
                  <a:pt x="2" y="5"/>
                </a:moveTo>
                <a:cubicBezTo>
                  <a:pt x="2" y="6"/>
                  <a:pt x="0" y="5"/>
                  <a:pt x="0" y="2"/>
                </a:cubicBezTo>
                <a:cubicBezTo>
                  <a:pt x="2" y="0"/>
                  <a:pt x="4" y="3"/>
                  <a:pt x="2" y="3"/>
                </a:cubicBezTo>
                <a:cubicBezTo>
                  <a:pt x="2" y="5"/>
                  <a:pt x="4" y="5"/>
                  <a:pt x="2" y="5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6" name="Freeform 260"/>
          <p:cNvSpPr>
            <a:spLocks/>
          </p:cNvSpPr>
          <p:nvPr/>
        </p:nvSpPr>
        <p:spPr bwMode="auto">
          <a:xfrm>
            <a:off x="3585664" y="4208192"/>
            <a:ext cx="13074" cy="8753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1" y="2"/>
              </a:cxn>
              <a:cxn ang="0">
                <a:pos x="3" y="2"/>
              </a:cxn>
              <a:cxn ang="0">
                <a:pos x="5" y="3"/>
              </a:cxn>
              <a:cxn ang="0">
                <a:pos x="3" y="3"/>
              </a:cxn>
              <a:cxn ang="0">
                <a:pos x="1" y="3"/>
              </a:cxn>
            </a:cxnLst>
            <a:rect l="0" t="0" r="r" b="b"/>
            <a:pathLst>
              <a:path w="5" h="3">
                <a:moveTo>
                  <a:pt x="1" y="3"/>
                </a:moveTo>
                <a:cubicBezTo>
                  <a:pt x="0" y="2"/>
                  <a:pt x="1" y="2"/>
                  <a:pt x="1" y="2"/>
                </a:cubicBezTo>
                <a:cubicBezTo>
                  <a:pt x="1" y="0"/>
                  <a:pt x="1" y="0"/>
                  <a:pt x="3" y="2"/>
                </a:cubicBezTo>
                <a:cubicBezTo>
                  <a:pt x="3" y="2"/>
                  <a:pt x="3" y="2"/>
                  <a:pt x="5" y="3"/>
                </a:cubicBezTo>
                <a:cubicBezTo>
                  <a:pt x="3" y="3"/>
                  <a:pt x="3" y="3"/>
                  <a:pt x="3" y="3"/>
                </a:cubicBezTo>
                <a:cubicBezTo>
                  <a:pt x="1" y="3"/>
                  <a:pt x="1" y="3"/>
                  <a:pt x="1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7" name="Freeform 261"/>
          <p:cNvSpPr>
            <a:spLocks/>
          </p:cNvSpPr>
          <p:nvPr/>
        </p:nvSpPr>
        <p:spPr bwMode="auto">
          <a:xfrm>
            <a:off x="3593508" y="4222780"/>
            <a:ext cx="5230" cy="2918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0" y="0"/>
              </a:cxn>
              <a:cxn ang="0">
                <a:pos x="0" y="1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0" y="1"/>
                  <a:pt x="0" y="1"/>
                  <a:pt x="0" y="0"/>
                </a:cubicBezTo>
                <a:cubicBezTo>
                  <a:pt x="0" y="0"/>
                  <a:pt x="2" y="1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8" name="Freeform 262"/>
          <p:cNvSpPr>
            <a:spLocks/>
          </p:cNvSpPr>
          <p:nvPr/>
        </p:nvSpPr>
        <p:spPr bwMode="auto">
          <a:xfrm>
            <a:off x="3555592" y="4165884"/>
            <a:ext cx="5230" cy="2918"/>
          </a:xfrm>
          <a:custGeom>
            <a:avLst/>
            <a:gdLst/>
            <a:ahLst/>
            <a:cxnLst>
              <a:cxn ang="0">
                <a:pos x="2" y="1"/>
              </a:cxn>
              <a:cxn ang="0">
                <a:pos x="2" y="0"/>
              </a:cxn>
              <a:cxn ang="0">
                <a:pos x="2" y="1"/>
              </a:cxn>
            </a:cxnLst>
            <a:rect l="0" t="0" r="r" b="b"/>
            <a:pathLst>
              <a:path w="2" h="1">
                <a:moveTo>
                  <a:pt x="2" y="1"/>
                </a:moveTo>
                <a:cubicBezTo>
                  <a:pt x="0" y="0"/>
                  <a:pt x="2" y="0"/>
                  <a:pt x="2" y="0"/>
                </a:cubicBezTo>
                <a:cubicBezTo>
                  <a:pt x="2" y="1"/>
                  <a:pt x="2" y="1"/>
                  <a:pt x="2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9" name="Freeform 263"/>
          <p:cNvSpPr>
            <a:spLocks/>
          </p:cNvSpPr>
          <p:nvPr/>
        </p:nvSpPr>
        <p:spPr bwMode="auto">
          <a:xfrm>
            <a:off x="3555592" y="4154214"/>
            <a:ext cx="5230" cy="11671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2" y="2"/>
              </a:cxn>
              <a:cxn ang="0">
                <a:pos x="0" y="2"/>
              </a:cxn>
            </a:cxnLst>
            <a:rect l="0" t="0" r="r" b="b"/>
            <a:pathLst>
              <a:path w="2" h="4">
                <a:moveTo>
                  <a:pt x="0" y="2"/>
                </a:moveTo>
                <a:cubicBezTo>
                  <a:pt x="0" y="2"/>
                  <a:pt x="2" y="0"/>
                  <a:pt x="2" y="2"/>
                </a:cubicBezTo>
                <a:cubicBezTo>
                  <a:pt x="2" y="2"/>
                  <a:pt x="0" y="4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0" name="Freeform 264"/>
          <p:cNvSpPr>
            <a:spLocks/>
          </p:cNvSpPr>
          <p:nvPr/>
        </p:nvSpPr>
        <p:spPr bwMode="auto">
          <a:xfrm>
            <a:off x="3572588" y="4199439"/>
            <a:ext cx="5230" cy="5835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0" y="0"/>
              </a:cxn>
              <a:cxn ang="0">
                <a:pos x="0" y="2"/>
              </a:cxn>
            </a:cxnLst>
            <a:rect l="0" t="0" r="r" b="b"/>
            <a:pathLst>
              <a:path w="2" h="2">
                <a:moveTo>
                  <a:pt x="0" y="2"/>
                </a:moveTo>
                <a:cubicBezTo>
                  <a:pt x="0" y="0"/>
                  <a:pt x="0" y="0"/>
                  <a:pt x="0" y="0"/>
                </a:cubicBezTo>
                <a:cubicBezTo>
                  <a:pt x="2" y="0"/>
                  <a:pt x="2" y="2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1" name="Freeform 265"/>
          <p:cNvSpPr>
            <a:spLocks/>
          </p:cNvSpPr>
          <p:nvPr/>
        </p:nvSpPr>
        <p:spPr bwMode="auto">
          <a:xfrm>
            <a:off x="3567359" y="4186308"/>
            <a:ext cx="2615" cy="5835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0" y="2"/>
              </a:cxn>
              <a:cxn ang="0">
                <a:pos x="1" y="2"/>
              </a:cxn>
            </a:cxnLst>
            <a:rect l="0" t="0" r="r" b="b"/>
            <a:pathLst>
              <a:path w="1" h="2">
                <a:moveTo>
                  <a:pt x="1" y="2"/>
                </a:moveTo>
                <a:cubicBezTo>
                  <a:pt x="0" y="2"/>
                  <a:pt x="0" y="2"/>
                  <a:pt x="0" y="2"/>
                </a:cubicBezTo>
                <a:cubicBezTo>
                  <a:pt x="0" y="0"/>
                  <a:pt x="1" y="2"/>
                  <a:pt x="1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2" name="Freeform 266"/>
          <p:cNvSpPr>
            <a:spLocks/>
          </p:cNvSpPr>
          <p:nvPr/>
        </p:nvSpPr>
        <p:spPr bwMode="auto">
          <a:xfrm>
            <a:off x="3562129" y="4183390"/>
            <a:ext cx="5230" cy="87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0" y="0"/>
              </a:cxn>
            </a:cxnLst>
            <a:rect l="0" t="0" r="r" b="b"/>
            <a:pathLst>
              <a:path w="2" h="3">
                <a:moveTo>
                  <a:pt x="0" y="0"/>
                </a:moveTo>
                <a:cubicBezTo>
                  <a:pt x="2" y="1"/>
                  <a:pt x="2" y="1"/>
                  <a:pt x="2" y="1"/>
                </a:cubicBezTo>
                <a:cubicBezTo>
                  <a:pt x="2" y="3"/>
                  <a:pt x="0" y="1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3" name="Freeform 267"/>
          <p:cNvSpPr>
            <a:spLocks/>
          </p:cNvSpPr>
          <p:nvPr/>
        </p:nvSpPr>
        <p:spPr bwMode="auto">
          <a:xfrm>
            <a:off x="3580434" y="4192145"/>
            <a:ext cx="5230" cy="2918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0" y="1"/>
              </a:cxn>
            </a:cxnLst>
            <a:rect l="0" t="0" r="r" b="b"/>
            <a:pathLst>
              <a:path w="2" h="1">
                <a:moveTo>
                  <a:pt x="0" y="1"/>
                </a:moveTo>
                <a:cubicBezTo>
                  <a:pt x="0" y="1"/>
                  <a:pt x="0" y="0"/>
                  <a:pt x="2" y="0"/>
                </a:cubicBezTo>
                <a:cubicBezTo>
                  <a:pt x="2" y="0"/>
                  <a:pt x="2" y="1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4" name="Freeform 268"/>
          <p:cNvSpPr>
            <a:spLocks/>
          </p:cNvSpPr>
          <p:nvPr/>
        </p:nvSpPr>
        <p:spPr bwMode="auto">
          <a:xfrm>
            <a:off x="3580434" y="4174638"/>
            <a:ext cx="5230" cy="8753"/>
          </a:xfrm>
          <a:custGeom>
            <a:avLst/>
            <a:gdLst/>
            <a:ahLst/>
            <a:cxnLst>
              <a:cxn ang="0">
                <a:pos x="0" y="1"/>
              </a:cxn>
              <a:cxn ang="0">
                <a:pos x="2" y="0"/>
              </a:cxn>
              <a:cxn ang="0">
                <a:pos x="0" y="1"/>
              </a:cxn>
            </a:cxnLst>
            <a:rect l="0" t="0" r="r" b="b"/>
            <a:pathLst>
              <a:path w="2" h="3">
                <a:moveTo>
                  <a:pt x="0" y="1"/>
                </a:moveTo>
                <a:cubicBezTo>
                  <a:pt x="0" y="1"/>
                  <a:pt x="0" y="0"/>
                  <a:pt x="2" y="0"/>
                </a:cubicBezTo>
                <a:cubicBezTo>
                  <a:pt x="2" y="1"/>
                  <a:pt x="2" y="3"/>
                  <a:pt x="0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5" name="Freeform 269"/>
          <p:cNvSpPr>
            <a:spLocks noEditPoints="1"/>
          </p:cNvSpPr>
          <p:nvPr/>
        </p:nvSpPr>
        <p:spPr bwMode="auto">
          <a:xfrm>
            <a:off x="1990539" y="1853601"/>
            <a:ext cx="1780787" cy="1601822"/>
          </a:xfrm>
          <a:custGeom>
            <a:avLst/>
            <a:gdLst/>
            <a:ahLst/>
            <a:cxnLst>
              <a:cxn ang="0">
                <a:pos x="116" y="479"/>
              </a:cxn>
              <a:cxn ang="0">
                <a:pos x="70" y="434"/>
              </a:cxn>
              <a:cxn ang="0">
                <a:pos x="70" y="438"/>
              </a:cxn>
              <a:cxn ang="0">
                <a:pos x="66" y="435"/>
              </a:cxn>
              <a:cxn ang="0">
                <a:pos x="86" y="426"/>
              </a:cxn>
              <a:cxn ang="0">
                <a:pos x="93" y="432"/>
              </a:cxn>
              <a:cxn ang="0">
                <a:pos x="177" y="170"/>
              </a:cxn>
              <a:cxn ang="0">
                <a:pos x="121" y="179"/>
              </a:cxn>
              <a:cxn ang="0">
                <a:pos x="306" y="213"/>
              </a:cxn>
              <a:cxn ang="0">
                <a:pos x="264" y="187"/>
              </a:cxn>
              <a:cxn ang="0">
                <a:pos x="182" y="177"/>
              </a:cxn>
              <a:cxn ang="0">
                <a:pos x="215" y="221"/>
              </a:cxn>
              <a:cxn ang="0">
                <a:pos x="284" y="168"/>
              </a:cxn>
              <a:cxn ang="0">
                <a:pos x="501" y="281"/>
              </a:cxn>
              <a:cxn ang="0">
                <a:pos x="606" y="303"/>
              </a:cxn>
              <a:cxn ang="0">
                <a:pos x="612" y="249"/>
              </a:cxn>
              <a:cxn ang="0">
                <a:pos x="510" y="171"/>
              </a:cxn>
              <a:cxn ang="0">
                <a:pos x="404" y="184"/>
              </a:cxn>
              <a:cxn ang="0">
                <a:pos x="463" y="297"/>
              </a:cxn>
              <a:cxn ang="0">
                <a:pos x="500" y="168"/>
              </a:cxn>
              <a:cxn ang="0">
                <a:pos x="483" y="140"/>
              </a:cxn>
              <a:cxn ang="0">
                <a:pos x="352" y="109"/>
              </a:cxn>
              <a:cxn ang="0">
                <a:pos x="370" y="180"/>
              </a:cxn>
              <a:cxn ang="0">
                <a:pos x="316" y="160"/>
              </a:cxn>
              <a:cxn ang="0">
                <a:pos x="287" y="73"/>
              </a:cxn>
              <a:cxn ang="0">
                <a:pos x="498" y="96"/>
              </a:cxn>
              <a:cxn ang="0">
                <a:pos x="602" y="5"/>
              </a:cxn>
              <a:cxn ang="0">
                <a:pos x="405" y="22"/>
              </a:cxn>
              <a:cxn ang="0">
                <a:pos x="431" y="53"/>
              </a:cxn>
              <a:cxn ang="0">
                <a:pos x="418" y="114"/>
              </a:cxn>
              <a:cxn ang="0">
                <a:pos x="431" y="72"/>
              </a:cxn>
              <a:cxn ang="0">
                <a:pos x="338" y="76"/>
              </a:cxn>
              <a:cxn ang="0">
                <a:pos x="244" y="112"/>
              </a:cxn>
              <a:cxn ang="0">
                <a:pos x="215" y="143"/>
              </a:cxn>
              <a:cxn ang="0">
                <a:pos x="157" y="120"/>
              </a:cxn>
              <a:cxn ang="0">
                <a:pos x="249" y="87"/>
              </a:cxn>
              <a:cxn ang="0">
                <a:pos x="303" y="126"/>
              </a:cxn>
              <a:cxn ang="0">
                <a:pos x="640" y="522"/>
              </a:cxn>
              <a:cxn ang="0">
                <a:pos x="687" y="501"/>
              </a:cxn>
              <a:cxn ang="0">
                <a:pos x="678" y="456"/>
              </a:cxn>
              <a:cxn ang="0">
                <a:pos x="401" y="494"/>
              </a:cxn>
              <a:cxn ang="0">
                <a:pos x="448" y="508"/>
              </a:cxn>
              <a:cxn ang="0">
                <a:pos x="472" y="529"/>
              </a:cxn>
              <a:cxn ang="0">
                <a:pos x="492" y="554"/>
              </a:cxn>
              <a:cxn ang="0">
                <a:pos x="561" y="521"/>
              </a:cxn>
              <a:cxn ang="0">
                <a:pos x="602" y="530"/>
              </a:cxn>
              <a:cxn ang="0">
                <a:pos x="649" y="463"/>
              </a:cxn>
              <a:cxn ang="0">
                <a:pos x="609" y="350"/>
              </a:cxn>
              <a:cxn ang="0">
                <a:pos x="501" y="356"/>
              </a:cxn>
              <a:cxn ang="0">
                <a:pos x="379" y="367"/>
              </a:cxn>
              <a:cxn ang="0">
                <a:pos x="462" y="258"/>
              </a:cxn>
              <a:cxn ang="0">
                <a:pos x="408" y="222"/>
              </a:cxn>
              <a:cxn ang="0">
                <a:pos x="361" y="240"/>
              </a:cxn>
              <a:cxn ang="0">
                <a:pos x="204" y="238"/>
              </a:cxn>
              <a:cxn ang="0">
                <a:pos x="52" y="227"/>
              </a:cxn>
              <a:cxn ang="0">
                <a:pos x="48" y="356"/>
              </a:cxn>
              <a:cxn ang="0">
                <a:pos x="96" y="432"/>
              </a:cxn>
              <a:cxn ang="0">
                <a:pos x="119" y="466"/>
              </a:cxn>
              <a:cxn ang="0">
                <a:pos x="484" y="317"/>
              </a:cxn>
              <a:cxn ang="0">
                <a:pos x="183" y="120"/>
              </a:cxn>
              <a:cxn ang="0">
                <a:pos x="305" y="115"/>
              </a:cxn>
              <a:cxn ang="0">
                <a:pos x="471" y="437"/>
              </a:cxn>
              <a:cxn ang="0">
                <a:pos x="494" y="398"/>
              </a:cxn>
            </a:cxnLst>
            <a:rect l="0" t="0" r="r" b="b"/>
            <a:pathLst>
              <a:path w="702" h="566">
                <a:moveTo>
                  <a:pt x="99" y="463"/>
                </a:moveTo>
                <a:cubicBezTo>
                  <a:pt x="102" y="462"/>
                  <a:pt x="107" y="463"/>
                  <a:pt x="108" y="465"/>
                </a:cubicBezTo>
                <a:cubicBezTo>
                  <a:pt x="110" y="466"/>
                  <a:pt x="122" y="468"/>
                  <a:pt x="124" y="470"/>
                </a:cubicBezTo>
                <a:cubicBezTo>
                  <a:pt x="125" y="474"/>
                  <a:pt x="128" y="476"/>
                  <a:pt x="128" y="476"/>
                </a:cubicBezTo>
                <a:cubicBezTo>
                  <a:pt x="127" y="477"/>
                  <a:pt x="130" y="480"/>
                  <a:pt x="133" y="480"/>
                </a:cubicBezTo>
                <a:cubicBezTo>
                  <a:pt x="136" y="482"/>
                  <a:pt x="136" y="485"/>
                  <a:pt x="137" y="485"/>
                </a:cubicBezTo>
                <a:cubicBezTo>
                  <a:pt x="139" y="487"/>
                  <a:pt x="137" y="488"/>
                  <a:pt x="139" y="488"/>
                </a:cubicBezTo>
                <a:cubicBezTo>
                  <a:pt x="140" y="490"/>
                  <a:pt x="140" y="493"/>
                  <a:pt x="139" y="491"/>
                </a:cubicBezTo>
                <a:cubicBezTo>
                  <a:pt x="139" y="491"/>
                  <a:pt x="139" y="493"/>
                  <a:pt x="136" y="493"/>
                </a:cubicBezTo>
                <a:cubicBezTo>
                  <a:pt x="133" y="491"/>
                  <a:pt x="133" y="490"/>
                  <a:pt x="130" y="490"/>
                </a:cubicBezTo>
                <a:cubicBezTo>
                  <a:pt x="127" y="490"/>
                  <a:pt x="125" y="487"/>
                  <a:pt x="125" y="485"/>
                </a:cubicBezTo>
                <a:cubicBezTo>
                  <a:pt x="127" y="485"/>
                  <a:pt x="125" y="485"/>
                  <a:pt x="124" y="485"/>
                </a:cubicBezTo>
                <a:cubicBezTo>
                  <a:pt x="122" y="485"/>
                  <a:pt x="119" y="484"/>
                  <a:pt x="121" y="482"/>
                </a:cubicBezTo>
                <a:cubicBezTo>
                  <a:pt x="121" y="480"/>
                  <a:pt x="119" y="482"/>
                  <a:pt x="119" y="480"/>
                </a:cubicBezTo>
                <a:cubicBezTo>
                  <a:pt x="118" y="479"/>
                  <a:pt x="118" y="479"/>
                  <a:pt x="116" y="479"/>
                </a:cubicBezTo>
                <a:cubicBezTo>
                  <a:pt x="113" y="480"/>
                  <a:pt x="113" y="477"/>
                  <a:pt x="115" y="477"/>
                </a:cubicBezTo>
                <a:cubicBezTo>
                  <a:pt x="118" y="476"/>
                  <a:pt x="115" y="477"/>
                  <a:pt x="113" y="474"/>
                </a:cubicBezTo>
                <a:cubicBezTo>
                  <a:pt x="113" y="471"/>
                  <a:pt x="110" y="476"/>
                  <a:pt x="110" y="474"/>
                </a:cubicBezTo>
                <a:cubicBezTo>
                  <a:pt x="108" y="473"/>
                  <a:pt x="110" y="471"/>
                  <a:pt x="110" y="471"/>
                </a:cubicBezTo>
                <a:cubicBezTo>
                  <a:pt x="108" y="470"/>
                  <a:pt x="107" y="474"/>
                  <a:pt x="107" y="471"/>
                </a:cubicBezTo>
                <a:cubicBezTo>
                  <a:pt x="107" y="470"/>
                  <a:pt x="104" y="473"/>
                  <a:pt x="104" y="471"/>
                </a:cubicBezTo>
                <a:cubicBezTo>
                  <a:pt x="102" y="471"/>
                  <a:pt x="105" y="470"/>
                  <a:pt x="104" y="470"/>
                </a:cubicBezTo>
                <a:cubicBezTo>
                  <a:pt x="102" y="468"/>
                  <a:pt x="104" y="466"/>
                  <a:pt x="107" y="466"/>
                </a:cubicBezTo>
                <a:cubicBezTo>
                  <a:pt x="108" y="466"/>
                  <a:pt x="105" y="465"/>
                  <a:pt x="104" y="466"/>
                </a:cubicBezTo>
                <a:cubicBezTo>
                  <a:pt x="101" y="466"/>
                  <a:pt x="98" y="463"/>
                  <a:pt x="99" y="463"/>
                </a:cubicBezTo>
                <a:close/>
                <a:moveTo>
                  <a:pt x="64" y="431"/>
                </a:moveTo>
                <a:cubicBezTo>
                  <a:pt x="66" y="431"/>
                  <a:pt x="67" y="432"/>
                  <a:pt x="66" y="432"/>
                </a:cubicBezTo>
                <a:cubicBezTo>
                  <a:pt x="64" y="431"/>
                  <a:pt x="64" y="432"/>
                  <a:pt x="66" y="432"/>
                </a:cubicBezTo>
                <a:cubicBezTo>
                  <a:pt x="67" y="434"/>
                  <a:pt x="64" y="434"/>
                  <a:pt x="67" y="434"/>
                </a:cubicBezTo>
                <a:cubicBezTo>
                  <a:pt x="70" y="434"/>
                  <a:pt x="67" y="434"/>
                  <a:pt x="70" y="434"/>
                </a:cubicBezTo>
                <a:cubicBezTo>
                  <a:pt x="72" y="432"/>
                  <a:pt x="70" y="428"/>
                  <a:pt x="72" y="426"/>
                </a:cubicBezTo>
                <a:cubicBezTo>
                  <a:pt x="73" y="425"/>
                  <a:pt x="73" y="421"/>
                  <a:pt x="72" y="423"/>
                </a:cubicBezTo>
                <a:cubicBezTo>
                  <a:pt x="70" y="425"/>
                  <a:pt x="69" y="423"/>
                  <a:pt x="69" y="425"/>
                </a:cubicBezTo>
                <a:cubicBezTo>
                  <a:pt x="70" y="426"/>
                  <a:pt x="70" y="428"/>
                  <a:pt x="67" y="428"/>
                </a:cubicBezTo>
                <a:cubicBezTo>
                  <a:pt x="66" y="429"/>
                  <a:pt x="64" y="428"/>
                  <a:pt x="66" y="428"/>
                </a:cubicBezTo>
                <a:cubicBezTo>
                  <a:pt x="69" y="426"/>
                  <a:pt x="70" y="426"/>
                  <a:pt x="69" y="423"/>
                </a:cubicBezTo>
                <a:cubicBezTo>
                  <a:pt x="67" y="421"/>
                  <a:pt x="67" y="423"/>
                  <a:pt x="66" y="423"/>
                </a:cubicBezTo>
                <a:cubicBezTo>
                  <a:pt x="64" y="421"/>
                  <a:pt x="64" y="423"/>
                  <a:pt x="64" y="421"/>
                </a:cubicBezTo>
                <a:cubicBezTo>
                  <a:pt x="63" y="421"/>
                  <a:pt x="61" y="421"/>
                  <a:pt x="61" y="423"/>
                </a:cubicBezTo>
                <a:cubicBezTo>
                  <a:pt x="63" y="425"/>
                  <a:pt x="61" y="425"/>
                  <a:pt x="63" y="428"/>
                </a:cubicBezTo>
                <a:cubicBezTo>
                  <a:pt x="64" y="429"/>
                  <a:pt x="61" y="428"/>
                  <a:pt x="63" y="431"/>
                </a:cubicBezTo>
                <a:cubicBezTo>
                  <a:pt x="64" y="431"/>
                  <a:pt x="63" y="431"/>
                  <a:pt x="64" y="431"/>
                </a:cubicBezTo>
                <a:close/>
                <a:moveTo>
                  <a:pt x="69" y="435"/>
                </a:moveTo>
                <a:cubicBezTo>
                  <a:pt x="69" y="435"/>
                  <a:pt x="70" y="437"/>
                  <a:pt x="69" y="437"/>
                </a:cubicBezTo>
                <a:cubicBezTo>
                  <a:pt x="67" y="437"/>
                  <a:pt x="69" y="438"/>
                  <a:pt x="70" y="438"/>
                </a:cubicBezTo>
                <a:cubicBezTo>
                  <a:pt x="72" y="438"/>
                  <a:pt x="70" y="440"/>
                  <a:pt x="70" y="440"/>
                </a:cubicBezTo>
                <a:cubicBezTo>
                  <a:pt x="70" y="440"/>
                  <a:pt x="70" y="442"/>
                  <a:pt x="73" y="443"/>
                </a:cubicBezTo>
                <a:cubicBezTo>
                  <a:pt x="75" y="445"/>
                  <a:pt x="73" y="445"/>
                  <a:pt x="75" y="445"/>
                </a:cubicBezTo>
                <a:cubicBezTo>
                  <a:pt x="75" y="446"/>
                  <a:pt x="75" y="446"/>
                  <a:pt x="77" y="446"/>
                </a:cubicBezTo>
                <a:cubicBezTo>
                  <a:pt x="78" y="448"/>
                  <a:pt x="78" y="446"/>
                  <a:pt x="78" y="445"/>
                </a:cubicBezTo>
                <a:cubicBezTo>
                  <a:pt x="77" y="445"/>
                  <a:pt x="77" y="445"/>
                  <a:pt x="77" y="445"/>
                </a:cubicBezTo>
                <a:cubicBezTo>
                  <a:pt x="77" y="443"/>
                  <a:pt x="77" y="443"/>
                  <a:pt x="77" y="443"/>
                </a:cubicBezTo>
                <a:cubicBezTo>
                  <a:pt x="75" y="445"/>
                  <a:pt x="75" y="443"/>
                  <a:pt x="75" y="443"/>
                </a:cubicBezTo>
                <a:cubicBezTo>
                  <a:pt x="73" y="443"/>
                  <a:pt x="72" y="440"/>
                  <a:pt x="72" y="440"/>
                </a:cubicBezTo>
                <a:cubicBezTo>
                  <a:pt x="73" y="438"/>
                  <a:pt x="72" y="440"/>
                  <a:pt x="72" y="438"/>
                </a:cubicBezTo>
                <a:cubicBezTo>
                  <a:pt x="70" y="437"/>
                  <a:pt x="73" y="438"/>
                  <a:pt x="73" y="437"/>
                </a:cubicBezTo>
                <a:cubicBezTo>
                  <a:pt x="73" y="437"/>
                  <a:pt x="73" y="437"/>
                  <a:pt x="73" y="435"/>
                </a:cubicBezTo>
                <a:cubicBezTo>
                  <a:pt x="73" y="435"/>
                  <a:pt x="72" y="435"/>
                  <a:pt x="72" y="434"/>
                </a:cubicBezTo>
                <a:cubicBezTo>
                  <a:pt x="72" y="434"/>
                  <a:pt x="72" y="432"/>
                  <a:pt x="70" y="434"/>
                </a:cubicBezTo>
                <a:cubicBezTo>
                  <a:pt x="69" y="435"/>
                  <a:pt x="66" y="435"/>
                  <a:pt x="66" y="435"/>
                </a:cubicBezTo>
                <a:cubicBezTo>
                  <a:pt x="67" y="437"/>
                  <a:pt x="67" y="435"/>
                  <a:pt x="69" y="435"/>
                </a:cubicBezTo>
                <a:close/>
                <a:moveTo>
                  <a:pt x="78" y="418"/>
                </a:moveTo>
                <a:cubicBezTo>
                  <a:pt x="78" y="417"/>
                  <a:pt x="80" y="415"/>
                  <a:pt x="81" y="417"/>
                </a:cubicBezTo>
                <a:cubicBezTo>
                  <a:pt x="81" y="417"/>
                  <a:pt x="80" y="420"/>
                  <a:pt x="78" y="418"/>
                </a:cubicBezTo>
                <a:close/>
                <a:moveTo>
                  <a:pt x="112" y="474"/>
                </a:moveTo>
                <a:cubicBezTo>
                  <a:pt x="113" y="474"/>
                  <a:pt x="115" y="476"/>
                  <a:pt x="113" y="477"/>
                </a:cubicBezTo>
                <a:cubicBezTo>
                  <a:pt x="113" y="477"/>
                  <a:pt x="110" y="476"/>
                  <a:pt x="112" y="474"/>
                </a:cubicBezTo>
                <a:close/>
                <a:moveTo>
                  <a:pt x="86" y="434"/>
                </a:moveTo>
                <a:cubicBezTo>
                  <a:pt x="87" y="435"/>
                  <a:pt x="89" y="434"/>
                  <a:pt x="87" y="432"/>
                </a:cubicBezTo>
                <a:cubicBezTo>
                  <a:pt x="87" y="431"/>
                  <a:pt x="86" y="431"/>
                  <a:pt x="84" y="429"/>
                </a:cubicBezTo>
                <a:cubicBezTo>
                  <a:pt x="81" y="428"/>
                  <a:pt x="83" y="429"/>
                  <a:pt x="83" y="431"/>
                </a:cubicBezTo>
                <a:cubicBezTo>
                  <a:pt x="84" y="432"/>
                  <a:pt x="86" y="432"/>
                  <a:pt x="86" y="434"/>
                </a:cubicBezTo>
                <a:close/>
                <a:moveTo>
                  <a:pt x="90" y="434"/>
                </a:moveTo>
                <a:cubicBezTo>
                  <a:pt x="90" y="432"/>
                  <a:pt x="90" y="432"/>
                  <a:pt x="90" y="431"/>
                </a:cubicBezTo>
                <a:cubicBezTo>
                  <a:pt x="89" y="429"/>
                  <a:pt x="87" y="428"/>
                  <a:pt x="86" y="426"/>
                </a:cubicBezTo>
                <a:cubicBezTo>
                  <a:pt x="84" y="425"/>
                  <a:pt x="84" y="426"/>
                  <a:pt x="84" y="428"/>
                </a:cubicBezTo>
                <a:cubicBezTo>
                  <a:pt x="86" y="428"/>
                  <a:pt x="86" y="429"/>
                  <a:pt x="87" y="429"/>
                </a:cubicBezTo>
                <a:cubicBezTo>
                  <a:pt x="87" y="429"/>
                  <a:pt x="87" y="431"/>
                  <a:pt x="89" y="434"/>
                </a:cubicBezTo>
                <a:cubicBezTo>
                  <a:pt x="90" y="434"/>
                  <a:pt x="90" y="434"/>
                  <a:pt x="90" y="434"/>
                </a:cubicBezTo>
                <a:close/>
                <a:moveTo>
                  <a:pt x="83" y="425"/>
                </a:moveTo>
                <a:cubicBezTo>
                  <a:pt x="83" y="426"/>
                  <a:pt x="83" y="426"/>
                  <a:pt x="84" y="426"/>
                </a:cubicBezTo>
                <a:cubicBezTo>
                  <a:pt x="86" y="425"/>
                  <a:pt x="84" y="423"/>
                  <a:pt x="83" y="423"/>
                </a:cubicBezTo>
                <a:cubicBezTo>
                  <a:pt x="81" y="423"/>
                  <a:pt x="81" y="425"/>
                  <a:pt x="81" y="426"/>
                </a:cubicBezTo>
                <a:cubicBezTo>
                  <a:pt x="81" y="428"/>
                  <a:pt x="81" y="425"/>
                  <a:pt x="83" y="425"/>
                </a:cubicBezTo>
                <a:close/>
                <a:moveTo>
                  <a:pt x="95" y="437"/>
                </a:moveTo>
                <a:cubicBezTo>
                  <a:pt x="96" y="437"/>
                  <a:pt x="93" y="438"/>
                  <a:pt x="93" y="438"/>
                </a:cubicBezTo>
                <a:cubicBezTo>
                  <a:pt x="93" y="440"/>
                  <a:pt x="95" y="442"/>
                  <a:pt x="96" y="440"/>
                </a:cubicBezTo>
                <a:cubicBezTo>
                  <a:pt x="96" y="437"/>
                  <a:pt x="96" y="442"/>
                  <a:pt x="96" y="442"/>
                </a:cubicBezTo>
                <a:cubicBezTo>
                  <a:pt x="98" y="442"/>
                  <a:pt x="98" y="440"/>
                  <a:pt x="98" y="437"/>
                </a:cubicBezTo>
                <a:cubicBezTo>
                  <a:pt x="98" y="435"/>
                  <a:pt x="95" y="432"/>
                  <a:pt x="93" y="432"/>
                </a:cubicBezTo>
                <a:cubicBezTo>
                  <a:pt x="93" y="432"/>
                  <a:pt x="95" y="435"/>
                  <a:pt x="93" y="435"/>
                </a:cubicBezTo>
                <a:cubicBezTo>
                  <a:pt x="93" y="435"/>
                  <a:pt x="92" y="438"/>
                  <a:pt x="93" y="437"/>
                </a:cubicBezTo>
                <a:cubicBezTo>
                  <a:pt x="95" y="437"/>
                  <a:pt x="95" y="435"/>
                  <a:pt x="95" y="437"/>
                </a:cubicBezTo>
                <a:close/>
                <a:moveTo>
                  <a:pt x="95" y="440"/>
                </a:moveTo>
                <a:cubicBezTo>
                  <a:pt x="93" y="440"/>
                  <a:pt x="92" y="438"/>
                  <a:pt x="92" y="440"/>
                </a:cubicBezTo>
                <a:cubicBezTo>
                  <a:pt x="92" y="440"/>
                  <a:pt x="93" y="442"/>
                  <a:pt x="95" y="443"/>
                </a:cubicBezTo>
                <a:cubicBezTo>
                  <a:pt x="95" y="445"/>
                  <a:pt x="95" y="442"/>
                  <a:pt x="95" y="440"/>
                </a:cubicBezTo>
                <a:close/>
                <a:moveTo>
                  <a:pt x="98" y="445"/>
                </a:moveTo>
                <a:cubicBezTo>
                  <a:pt x="96" y="445"/>
                  <a:pt x="96" y="443"/>
                  <a:pt x="96" y="443"/>
                </a:cubicBezTo>
                <a:cubicBezTo>
                  <a:pt x="98" y="443"/>
                  <a:pt x="98" y="445"/>
                  <a:pt x="98" y="445"/>
                </a:cubicBezTo>
                <a:close/>
                <a:moveTo>
                  <a:pt x="142" y="194"/>
                </a:moveTo>
                <a:cubicBezTo>
                  <a:pt x="143" y="196"/>
                  <a:pt x="148" y="193"/>
                  <a:pt x="151" y="190"/>
                </a:cubicBezTo>
                <a:cubicBezTo>
                  <a:pt x="156" y="188"/>
                  <a:pt x="154" y="191"/>
                  <a:pt x="160" y="190"/>
                </a:cubicBezTo>
                <a:cubicBezTo>
                  <a:pt x="166" y="187"/>
                  <a:pt x="160" y="179"/>
                  <a:pt x="168" y="177"/>
                </a:cubicBezTo>
                <a:cubicBezTo>
                  <a:pt x="174" y="177"/>
                  <a:pt x="169" y="173"/>
                  <a:pt x="177" y="170"/>
                </a:cubicBezTo>
                <a:cubicBezTo>
                  <a:pt x="186" y="166"/>
                  <a:pt x="191" y="162"/>
                  <a:pt x="197" y="162"/>
                </a:cubicBezTo>
                <a:cubicBezTo>
                  <a:pt x="207" y="159"/>
                  <a:pt x="203" y="156"/>
                  <a:pt x="200" y="156"/>
                </a:cubicBezTo>
                <a:cubicBezTo>
                  <a:pt x="195" y="154"/>
                  <a:pt x="192" y="146"/>
                  <a:pt x="182" y="146"/>
                </a:cubicBezTo>
                <a:cubicBezTo>
                  <a:pt x="172" y="146"/>
                  <a:pt x="177" y="149"/>
                  <a:pt x="174" y="151"/>
                </a:cubicBezTo>
                <a:cubicBezTo>
                  <a:pt x="172" y="151"/>
                  <a:pt x="174" y="149"/>
                  <a:pt x="172" y="148"/>
                </a:cubicBezTo>
                <a:cubicBezTo>
                  <a:pt x="171" y="146"/>
                  <a:pt x="171" y="148"/>
                  <a:pt x="166" y="146"/>
                </a:cubicBezTo>
                <a:cubicBezTo>
                  <a:pt x="157" y="145"/>
                  <a:pt x="159" y="140"/>
                  <a:pt x="150" y="143"/>
                </a:cubicBezTo>
                <a:cubicBezTo>
                  <a:pt x="142" y="145"/>
                  <a:pt x="127" y="145"/>
                  <a:pt x="130" y="146"/>
                </a:cubicBezTo>
                <a:cubicBezTo>
                  <a:pt x="131" y="148"/>
                  <a:pt x="130" y="151"/>
                  <a:pt x="134" y="152"/>
                </a:cubicBezTo>
                <a:cubicBezTo>
                  <a:pt x="139" y="154"/>
                  <a:pt x="134" y="156"/>
                  <a:pt x="134" y="157"/>
                </a:cubicBezTo>
                <a:cubicBezTo>
                  <a:pt x="134" y="160"/>
                  <a:pt x="131" y="157"/>
                  <a:pt x="131" y="160"/>
                </a:cubicBezTo>
                <a:cubicBezTo>
                  <a:pt x="131" y="163"/>
                  <a:pt x="127" y="165"/>
                  <a:pt x="128" y="165"/>
                </a:cubicBezTo>
                <a:cubicBezTo>
                  <a:pt x="131" y="166"/>
                  <a:pt x="133" y="168"/>
                  <a:pt x="128" y="168"/>
                </a:cubicBezTo>
                <a:cubicBezTo>
                  <a:pt x="125" y="168"/>
                  <a:pt x="125" y="168"/>
                  <a:pt x="127" y="171"/>
                </a:cubicBezTo>
                <a:cubicBezTo>
                  <a:pt x="127" y="173"/>
                  <a:pt x="121" y="176"/>
                  <a:pt x="121" y="179"/>
                </a:cubicBezTo>
                <a:cubicBezTo>
                  <a:pt x="121" y="180"/>
                  <a:pt x="119" y="180"/>
                  <a:pt x="121" y="182"/>
                </a:cubicBezTo>
                <a:cubicBezTo>
                  <a:pt x="122" y="182"/>
                  <a:pt x="124" y="182"/>
                  <a:pt x="133" y="185"/>
                </a:cubicBezTo>
                <a:cubicBezTo>
                  <a:pt x="139" y="188"/>
                  <a:pt x="139" y="193"/>
                  <a:pt x="142" y="194"/>
                </a:cubicBezTo>
                <a:close/>
                <a:moveTo>
                  <a:pt x="274" y="221"/>
                </a:moveTo>
                <a:cubicBezTo>
                  <a:pt x="274" y="226"/>
                  <a:pt x="274" y="221"/>
                  <a:pt x="282" y="224"/>
                </a:cubicBezTo>
                <a:cubicBezTo>
                  <a:pt x="290" y="226"/>
                  <a:pt x="280" y="224"/>
                  <a:pt x="285" y="227"/>
                </a:cubicBezTo>
                <a:cubicBezTo>
                  <a:pt x="290" y="229"/>
                  <a:pt x="288" y="226"/>
                  <a:pt x="294" y="227"/>
                </a:cubicBezTo>
                <a:cubicBezTo>
                  <a:pt x="300" y="229"/>
                  <a:pt x="297" y="227"/>
                  <a:pt x="300" y="227"/>
                </a:cubicBezTo>
                <a:cubicBezTo>
                  <a:pt x="303" y="229"/>
                  <a:pt x="305" y="226"/>
                  <a:pt x="308" y="226"/>
                </a:cubicBezTo>
                <a:cubicBezTo>
                  <a:pt x="309" y="226"/>
                  <a:pt x="312" y="222"/>
                  <a:pt x="309" y="221"/>
                </a:cubicBezTo>
                <a:cubicBezTo>
                  <a:pt x="308" y="219"/>
                  <a:pt x="311" y="219"/>
                  <a:pt x="308" y="218"/>
                </a:cubicBezTo>
                <a:cubicBezTo>
                  <a:pt x="305" y="218"/>
                  <a:pt x="299" y="222"/>
                  <a:pt x="300" y="219"/>
                </a:cubicBezTo>
                <a:cubicBezTo>
                  <a:pt x="303" y="216"/>
                  <a:pt x="296" y="216"/>
                  <a:pt x="297" y="215"/>
                </a:cubicBezTo>
                <a:cubicBezTo>
                  <a:pt x="299" y="215"/>
                  <a:pt x="303" y="218"/>
                  <a:pt x="305" y="216"/>
                </a:cubicBezTo>
                <a:cubicBezTo>
                  <a:pt x="308" y="215"/>
                  <a:pt x="302" y="216"/>
                  <a:pt x="306" y="213"/>
                </a:cubicBezTo>
                <a:cubicBezTo>
                  <a:pt x="309" y="212"/>
                  <a:pt x="309" y="216"/>
                  <a:pt x="312" y="215"/>
                </a:cubicBezTo>
                <a:cubicBezTo>
                  <a:pt x="314" y="213"/>
                  <a:pt x="312" y="216"/>
                  <a:pt x="316" y="216"/>
                </a:cubicBezTo>
                <a:cubicBezTo>
                  <a:pt x="319" y="216"/>
                  <a:pt x="319" y="212"/>
                  <a:pt x="317" y="210"/>
                </a:cubicBezTo>
                <a:cubicBezTo>
                  <a:pt x="317" y="207"/>
                  <a:pt x="312" y="210"/>
                  <a:pt x="312" y="207"/>
                </a:cubicBezTo>
                <a:cubicBezTo>
                  <a:pt x="312" y="205"/>
                  <a:pt x="311" y="208"/>
                  <a:pt x="303" y="202"/>
                </a:cubicBezTo>
                <a:cubicBezTo>
                  <a:pt x="300" y="201"/>
                  <a:pt x="299" y="201"/>
                  <a:pt x="300" y="202"/>
                </a:cubicBezTo>
                <a:cubicBezTo>
                  <a:pt x="300" y="204"/>
                  <a:pt x="294" y="202"/>
                  <a:pt x="293" y="199"/>
                </a:cubicBezTo>
                <a:cubicBezTo>
                  <a:pt x="291" y="194"/>
                  <a:pt x="287" y="196"/>
                  <a:pt x="290" y="193"/>
                </a:cubicBezTo>
                <a:cubicBezTo>
                  <a:pt x="291" y="190"/>
                  <a:pt x="291" y="187"/>
                  <a:pt x="288" y="184"/>
                </a:cubicBezTo>
                <a:cubicBezTo>
                  <a:pt x="285" y="182"/>
                  <a:pt x="285" y="173"/>
                  <a:pt x="280" y="168"/>
                </a:cubicBezTo>
                <a:cubicBezTo>
                  <a:pt x="277" y="163"/>
                  <a:pt x="279" y="166"/>
                  <a:pt x="273" y="162"/>
                </a:cubicBezTo>
                <a:cubicBezTo>
                  <a:pt x="267" y="159"/>
                  <a:pt x="271" y="165"/>
                  <a:pt x="264" y="162"/>
                </a:cubicBezTo>
                <a:cubicBezTo>
                  <a:pt x="261" y="160"/>
                  <a:pt x="258" y="162"/>
                  <a:pt x="259" y="166"/>
                </a:cubicBezTo>
                <a:cubicBezTo>
                  <a:pt x="262" y="171"/>
                  <a:pt x="261" y="177"/>
                  <a:pt x="267" y="182"/>
                </a:cubicBezTo>
                <a:cubicBezTo>
                  <a:pt x="270" y="184"/>
                  <a:pt x="265" y="185"/>
                  <a:pt x="264" y="187"/>
                </a:cubicBezTo>
                <a:cubicBezTo>
                  <a:pt x="264" y="187"/>
                  <a:pt x="262" y="187"/>
                  <a:pt x="259" y="180"/>
                </a:cubicBezTo>
                <a:cubicBezTo>
                  <a:pt x="256" y="176"/>
                  <a:pt x="258" y="171"/>
                  <a:pt x="252" y="170"/>
                </a:cubicBezTo>
                <a:cubicBezTo>
                  <a:pt x="245" y="168"/>
                  <a:pt x="252" y="168"/>
                  <a:pt x="247" y="166"/>
                </a:cubicBezTo>
                <a:cubicBezTo>
                  <a:pt x="241" y="165"/>
                  <a:pt x="236" y="165"/>
                  <a:pt x="241" y="168"/>
                </a:cubicBezTo>
                <a:cubicBezTo>
                  <a:pt x="245" y="170"/>
                  <a:pt x="241" y="171"/>
                  <a:pt x="244" y="171"/>
                </a:cubicBezTo>
                <a:cubicBezTo>
                  <a:pt x="247" y="171"/>
                  <a:pt x="250" y="174"/>
                  <a:pt x="242" y="173"/>
                </a:cubicBezTo>
                <a:cubicBezTo>
                  <a:pt x="236" y="171"/>
                  <a:pt x="239" y="179"/>
                  <a:pt x="236" y="176"/>
                </a:cubicBezTo>
                <a:cubicBezTo>
                  <a:pt x="232" y="173"/>
                  <a:pt x="241" y="171"/>
                  <a:pt x="232" y="168"/>
                </a:cubicBezTo>
                <a:cubicBezTo>
                  <a:pt x="223" y="166"/>
                  <a:pt x="221" y="166"/>
                  <a:pt x="218" y="168"/>
                </a:cubicBezTo>
                <a:cubicBezTo>
                  <a:pt x="215" y="170"/>
                  <a:pt x="223" y="170"/>
                  <a:pt x="212" y="173"/>
                </a:cubicBezTo>
                <a:cubicBezTo>
                  <a:pt x="206" y="174"/>
                  <a:pt x="215" y="170"/>
                  <a:pt x="213" y="168"/>
                </a:cubicBezTo>
                <a:cubicBezTo>
                  <a:pt x="213" y="165"/>
                  <a:pt x="217" y="163"/>
                  <a:pt x="212" y="160"/>
                </a:cubicBezTo>
                <a:cubicBezTo>
                  <a:pt x="207" y="159"/>
                  <a:pt x="198" y="165"/>
                  <a:pt x="192" y="166"/>
                </a:cubicBezTo>
                <a:cubicBezTo>
                  <a:pt x="188" y="166"/>
                  <a:pt x="185" y="170"/>
                  <a:pt x="180" y="173"/>
                </a:cubicBezTo>
                <a:cubicBezTo>
                  <a:pt x="174" y="176"/>
                  <a:pt x="182" y="176"/>
                  <a:pt x="182" y="177"/>
                </a:cubicBezTo>
                <a:cubicBezTo>
                  <a:pt x="182" y="179"/>
                  <a:pt x="178" y="177"/>
                  <a:pt x="175" y="180"/>
                </a:cubicBezTo>
                <a:cubicBezTo>
                  <a:pt x="172" y="185"/>
                  <a:pt x="172" y="188"/>
                  <a:pt x="175" y="187"/>
                </a:cubicBezTo>
                <a:cubicBezTo>
                  <a:pt x="178" y="185"/>
                  <a:pt x="178" y="188"/>
                  <a:pt x="180" y="190"/>
                </a:cubicBezTo>
                <a:cubicBezTo>
                  <a:pt x="182" y="191"/>
                  <a:pt x="191" y="190"/>
                  <a:pt x="194" y="188"/>
                </a:cubicBezTo>
                <a:cubicBezTo>
                  <a:pt x="195" y="188"/>
                  <a:pt x="203" y="190"/>
                  <a:pt x="188" y="193"/>
                </a:cubicBezTo>
                <a:cubicBezTo>
                  <a:pt x="178" y="194"/>
                  <a:pt x="177" y="196"/>
                  <a:pt x="182" y="199"/>
                </a:cubicBezTo>
                <a:cubicBezTo>
                  <a:pt x="186" y="202"/>
                  <a:pt x="186" y="202"/>
                  <a:pt x="192" y="201"/>
                </a:cubicBezTo>
                <a:cubicBezTo>
                  <a:pt x="198" y="201"/>
                  <a:pt x="195" y="202"/>
                  <a:pt x="203" y="202"/>
                </a:cubicBezTo>
                <a:cubicBezTo>
                  <a:pt x="210" y="202"/>
                  <a:pt x="212" y="199"/>
                  <a:pt x="218" y="202"/>
                </a:cubicBezTo>
                <a:cubicBezTo>
                  <a:pt x="226" y="204"/>
                  <a:pt x="224" y="201"/>
                  <a:pt x="227" y="204"/>
                </a:cubicBezTo>
                <a:cubicBezTo>
                  <a:pt x="230" y="205"/>
                  <a:pt x="236" y="207"/>
                  <a:pt x="232" y="207"/>
                </a:cubicBezTo>
                <a:cubicBezTo>
                  <a:pt x="226" y="207"/>
                  <a:pt x="230" y="208"/>
                  <a:pt x="221" y="207"/>
                </a:cubicBezTo>
                <a:cubicBezTo>
                  <a:pt x="213" y="205"/>
                  <a:pt x="200" y="207"/>
                  <a:pt x="191" y="208"/>
                </a:cubicBezTo>
                <a:cubicBezTo>
                  <a:pt x="183" y="210"/>
                  <a:pt x="189" y="215"/>
                  <a:pt x="194" y="218"/>
                </a:cubicBezTo>
                <a:cubicBezTo>
                  <a:pt x="197" y="222"/>
                  <a:pt x="212" y="221"/>
                  <a:pt x="215" y="221"/>
                </a:cubicBezTo>
                <a:cubicBezTo>
                  <a:pt x="220" y="221"/>
                  <a:pt x="215" y="227"/>
                  <a:pt x="218" y="229"/>
                </a:cubicBezTo>
                <a:cubicBezTo>
                  <a:pt x="220" y="232"/>
                  <a:pt x="220" y="233"/>
                  <a:pt x="224" y="232"/>
                </a:cubicBezTo>
                <a:cubicBezTo>
                  <a:pt x="232" y="232"/>
                  <a:pt x="235" y="233"/>
                  <a:pt x="236" y="232"/>
                </a:cubicBezTo>
                <a:cubicBezTo>
                  <a:pt x="239" y="230"/>
                  <a:pt x="252" y="230"/>
                  <a:pt x="256" y="227"/>
                </a:cubicBezTo>
                <a:cubicBezTo>
                  <a:pt x="261" y="224"/>
                  <a:pt x="262" y="227"/>
                  <a:pt x="267" y="224"/>
                </a:cubicBezTo>
                <a:cubicBezTo>
                  <a:pt x="271" y="221"/>
                  <a:pt x="267" y="221"/>
                  <a:pt x="271" y="219"/>
                </a:cubicBezTo>
                <a:cubicBezTo>
                  <a:pt x="273" y="218"/>
                  <a:pt x="274" y="218"/>
                  <a:pt x="274" y="221"/>
                </a:cubicBezTo>
                <a:close/>
                <a:moveTo>
                  <a:pt x="284" y="168"/>
                </a:moveTo>
                <a:cubicBezTo>
                  <a:pt x="284" y="166"/>
                  <a:pt x="285" y="166"/>
                  <a:pt x="287" y="163"/>
                </a:cubicBezTo>
                <a:cubicBezTo>
                  <a:pt x="288" y="160"/>
                  <a:pt x="291" y="157"/>
                  <a:pt x="288" y="157"/>
                </a:cubicBezTo>
                <a:cubicBezTo>
                  <a:pt x="285" y="156"/>
                  <a:pt x="287" y="154"/>
                  <a:pt x="279" y="154"/>
                </a:cubicBezTo>
                <a:cubicBezTo>
                  <a:pt x="270" y="156"/>
                  <a:pt x="267" y="159"/>
                  <a:pt x="271" y="159"/>
                </a:cubicBezTo>
                <a:cubicBezTo>
                  <a:pt x="276" y="160"/>
                  <a:pt x="276" y="162"/>
                  <a:pt x="276" y="162"/>
                </a:cubicBezTo>
                <a:cubicBezTo>
                  <a:pt x="276" y="163"/>
                  <a:pt x="279" y="165"/>
                  <a:pt x="282" y="168"/>
                </a:cubicBezTo>
                <a:cubicBezTo>
                  <a:pt x="284" y="168"/>
                  <a:pt x="284" y="168"/>
                  <a:pt x="284" y="168"/>
                </a:cubicBezTo>
                <a:close/>
                <a:moveTo>
                  <a:pt x="474" y="213"/>
                </a:moveTo>
                <a:cubicBezTo>
                  <a:pt x="480" y="218"/>
                  <a:pt x="480" y="216"/>
                  <a:pt x="475" y="212"/>
                </a:cubicBezTo>
                <a:cubicBezTo>
                  <a:pt x="471" y="207"/>
                  <a:pt x="483" y="212"/>
                  <a:pt x="491" y="212"/>
                </a:cubicBezTo>
                <a:cubicBezTo>
                  <a:pt x="498" y="213"/>
                  <a:pt x="491" y="202"/>
                  <a:pt x="495" y="205"/>
                </a:cubicBezTo>
                <a:cubicBezTo>
                  <a:pt x="498" y="210"/>
                  <a:pt x="501" y="204"/>
                  <a:pt x="503" y="210"/>
                </a:cubicBezTo>
                <a:cubicBezTo>
                  <a:pt x="503" y="216"/>
                  <a:pt x="504" y="215"/>
                  <a:pt x="513" y="218"/>
                </a:cubicBezTo>
                <a:cubicBezTo>
                  <a:pt x="521" y="221"/>
                  <a:pt x="518" y="224"/>
                  <a:pt x="513" y="224"/>
                </a:cubicBezTo>
                <a:cubicBezTo>
                  <a:pt x="509" y="224"/>
                  <a:pt x="507" y="230"/>
                  <a:pt x="513" y="229"/>
                </a:cubicBezTo>
                <a:cubicBezTo>
                  <a:pt x="521" y="227"/>
                  <a:pt x="530" y="230"/>
                  <a:pt x="532" y="233"/>
                </a:cubicBezTo>
                <a:cubicBezTo>
                  <a:pt x="533" y="236"/>
                  <a:pt x="539" y="235"/>
                  <a:pt x="541" y="241"/>
                </a:cubicBezTo>
                <a:cubicBezTo>
                  <a:pt x="541" y="247"/>
                  <a:pt x="547" y="250"/>
                  <a:pt x="542" y="252"/>
                </a:cubicBezTo>
                <a:cubicBezTo>
                  <a:pt x="539" y="255"/>
                  <a:pt x="538" y="258"/>
                  <a:pt x="530" y="263"/>
                </a:cubicBezTo>
                <a:cubicBezTo>
                  <a:pt x="524" y="268"/>
                  <a:pt x="539" y="277"/>
                  <a:pt x="533" y="274"/>
                </a:cubicBezTo>
                <a:cubicBezTo>
                  <a:pt x="526" y="272"/>
                  <a:pt x="527" y="280"/>
                  <a:pt x="512" y="277"/>
                </a:cubicBezTo>
                <a:cubicBezTo>
                  <a:pt x="497" y="272"/>
                  <a:pt x="509" y="277"/>
                  <a:pt x="501" y="281"/>
                </a:cubicBezTo>
                <a:cubicBezTo>
                  <a:pt x="494" y="285"/>
                  <a:pt x="503" y="295"/>
                  <a:pt x="513" y="289"/>
                </a:cubicBezTo>
                <a:cubicBezTo>
                  <a:pt x="524" y="285"/>
                  <a:pt x="523" y="294"/>
                  <a:pt x="527" y="289"/>
                </a:cubicBezTo>
                <a:cubicBezTo>
                  <a:pt x="532" y="285"/>
                  <a:pt x="530" y="294"/>
                  <a:pt x="532" y="291"/>
                </a:cubicBezTo>
                <a:cubicBezTo>
                  <a:pt x="533" y="288"/>
                  <a:pt x="532" y="285"/>
                  <a:pt x="541" y="294"/>
                </a:cubicBezTo>
                <a:cubicBezTo>
                  <a:pt x="548" y="305"/>
                  <a:pt x="545" y="295"/>
                  <a:pt x="551" y="300"/>
                </a:cubicBezTo>
                <a:cubicBezTo>
                  <a:pt x="556" y="305"/>
                  <a:pt x="541" y="299"/>
                  <a:pt x="550" y="306"/>
                </a:cubicBezTo>
                <a:cubicBezTo>
                  <a:pt x="555" y="313"/>
                  <a:pt x="564" y="309"/>
                  <a:pt x="567" y="314"/>
                </a:cubicBezTo>
                <a:cubicBezTo>
                  <a:pt x="571" y="319"/>
                  <a:pt x="582" y="320"/>
                  <a:pt x="590" y="323"/>
                </a:cubicBezTo>
                <a:cubicBezTo>
                  <a:pt x="597" y="327"/>
                  <a:pt x="596" y="319"/>
                  <a:pt x="590" y="314"/>
                </a:cubicBezTo>
                <a:cubicBezTo>
                  <a:pt x="583" y="308"/>
                  <a:pt x="570" y="302"/>
                  <a:pt x="571" y="299"/>
                </a:cubicBezTo>
                <a:cubicBezTo>
                  <a:pt x="573" y="295"/>
                  <a:pt x="580" y="306"/>
                  <a:pt x="580" y="302"/>
                </a:cubicBezTo>
                <a:cubicBezTo>
                  <a:pt x="582" y="299"/>
                  <a:pt x="586" y="308"/>
                  <a:pt x="594" y="309"/>
                </a:cubicBezTo>
                <a:cubicBezTo>
                  <a:pt x="600" y="309"/>
                  <a:pt x="603" y="322"/>
                  <a:pt x="603" y="314"/>
                </a:cubicBezTo>
                <a:cubicBezTo>
                  <a:pt x="602" y="306"/>
                  <a:pt x="605" y="316"/>
                  <a:pt x="603" y="306"/>
                </a:cubicBezTo>
                <a:cubicBezTo>
                  <a:pt x="603" y="299"/>
                  <a:pt x="605" y="311"/>
                  <a:pt x="606" y="303"/>
                </a:cubicBezTo>
                <a:cubicBezTo>
                  <a:pt x="608" y="295"/>
                  <a:pt x="600" y="300"/>
                  <a:pt x="603" y="295"/>
                </a:cubicBezTo>
                <a:cubicBezTo>
                  <a:pt x="606" y="292"/>
                  <a:pt x="597" y="295"/>
                  <a:pt x="600" y="291"/>
                </a:cubicBezTo>
                <a:cubicBezTo>
                  <a:pt x="603" y="288"/>
                  <a:pt x="602" y="286"/>
                  <a:pt x="593" y="283"/>
                </a:cubicBezTo>
                <a:cubicBezTo>
                  <a:pt x="585" y="280"/>
                  <a:pt x="588" y="271"/>
                  <a:pt x="583" y="272"/>
                </a:cubicBezTo>
                <a:cubicBezTo>
                  <a:pt x="577" y="274"/>
                  <a:pt x="576" y="269"/>
                  <a:pt x="582" y="269"/>
                </a:cubicBezTo>
                <a:cubicBezTo>
                  <a:pt x="588" y="268"/>
                  <a:pt x="577" y="261"/>
                  <a:pt x="582" y="263"/>
                </a:cubicBezTo>
                <a:cubicBezTo>
                  <a:pt x="588" y="264"/>
                  <a:pt x="585" y="257"/>
                  <a:pt x="590" y="263"/>
                </a:cubicBezTo>
                <a:cubicBezTo>
                  <a:pt x="593" y="268"/>
                  <a:pt x="594" y="263"/>
                  <a:pt x="596" y="268"/>
                </a:cubicBezTo>
                <a:cubicBezTo>
                  <a:pt x="596" y="271"/>
                  <a:pt x="599" y="268"/>
                  <a:pt x="599" y="272"/>
                </a:cubicBezTo>
                <a:cubicBezTo>
                  <a:pt x="599" y="275"/>
                  <a:pt x="618" y="289"/>
                  <a:pt x="615" y="278"/>
                </a:cubicBezTo>
                <a:cubicBezTo>
                  <a:pt x="614" y="268"/>
                  <a:pt x="626" y="275"/>
                  <a:pt x="625" y="271"/>
                </a:cubicBezTo>
                <a:cubicBezTo>
                  <a:pt x="622" y="266"/>
                  <a:pt x="628" y="269"/>
                  <a:pt x="625" y="266"/>
                </a:cubicBezTo>
                <a:cubicBezTo>
                  <a:pt x="623" y="263"/>
                  <a:pt x="634" y="264"/>
                  <a:pt x="629" y="257"/>
                </a:cubicBezTo>
                <a:cubicBezTo>
                  <a:pt x="625" y="247"/>
                  <a:pt x="615" y="260"/>
                  <a:pt x="618" y="252"/>
                </a:cubicBezTo>
                <a:cubicBezTo>
                  <a:pt x="620" y="244"/>
                  <a:pt x="609" y="254"/>
                  <a:pt x="612" y="249"/>
                </a:cubicBezTo>
                <a:cubicBezTo>
                  <a:pt x="614" y="244"/>
                  <a:pt x="611" y="246"/>
                  <a:pt x="605" y="241"/>
                </a:cubicBezTo>
                <a:cubicBezTo>
                  <a:pt x="599" y="236"/>
                  <a:pt x="590" y="241"/>
                  <a:pt x="588" y="235"/>
                </a:cubicBezTo>
                <a:cubicBezTo>
                  <a:pt x="588" y="229"/>
                  <a:pt x="571" y="235"/>
                  <a:pt x="579" y="230"/>
                </a:cubicBezTo>
                <a:cubicBezTo>
                  <a:pt x="586" y="226"/>
                  <a:pt x="573" y="221"/>
                  <a:pt x="580" y="222"/>
                </a:cubicBezTo>
                <a:cubicBezTo>
                  <a:pt x="588" y="224"/>
                  <a:pt x="594" y="219"/>
                  <a:pt x="582" y="218"/>
                </a:cubicBezTo>
                <a:cubicBezTo>
                  <a:pt x="568" y="216"/>
                  <a:pt x="580" y="216"/>
                  <a:pt x="585" y="213"/>
                </a:cubicBezTo>
                <a:cubicBezTo>
                  <a:pt x="590" y="210"/>
                  <a:pt x="579" y="205"/>
                  <a:pt x="576" y="207"/>
                </a:cubicBezTo>
                <a:cubicBezTo>
                  <a:pt x="574" y="208"/>
                  <a:pt x="564" y="208"/>
                  <a:pt x="571" y="205"/>
                </a:cubicBezTo>
                <a:cubicBezTo>
                  <a:pt x="579" y="204"/>
                  <a:pt x="579" y="204"/>
                  <a:pt x="570" y="199"/>
                </a:cubicBezTo>
                <a:cubicBezTo>
                  <a:pt x="559" y="194"/>
                  <a:pt x="558" y="204"/>
                  <a:pt x="558" y="198"/>
                </a:cubicBezTo>
                <a:cubicBezTo>
                  <a:pt x="559" y="190"/>
                  <a:pt x="553" y="196"/>
                  <a:pt x="553" y="193"/>
                </a:cubicBezTo>
                <a:cubicBezTo>
                  <a:pt x="553" y="188"/>
                  <a:pt x="545" y="184"/>
                  <a:pt x="541" y="190"/>
                </a:cubicBezTo>
                <a:cubicBezTo>
                  <a:pt x="535" y="194"/>
                  <a:pt x="535" y="188"/>
                  <a:pt x="532" y="182"/>
                </a:cubicBezTo>
                <a:cubicBezTo>
                  <a:pt x="529" y="176"/>
                  <a:pt x="527" y="184"/>
                  <a:pt x="524" y="177"/>
                </a:cubicBezTo>
                <a:cubicBezTo>
                  <a:pt x="519" y="171"/>
                  <a:pt x="513" y="174"/>
                  <a:pt x="510" y="171"/>
                </a:cubicBezTo>
                <a:cubicBezTo>
                  <a:pt x="507" y="170"/>
                  <a:pt x="498" y="166"/>
                  <a:pt x="495" y="174"/>
                </a:cubicBezTo>
                <a:cubicBezTo>
                  <a:pt x="492" y="182"/>
                  <a:pt x="488" y="170"/>
                  <a:pt x="483" y="174"/>
                </a:cubicBezTo>
                <a:cubicBezTo>
                  <a:pt x="478" y="180"/>
                  <a:pt x="474" y="180"/>
                  <a:pt x="477" y="177"/>
                </a:cubicBezTo>
                <a:cubicBezTo>
                  <a:pt x="481" y="173"/>
                  <a:pt x="480" y="165"/>
                  <a:pt x="475" y="163"/>
                </a:cubicBezTo>
                <a:cubicBezTo>
                  <a:pt x="471" y="162"/>
                  <a:pt x="475" y="156"/>
                  <a:pt x="471" y="156"/>
                </a:cubicBezTo>
                <a:cubicBezTo>
                  <a:pt x="465" y="154"/>
                  <a:pt x="443" y="157"/>
                  <a:pt x="442" y="163"/>
                </a:cubicBezTo>
                <a:cubicBezTo>
                  <a:pt x="442" y="171"/>
                  <a:pt x="433" y="162"/>
                  <a:pt x="439" y="173"/>
                </a:cubicBezTo>
                <a:cubicBezTo>
                  <a:pt x="445" y="184"/>
                  <a:pt x="433" y="176"/>
                  <a:pt x="437" y="182"/>
                </a:cubicBezTo>
                <a:cubicBezTo>
                  <a:pt x="443" y="190"/>
                  <a:pt x="446" y="182"/>
                  <a:pt x="446" y="188"/>
                </a:cubicBezTo>
                <a:cubicBezTo>
                  <a:pt x="448" y="193"/>
                  <a:pt x="428" y="185"/>
                  <a:pt x="433" y="177"/>
                </a:cubicBezTo>
                <a:cubicBezTo>
                  <a:pt x="437" y="170"/>
                  <a:pt x="427" y="174"/>
                  <a:pt x="434" y="165"/>
                </a:cubicBezTo>
                <a:cubicBezTo>
                  <a:pt x="442" y="156"/>
                  <a:pt x="445" y="157"/>
                  <a:pt x="445" y="154"/>
                </a:cubicBezTo>
                <a:cubicBezTo>
                  <a:pt x="445" y="152"/>
                  <a:pt x="428" y="151"/>
                  <a:pt x="418" y="159"/>
                </a:cubicBezTo>
                <a:cubicBezTo>
                  <a:pt x="405" y="165"/>
                  <a:pt x="411" y="166"/>
                  <a:pt x="408" y="170"/>
                </a:cubicBezTo>
                <a:cubicBezTo>
                  <a:pt x="404" y="173"/>
                  <a:pt x="405" y="176"/>
                  <a:pt x="404" y="184"/>
                </a:cubicBezTo>
                <a:cubicBezTo>
                  <a:pt x="402" y="191"/>
                  <a:pt x="404" y="191"/>
                  <a:pt x="414" y="193"/>
                </a:cubicBezTo>
                <a:cubicBezTo>
                  <a:pt x="425" y="193"/>
                  <a:pt x="428" y="198"/>
                  <a:pt x="419" y="196"/>
                </a:cubicBezTo>
                <a:cubicBezTo>
                  <a:pt x="410" y="196"/>
                  <a:pt x="405" y="196"/>
                  <a:pt x="414" y="204"/>
                </a:cubicBezTo>
                <a:cubicBezTo>
                  <a:pt x="422" y="212"/>
                  <a:pt x="428" y="204"/>
                  <a:pt x="433" y="208"/>
                </a:cubicBezTo>
                <a:cubicBezTo>
                  <a:pt x="439" y="213"/>
                  <a:pt x="445" y="210"/>
                  <a:pt x="446" y="210"/>
                </a:cubicBezTo>
                <a:cubicBezTo>
                  <a:pt x="456" y="213"/>
                  <a:pt x="454" y="208"/>
                  <a:pt x="463" y="213"/>
                </a:cubicBezTo>
                <a:cubicBezTo>
                  <a:pt x="471" y="215"/>
                  <a:pt x="468" y="207"/>
                  <a:pt x="474" y="213"/>
                </a:cubicBezTo>
                <a:close/>
                <a:moveTo>
                  <a:pt x="515" y="250"/>
                </a:moveTo>
                <a:cubicBezTo>
                  <a:pt x="527" y="249"/>
                  <a:pt x="521" y="244"/>
                  <a:pt x="523" y="238"/>
                </a:cubicBezTo>
                <a:cubicBezTo>
                  <a:pt x="524" y="233"/>
                  <a:pt x="510" y="232"/>
                  <a:pt x="507" y="240"/>
                </a:cubicBezTo>
                <a:cubicBezTo>
                  <a:pt x="504" y="246"/>
                  <a:pt x="503" y="250"/>
                  <a:pt x="515" y="250"/>
                </a:cubicBezTo>
                <a:close/>
                <a:moveTo>
                  <a:pt x="439" y="302"/>
                </a:moveTo>
                <a:cubicBezTo>
                  <a:pt x="439" y="308"/>
                  <a:pt x="445" y="309"/>
                  <a:pt x="448" y="303"/>
                </a:cubicBezTo>
                <a:cubicBezTo>
                  <a:pt x="449" y="299"/>
                  <a:pt x="453" y="303"/>
                  <a:pt x="454" y="297"/>
                </a:cubicBezTo>
                <a:cubicBezTo>
                  <a:pt x="456" y="292"/>
                  <a:pt x="463" y="294"/>
                  <a:pt x="463" y="297"/>
                </a:cubicBezTo>
                <a:cubicBezTo>
                  <a:pt x="465" y="302"/>
                  <a:pt x="466" y="299"/>
                  <a:pt x="472" y="300"/>
                </a:cubicBezTo>
                <a:cubicBezTo>
                  <a:pt x="477" y="303"/>
                  <a:pt x="483" y="300"/>
                  <a:pt x="480" y="295"/>
                </a:cubicBezTo>
                <a:cubicBezTo>
                  <a:pt x="475" y="291"/>
                  <a:pt x="477" y="295"/>
                  <a:pt x="472" y="294"/>
                </a:cubicBezTo>
                <a:cubicBezTo>
                  <a:pt x="468" y="292"/>
                  <a:pt x="471" y="286"/>
                  <a:pt x="463" y="285"/>
                </a:cubicBezTo>
                <a:cubicBezTo>
                  <a:pt x="456" y="281"/>
                  <a:pt x="451" y="272"/>
                  <a:pt x="446" y="277"/>
                </a:cubicBezTo>
                <a:cubicBezTo>
                  <a:pt x="443" y="280"/>
                  <a:pt x="442" y="268"/>
                  <a:pt x="437" y="269"/>
                </a:cubicBezTo>
                <a:cubicBezTo>
                  <a:pt x="434" y="271"/>
                  <a:pt x="431" y="283"/>
                  <a:pt x="433" y="291"/>
                </a:cubicBezTo>
                <a:cubicBezTo>
                  <a:pt x="434" y="297"/>
                  <a:pt x="424" y="295"/>
                  <a:pt x="427" y="300"/>
                </a:cubicBezTo>
                <a:cubicBezTo>
                  <a:pt x="428" y="303"/>
                  <a:pt x="440" y="297"/>
                  <a:pt x="439" y="302"/>
                </a:cubicBezTo>
                <a:close/>
                <a:moveTo>
                  <a:pt x="453" y="319"/>
                </a:moveTo>
                <a:cubicBezTo>
                  <a:pt x="448" y="314"/>
                  <a:pt x="463" y="306"/>
                  <a:pt x="468" y="309"/>
                </a:cubicBezTo>
                <a:cubicBezTo>
                  <a:pt x="472" y="311"/>
                  <a:pt x="457" y="323"/>
                  <a:pt x="453" y="319"/>
                </a:cubicBezTo>
                <a:close/>
                <a:moveTo>
                  <a:pt x="480" y="162"/>
                </a:moveTo>
                <a:cubicBezTo>
                  <a:pt x="483" y="163"/>
                  <a:pt x="478" y="166"/>
                  <a:pt x="486" y="170"/>
                </a:cubicBezTo>
                <a:cubicBezTo>
                  <a:pt x="492" y="171"/>
                  <a:pt x="492" y="166"/>
                  <a:pt x="500" y="168"/>
                </a:cubicBezTo>
                <a:cubicBezTo>
                  <a:pt x="507" y="170"/>
                  <a:pt x="516" y="170"/>
                  <a:pt x="513" y="166"/>
                </a:cubicBezTo>
                <a:cubicBezTo>
                  <a:pt x="509" y="162"/>
                  <a:pt x="506" y="156"/>
                  <a:pt x="495" y="156"/>
                </a:cubicBezTo>
                <a:cubicBezTo>
                  <a:pt x="484" y="157"/>
                  <a:pt x="477" y="151"/>
                  <a:pt x="477" y="157"/>
                </a:cubicBezTo>
                <a:cubicBezTo>
                  <a:pt x="477" y="160"/>
                  <a:pt x="475" y="160"/>
                  <a:pt x="480" y="162"/>
                </a:cubicBezTo>
                <a:close/>
                <a:moveTo>
                  <a:pt x="352" y="109"/>
                </a:moveTo>
                <a:cubicBezTo>
                  <a:pt x="357" y="114"/>
                  <a:pt x="360" y="112"/>
                  <a:pt x="361" y="115"/>
                </a:cubicBezTo>
                <a:cubicBezTo>
                  <a:pt x="361" y="118"/>
                  <a:pt x="369" y="117"/>
                  <a:pt x="375" y="115"/>
                </a:cubicBezTo>
                <a:cubicBezTo>
                  <a:pt x="383" y="114"/>
                  <a:pt x="381" y="118"/>
                  <a:pt x="387" y="121"/>
                </a:cubicBezTo>
                <a:cubicBezTo>
                  <a:pt x="392" y="125"/>
                  <a:pt x="381" y="129"/>
                  <a:pt x="386" y="132"/>
                </a:cubicBezTo>
                <a:cubicBezTo>
                  <a:pt x="390" y="134"/>
                  <a:pt x="386" y="137"/>
                  <a:pt x="390" y="140"/>
                </a:cubicBezTo>
                <a:cubicBezTo>
                  <a:pt x="396" y="143"/>
                  <a:pt x="393" y="138"/>
                  <a:pt x="402" y="142"/>
                </a:cubicBezTo>
                <a:cubicBezTo>
                  <a:pt x="411" y="146"/>
                  <a:pt x="416" y="135"/>
                  <a:pt x="416" y="140"/>
                </a:cubicBezTo>
                <a:cubicBezTo>
                  <a:pt x="414" y="146"/>
                  <a:pt x="421" y="143"/>
                  <a:pt x="440" y="143"/>
                </a:cubicBezTo>
                <a:cubicBezTo>
                  <a:pt x="462" y="145"/>
                  <a:pt x="457" y="135"/>
                  <a:pt x="459" y="140"/>
                </a:cubicBezTo>
                <a:cubicBezTo>
                  <a:pt x="460" y="145"/>
                  <a:pt x="483" y="145"/>
                  <a:pt x="483" y="140"/>
                </a:cubicBezTo>
                <a:cubicBezTo>
                  <a:pt x="483" y="135"/>
                  <a:pt x="492" y="138"/>
                  <a:pt x="486" y="135"/>
                </a:cubicBezTo>
                <a:cubicBezTo>
                  <a:pt x="481" y="132"/>
                  <a:pt x="489" y="132"/>
                  <a:pt x="486" y="128"/>
                </a:cubicBezTo>
                <a:cubicBezTo>
                  <a:pt x="483" y="123"/>
                  <a:pt x="477" y="126"/>
                  <a:pt x="475" y="123"/>
                </a:cubicBezTo>
                <a:cubicBezTo>
                  <a:pt x="472" y="120"/>
                  <a:pt x="463" y="123"/>
                  <a:pt x="448" y="125"/>
                </a:cubicBezTo>
                <a:cubicBezTo>
                  <a:pt x="431" y="126"/>
                  <a:pt x="439" y="131"/>
                  <a:pt x="430" y="128"/>
                </a:cubicBezTo>
                <a:cubicBezTo>
                  <a:pt x="422" y="125"/>
                  <a:pt x="422" y="131"/>
                  <a:pt x="416" y="126"/>
                </a:cubicBezTo>
                <a:cubicBezTo>
                  <a:pt x="411" y="121"/>
                  <a:pt x="414" y="129"/>
                  <a:pt x="411" y="128"/>
                </a:cubicBezTo>
                <a:cubicBezTo>
                  <a:pt x="407" y="126"/>
                  <a:pt x="411" y="125"/>
                  <a:pt x="407" y="121"/>
                </a:cubicBezTo>
                <a:cubicBezTo>
                  <a:pt x="404" y="117"/>
                  <a:pt x="401" y="121"/>
                  <a:pt x="401" y="118"/>
                </a:cubicBezTo>
                <a:cubicBezTo>
                  <a:pt x="399" y="115"/>
                  <a:pt x="411" y="120"/>
                  <a:pt x="410" y="117"/>
                </a:cubicBezTo>
                <a:cubicBezTo>
                  <a:pt x="410" y="114"/>
                  <a:pt x="404" y="115"/>
                  <a:pt x="399" y="112"/>
                </a:cubicBezTo>
                <a:cubicBezTo>
                  <a:pt x="393" y="109"/>
                  <a:pt x="392" y="109"/>
                  <a:pt x="384" y="111"/>
                </a:cubicBezTo>
                <a:cubicBezTo>
                  <a:pt x="378" y="112"/>
                  <a:pt x="376" y="104"/>
                  <a:pt x="372" y="104"/>
                </a:cubicBezTo>
                <a:cubicBezTo>
                  <a:pt x="369" y="106"/>
                  <a:pt x="360" y="103"/>
                  <a:pt x="351" y="103"/>
                </a:cubicBezTo>
                <a:cubicBezTo>
                  <a:pt x="347" y="103"/>
                  <a:pt x="347" y="106"/>
                  <a:pt x="352" y="109"/>
                </a:cubicBezTo>
                <a:close/>
                <a:moveTo>
                  <a:pt x="357" y="137"/>
                </a:moveTo>
                <a:cubicBezTo>
                  <a:pt x="364" y="138"/>
                  <a:pt x="361" y="142"/>
                  <a:pt x="372" y="142"/>
                </a:cubicBezTo>
                <a:cubicBezTo>
                  <a:pt x="381" y="142"/>
                  <a:pt x="378" y="134"/>
                  <a:pt x="373" y="129"/>
                </a:cubicBezTo>
                <a:cubicBezTo>
                  <a:pt x="367" y="123"/>
                  <a:pt x="360" y="125"/>
                  <a:pt x="355" y="131"/>
                </a:cubicBezTo>
                <a:cubicBezTo>
                  <a:pt x="354" y="134"/>
                  <a:pt x="351" y="137"/>
                  <a:pt x="357" y="137"/>
                </a:cubicBezTo>
                <a:close/>
                <a:moveTo>
                  <a:pt x="373" y="177"/>
                </a:moveTo>
                <a:cubicBezTo>
                  <a:pt x="373" y="174"/>
                  <a:pt x="378" y="176"/>
                  <a:pt x="375" y="171"/>
                </a:cubicBezTo>
                <a:cubicBezTo>
                  <a:pt x="372" y="165"/>
                  <a:pt x="387" y="174"/>
                  <a:pt x="390" y="166"/>
                </a:cubicBezTo>
                <a:cubicBezTo>
                  <a:pt x="395" y="159"/>
                  <a:pt x="407" y="154"/>
                  <a:pt x="398" y="151"/>
                </a:cubicBezTo>
                <a:cubicBezTo>
                  <a:pt x="390" y="148"/>
                  <a:pt x="390" y="152"/>
                  <a:pt x="386" y="151"/>
                </a:cubicBezTo>
                <a:cubicBezTo>
                  <a:pt x="381" y="148"/>
                  <a:pt x="379" y="146"/>
                  <a:pt x="367" y="149"/>
                </a:cubicBezTo>
                <a:cubicBezTo>
                  <a:pt x="357" y="151"/>
                  <a:pt x="364" y="154"/>
                  <a:pt x="361" y="154"/>
                </a:cubicBezTo>
                <a:cubicBezTo>
                  <a:pt x="358" y="154"/>
                  <a:pt x="358" y="154"/>
                  <a:pt x="358" y="163"/>
                </a:cubicBezTo>
                <a:cubicBezTo>
                  <a:pt x="358" y="171"/>
                  <a:pt x="363" y="171"/>
                  <a:pt x="363" y="176"/>
                </a:cubicBezTo>
                <a:cubicBezTo>
                  <a:pt x="361" y="182"/>
                  <a:pt x="366" y="177"/>
                  <a:pt x="370" y="180"/>
                </a:cubicBezTo>
                <a:cubicBezTo>
                  <a:pt x="372" y="180"/>
                  <a:pt x="372" y="180"/>
                  <a:pt x="373" y="177"/>
                </a:cubicBezTo>
                <a:close/>
                <a:moveTo>
                  <a:pt x="317" y="162"/>
                </a:moveTo>
                <a:cubicBezTo>
                  <a:pt x="323" y="163"/>
                  <a:pt x="323" y="168"/>
                  <a:pt x="319" y="170"/>
                </a:cubicBezTo>
                <a:cubicBezTo>
                  <a:pt x="312" y="173"/>
                  <a:pt x="308" y="160"/>
                  <a:pt x="303" y="166"/>
                </a:cubicBezTo>
                <a:cubicBezTo>
                  <a:pt x="300" y="170"/>
                  <a:pt x="308" y="176"/>
                  <a:pt x="317" y="179"/>
                </a:cubicBezTo>
                <a:cubicBezTo>
                  <a:pt x="328" y="182"/>
                  <a:pt x="329" y="191"/>
                  <a:pt x="335" y="191"/>
                </a:cubicBezTo>
                <a:cubicBezTo>
                  <a:pt x="341" y="193"/>
                  <a:pt x="337" y="185"/>
                  <a:pt x="341" y="187"/>
                </a:cubicBezTo>
                <a:cubicBezTo>
                  <a:pt x="344" y="188"/>
                  <a:pt x="352" y="185"/>
                  <a:pt x="352" y="179"/>
                </a:cubicBezTo>
                <a:cubicBezTo>
                  <a:pt x="352" y="174"/>
                  <a:pt x="355" y="177"/>
                  <a:pt x="354" y="171"/>
                </a:cubicBezTo>
                <a:cubicBezTo>
                  <a:pt x="352" y="166"/>
                  <a:pt x="351" y="174"/>
                  <a:pt x="347" y="168"/>
                </a:cubicBezTo>
                <a:cubicBezTo>
                  <a:pt x="343" y="163"/>
                  <a:pt x="335" y="163"/>
                  <a:pt x="344" y="162"/>
                </a:cubicBezTo>
                <a:cubicBezTo>
                  <a:pt x="352" y="160"/>
                  <a:pt x="341" y="159"/>
                  <a:pt x="347" y="157"/>
                </a:cubicBezTo>
                <a:cubicBezTo>
                  <a:pt x="352" y="154"/>
                  <a:pt x="346" y="151"/>
                  <a:pt x="338" y="154"/>
                </a:cubicBezTo>
                <a:cubicBezTo>
                  <a:pt x="331" y="157"/>
                  <a:pt x="326" y="149"/>
                  <a:pt x="320" y="152"/>
                </a:cubicBezTo>
                <a:cubicBezTo>
                  <a:pt x="314" y="156"/>
                  <a:pt x="308" y="157"/>
                  <a:pt x="316" y="160"/>
                </a:cubicBezTo>
                <a:cubicBezTo>
                  <a:pt x="317" y="162"/>
                  <a:pt x="317" y="162"/>
                  <a:pt x="317" y="162"/>
                </a:cubicBezTo>
                <a:close/>
                <a:moveTo>
                  <a:pt x="341" y="230"/>
                </a:moveTo>
                <a:cubicBezTo>
                  <a:pt x="347" y="230"/>
                  <a:pt x="351" y="235"/>
                  <a:pt x="355" y="232"/>
                </a:cubicBezTo>
                <a:cubicBezTo>
                  <a:pt x="360" y="227"/>
                  <a:pt x="360" y="232"/>
                  <a:pt x="363" y="229"/>
                </a:cubicBezTo>
                <a:cubicBezTo>
                  <a:pt x="364" y="224"/>
                  <a:pt x="360" y="229"/>
                  <a:pt x="357" y="224"/>
                </a:cubicBezTo>
                <a:cubicBezTo>
                  <a:pt x="354" y="218"/>
                  <a:pt x="354" y="222"/>
                  <a:pt x="347" y="216"/>
                </a:cubicBezTo>
                <a:cubicBezTo>
                  <a:pt x="341" y="210"/>
                  <a:pt x="340" y="212"/>
                  <a:pt x="335" y="219"/>
                </a:cubicBezTo>
                <a:cubicBezTo>
                  <a:pt x="331" y="226"/>
                  <a:pt x="325" y="221"/>
                  <a:pt x="329" y="226"/>
                </a:cubicBezTo>
                <a:cubicBezTo>
                  <a:pt x="331" y="229"/>
                  <a:pt x="335" y="229"/>
                  <a:pt x="341" y="230"/>
                </a:cubicBezTo>
                <a:close/>
                <a:moveTo>
                  <a:pt x="326" y="81"/>
                </a:moveTo>
                <a:cubicBezTo>
                  <a:pt x="331" y="79"/>
                  <a:pt x="331" y="75"/>
                  <a:pt x="322" y="75"/>
                </a:cubicBezTo>
                <a:cubicBezTo>
                  <a:pt x="312" y="73"/>
                  <a:pt x="320" y="73"/>
                  <a:pt x="312" y="70"/>
                </a:cubicBezTo>
                <a:cubicBezTo>
                  <a:pt x="305" y="67"/>
                  <a:pt x="306" y="75"/>
                  <a:pt x="303" y="70"/>
                </a:cubicBezTo>
                <a:cubicBezTo>
                  <a:pt x="302" y="65"/>
                  <a:pt x="282" y="61"/>
                  <a:pt x="280" y="68"/>
                </a:cubicBezTo>
                <a:cubicBezTo>
                  <a:pt x="279" y="75"/>
                  <a:pt x="287" y="67"/>
                  <a:pt x="287" y="73"/>
                </a:cubicBezTo>
                <a:cubicBezTo>
                  <a:pt x="285" y="78"/>
                  <a:pt x="290" y="70"/>
                  <a:pt x="293" y="75"/>
                </a:cubicBezTo>
                <a:cubicBezTo>
                  <a:pt x="297" y="81"/>
                  <a:pt x="290" y="78"/>
                  <a:pt x="285" y="79"/>
                </a:cubicBezTo>
                <a:cubicBezTo>
                  <a:pt x="284" y="79"/>
                  <a:pt x="285" y="86"/>
                  <a:pt x="296" y="82"/>
                </a:cubicBezTo>
                <a:cubicBezTo>
                  <a:pt x="308" y="79"/>
                  <a:pt x="297" y="84"/>
                  <a:pt x="309" y="82"/>
                </a:cubicBezTo>
                <a:cubicBezTo>
                  <a:pt x="320" y="81"/>
                  <a:pt x="312" y="93"/>
                  <a:pt x="328" y="90"/>
                </a:cubicBezTo>
                <a:cubicBezTo>
                  <a:pt x="340" y="89"/>
                  <a:pt x="323" y="81"/>
                  <a:pt x="326" y="81"/>
                </a:cubicBezTo>
                <a:close/>
                <a:moveTo>
                  <a:pt x="418" y="114"/>
                </a:moveTo>
                <a:cubicBezTo>
                  <a:pt x="421" y="117"/>
                  <a:pt x="427" y="114"/>
                  <a:pt x="430" y="112"/>
                </a:cubicBezTo>
                <a:cubicBezTo>
                  <a:pt x="433" y="111"/>
                  <a:pt x="434" y="115"/>
                  <a:pt x="443" y="115"/>
                </a:cubicBezTo>
                <a:cubicBezTo>
                  <a:pt x="453" y="115"/>
                  <a:pt x="446" y="111"/>
                  <a:pt x="456" y="114"/>
                </a:cubicBezTo>
                <a:cubicBezTo>
                  <a:pt x="466" y="117"/>
                  <a:pt x="478" y="107"/>
                  <a:pt x="477" y="114"/>
                </a:cubicBezTo>
                <a:cubicBezTo>
                  <a:pt x="474" y="120"/>
                  <a:pt x="484" y="117"/>
                  <a:pt x="491" y="114"/>
                </a:cubicBezTo>
                <a:cubicBezTo>
                  <a:pt x="495" y="111"/>
                  <a:pt x="500" y="115"/>
                  <a:pt x="501" y="107"/>
                </a:cubicBezTo>
                <a:cubicBezTo>
                  <a:pt x="501" y="101"/>
                  <a:pt x="491" y="107"/>
                  <a:pt x="491" y="103"/>
                </a:cubicBezTo>
                <a:cubicBezTo>
                  <a:pt x="491" y="98"/>
                  <a:pt x="494" y="100"/>
                  <a:pt x="498" y="96"/>
                </a:cubicBezTo>
                <a:cubicBezTo>
                  <a:pt x="504" y="93"/>
                  <a:pt x="491" y="86"/>
                  <a:pt x="504" y="89"/>
                </a:cubicBezTo>
                <a:cubicBezTo>
                  <a:pt x="515" y="90"/>
                  <a:pt x="524" y="84"/>
                  <a:pt x="521" y="81"/>
                </a:cubicBezTo>
                <a:cubicBezTo>
                  <a:pt x="518" y="78"/>
                  <a:pt x="532" y="78"/>
                  <a:pt x="519" y="73"/>
                </a:cubicBezTo>
                <a:cubicBezTo>
                  <a:pt x="509" y="67"/>
                  <a:pt x="529" y="75"/>
                  <a:pt x="527" y="70"/>
                </a:cubicBezTo>
                <a:cubicBezTo>
                  <a:pt x="524" y="65"/>
                  <a:pt x="521" y="67"/>
                  <a:pt x="516" y="67"/>
                </a:cubicBezTo>
                <a:cubicBezTo>
                  <a:pt x="510" y="67"/>
                  <a:pt x="501" y="68"/>
                  <a:pt x="504" y="65"/>
                </a:cubicBezTo>
                <a:cubicBezTo>
                  <a:pt x="507" y="64"/>
                  <a:pt x="526" y="64"/>
                  <a:pt x="533" y="62"/>
                </a:cubicBezTo>
                <a:cubicBezTo>
                  <a:pt x="542" y="62"/>
                  <a:pt x="535" y="56"/>
                  <a:pt x="539" y="59"/>
                </a:cubicBezTo>
                <a:cubicBezTo>
                  <a:pt x="544" y="61"/>
                  <a:pt x="551" y="61"/>
                  <a:pt x="556" y="56"/>
                </a:cubicBezTo>
                <a:cubicBezTo>
                  <a:pt x="561" y="50"/>
                  <a:pt x="571" y="45"/>
                  <a:pt x="591" y="37"/>
                </a:cubicBezTo>
                <a:cubicBezTo>
                  <a:pt x="611" y="30"/>
                  <a:pt x="611" y="28"/>
                  <a:pt x="594" y="30"/>
                </a:cubicBezTo>
                <a:cubicBezTo>
                  <a:pt x="579" y="31"/>
                  <a:pt x="591" y="28"/>
                  <a:pt x="600" y="25"/>
                </a:cubicBezTo>
                <a:cubicBezTo>
                  <a:pt x="611" y="23"/>
                  <a:pt x="634" y="19"/>
                  <a:pt x="634" y="16"/>
                </a:cubicBezTo>
                <a:cubicBezTo>
                  <a:pt x="634" y="11"/>
                  <a:pt x="617" y="14"/>
                  <a:pt x="617" y="9"/>
                </a:cubicBezTo>
                <a:cubicBezTo>
                  <a:pt x="618" y="6"/>
                  <a:pt x="605" y="5"/>
                  <a:pt x="602" y="5"/>
                </a:cubicBezTo>
                <a:cubicBezTo>
                  <a:pt x="597" y="6"/>
                  <a:pt x="597" y="5"/>
                  <a:pt x="591" y="8"/>
                </a:cubicBezTo>
                <a:cubicBezTo>
                  <a:pt x="583" y="11"/>
                  <a:pt x="571" y="9"/>
                  <a:pt x="579" y="8"/>
                </a:cubicBezTo>
                <a:cubicBezTo>
                  <a:pt x="585" y="8"/>
                  <a:pt x="594" y="5"/>
                  <a:pt x="583" y="5"/>
                </a:cubicBezTo>
                <a:cubicBezTo>
                  <a:pt x="571" y="5"/>
                  <a:pt x="568" y="0"/>
                  <a:pt x="559" y="2"/>
                </a:cubicBezTo>
                <a:cubicBezTo>
                  <a:pt x="550" y="3"/>
                  <a:pt x="548" y="0"/>
                  <a:pt x="539" y="3"/>
                </a:cubicBezTo>
                <a:cubicBezTo>
                  <a:pt x="532" y="6"/>
                  <a:pt x="523" y="0"/>
                  <a:pt x="503" y="5"/>
                </a:cubicBezTo>
                <a:cubicBezTo>
                  <a:pt x="494" y="8"/>
                  <a:pt x="488" y="2"/>
                  <a:pt x="481" y="5"/>
                </a:cubicBezTo>
                <a:cubicBezTo>
                  <a:pt x="475" y="8"/>
                  <a:pt x="468" y="3"/>
                  <a:pt x="474" y="8"/>
                </a:cubicBezTo>
                <a:cubicBezTo>
                  <a:pt x="480" y="14"/>
                  <a:pt x="466" y="6"/>
                  <a:pt x="465" y="11"/>
                </a:cubicBezTo>
                <a:cubicBezTo>
                  <a:pt x="463" y="16"/>
                  <a:pt x="460" y="16"/>
                  <a:pt x="451" y="14"/>
                </a:cubicBezTo>
                <a:cubicBezTo>
                  <a:pt x="442" y="14"/>
                  <a:pt x="453" y="13"/>
                  <a:pt x="442" y="11"/>
                </a:cubicBezTo>
                <a:cubicBezTo>
                  <a:pt x="431" y="11"/>
                  <a:pt x="446" y="16"/>
                  <a:pt x="434" y="16"/>
                </a:cubicBezTo>
                <a:cubicBezTo>
                  <a:pt x="422" y="17"/>
                  <a:pt x="445" y="19"/>
                  <a:pt x="439" y="20"/>
                </a:cubicBezTo>
                <a:cubicBezTo>
                  <a:pt x="433" y="22"/>
                  <a:pt x="430" y="17"/>
                  <a:pt x="419" y="19"/>
                </a:cubicBezTo>
                <a:cubicBezTo>
                  <a:pt x="408" y="20"/>
                  <a:pt x="413" y="23"/>
                  <a:pt x="405" y="22"/>
                </a:cubicBezTo>
                <a:cubicBezTo>
                  <a:pt x="398" y="20"/>
                  <a:pt x="389" y="25"/>
                  <a:pt x="390" y="28"/>
                </a:cubicBezTo>
                <a:cubicBezTo>
                  <a:pt x="393" y="33"/>
                  <a:pt x="395" y="28"/>
                  <a:pt x="399" y="31"/>
                </a:cubicBezTo>
                <a:cubicBezTo>
                  <a:pt x="402" y="33"/>
                  <a:pt x="408" y="30"/>
                  <a:pt x="405" y="33"/>
                </a:cubicBezTo>
                <a:cubicBezTo>
                  <a:pt x="401" y="36"/>
                  <a:pt x="401" y="39"/>
                  <a:pt x="408" y="41"/>
                </a:cubicBezTo>
                <a:cubicBezTo>
                  <a:pt x="416" y="42"/>
                  <a:pt x="421" y="47"/>
                  <a:pt x="428" y="42"/>
                </a:cubicBezTo>
                <a:cubicBezTo>
                  <a:pt x="436" y="37"/>
                  <a:pt x="445" y="37"/>
                  <a:pt x="439" y="39"/>
                </a:cubicBezTo>
                <a:cubicBezTo>
                  <a:pt x="433" y="41"/>
                  <a:pt x="421" y="45"/>
                  <a:pt x="440" y="47"/>
                </a:cubicBezTo>
                <a:cubicBezTo>
                  <a:pt x="459" y="48"/>
                  <a:pt x="453" y="41"/>
                  <a:pt x="459" y="44"/>
                </a:cubicBezTo>
                <a:cubicBezTo>
                  <a:pt x="463" y="47"/>
                  <a:pt x="480" y="44"/>
                  <a:pt x="492" y="36"/>
                </a:cubicBezTo>
                <a:cubicBezTo>
                  <a:pt x="506" y="30"/>
                  <a:pt x="488" y="39"/>
                  <a:pt x="500" y="41"/>
                </a:cubicBezTo>
                <a:cubicBezTo>
                  <a:pt x="512" y="41"/>
                  <a:pt x="501" y="42"/>
                  <a:pt x="478" y="47"/>
                </a:cubicBezTo>
                <a:cubicBezTo>
                  <a:pt x="457" y="51"/>
                  <a:pt x="457" y="48"/>
                  <a:pt x="466" y="54"/>
                </a:cubicBezTo>
                <a:cubicBezTo>
                  <a:pt x="474" y="61"/>
                  <a:pt x="484" y="61"/>
                  <a:pt x="475" y="62"/>
                </a:cubicBezTo>
                <a:cubicBezTo>
                  <a:pt x="468" y="64"/>
                  <a:pt x="468" y="58"/>
                  <a:pt x="460" y="53"/>
                </a:cubicBezTo>
                <a:cubicBezTo>
                  <a:pt x="453" y="50"/>
                  <a:pt x="431" y="47"/>
                  <a:pt x="431" y="53"/>
                </a:cubicBezTo>
                <a:cubicBezTo>
                  <a:pt x="431" y="58"/>
                  <a:pt x="431" y="58"/>
                  <a:pt x="439" y="59"/>
                </a:cubicBezTo>
                <a:cubicBezTo>
                  <a:pt x="446" y="62"/>
                  <a:pt x="453" y="68"/>
                  <a:pt x="448" y="68"/>
                </a:cubicBezTo>
                <a:cubicBezTo>
                  <a:pt x="445" y="70"/>
                  <a:pt x="445" y="72"/>
                  <a:pt x="453" y="73"/>
                </a:cubicBezTo>
                <a:cubicBezTo>
                  <a:pt x="462" y="73"/>
                  <a:pt x="465" y="76"/>
                  <a:pt x="457" y="75"/>
                </a:cubicBezTo>
                <a:cubicBezTo>
                  <a:pt x="448" y="73"/>
                  <a:pt x="430" y="75"/>
                  <a:pt x="427" y="78"/>
                </a:cubicBezTo>
                <a:cubicBezTo>
                  <a:pt x="422" y="81"/>
                  <a:pt x="421" y="87"/>
                  <a:pt x="428" y="86"/>
                </a:cubicBezTo>
                <a:cubicBezTo>
                  <a:pt x="436" y="84"/>
                  <a:pt x="431" y="87"/>
                  <a:pt x="439" y="86"/>
                </a:cubicBezTo>
                <a:cubicBezTo>
                  <a:pt x="445" y="84"/>
                  <a:pt x="437" y="87"/>
                  <a:pt x="442" y="93"/>
                </a:cubicBezTo>
                <a:cubicBezTo>
                  <a:pt x="446" y="100"/>
                  <a:pt x="457" y="93"/>
                  <a:pt x="462" y="87"/>
                </a:cubicBezTo>
                <a:cubicBezTo>
                  <a:pt x="466" y="82"/>
                  <a:pt x="457" y="100"/>
                  <a:pt x="446" y="100"/>
                </a:cubicBezTo>
                <a:cubicBezTo>
                  <a:pt x="437" y="98"/>
                  <a:pt x="437" y="89"/>
                  <a:pt x="427" y="89"/>
                </a:cubicBezTo>
                <a:cubicBezTo>
                  <a:pt x="418" y="89"/>
                  <a:pt x="416" y="90"/>
                  <a:pt x="419" y="95"/>
                </a:cubicBezTo>
                <a:cubicBezTo>
                  <a:pt x="424" y="98"/>
                  <a:pt x="431" y="103"/>
                  <a:pt x="422" y="103"/>
                </a:cubicBezTo>
                <a:cubicBezTo>
                  <a:pt x="411" y="103"/>
                  <a:pt x="404" y="107"/>
                  <a:pt x="408" y="112"/>
                </a:cubicBezTo>
                <a:cubicBezTo>
                  <a:pt x="411" y="114"/>
                  <a:pt x="413" y="111"/>
                  <a:pt x="418" y="114"/>
                </a:cubicBezTo>
                <a:close/>
                <a:moveTo>
                  <a:pt x="369" y="37"/>
                </a:moveTo>
                <a:cubicBezTo>
                  <a:pt x="364" y="37"/>
                  <a:pt x="363" y="37"/>
                  <a:pt x="361" y="42"/>
                </a:cubicBezTo>
                <a:cubicBezTo>
                  <a:pt x="360" y="45"/>
                  <a:pt x="357" y="44"/>
                  <a:pt x="354" y="48"/>
                </a:cubicBezTo>
                <a:cubicBezTo>
                  <a:pt x="351" y="53"/>
                  <a:pt x="369" y="51"/>
                  <a:pt x="367" y="53"/>
                </a:cubicBezTo>
                <a:cubicBezTo>
                  <a:pt x="366" y="58"/>
                  <a:pt x="351" y="50"/>
                  <a:pt x="351" y="54"/>
                </a:cubicBezTo>
                <a:cubicBezTo>
                  <a:pt x="349" y="58"/>
                  <a:pt x="354" y="59"/>
                  <a:pt x="361" y="65"/>
                </a:cubicBezTo>
                <a:cubicBezTo>
                  <a:pt x="367" y="70"/>
                  <a:pt x="373" y="62"/>
                  <a:pt x="372" y="65"/>
                </a:cubicBezTo>
                <a:cubicBezTo>
                  <a:pt x="369" y="70"/>
                  <a:pt x="387" y="62"/>
                  <a:pt x="384" y="65"/>
                </a:cubicBezTo>
                <a:cubicBezTo>
                  <a:pt x="383" y="70"/>
                  <a:pt x="367" y="70"/>
                  <a:pt x="372" y="73"/>
                </a:cubicBezTo>
                <a:cubicBezTo>
                  <a:pt x="375" y="75"/>
                  <a:pt x="378" y="79"/>
                  <a:pt x="383" y="82"/>
                </a:cubicBezTo>
                <a:cubicBezTo>
                  <a:pt x="389" y="84"/>
                  <a:pt x="401" y="89"/>
                  <a:pt x="401" y="84"/>
                </a:cubicBezTo>
                <a:cubicBezTo>
                  <a:pt x="401" y="79"/>
                  <a:pt x="408" y="87"/>
                  <a:pt x="407" y="82"/>
                </a:cubicBezTo>
                <a:cubicBezTo>
                  <a:pt x="404" y="76"/>
                  <a:pt x="407" y="79"/>
                  <a:pt x="411" y="84"/>
                </a:cubicBezTo>
                <a:cubicBezTo>
                  <a:pt x="416" y="89"/>
                  <a:pt x="413" y="78"/>
                  <a:pt x="416" y="79"/>
                </a:cubicBezTo>
                <a:cubicBezTo>
                  <a:pt x="421" y="79"/>
                  <a:pt x="425" y="75"/>
                  <a:pt x="431" y="72"/>
                </a:cubicBezTo>
                <a:cubicBezTo>
                  <a:pt x="437" y="68"/>
                  <a:pt x="448" y="67"/>
                  <a:pt x="443" y="65"/>
                </a:cubicBezTo>
                <a:cubicBezTo>
                  <a:pt x="437" y="62"/>
                  <a:pt x="439" y="59"/>
                  <a:pt x="428" y="61"/>
                </a:cubicBezTo>
                <a:cubicBezTo>
                  <a:pt x="419" y="64"/>
                  <a:pt x="434" y="59"/>
                  <a:pt x="427" y="54"/>
                </a:cubicBezTo>
                <a:cubicBezTo>
                  <a:pt x="421" y="51"/>
                  <a:pt x="428" y="48"/>
                  <a:pt x="419" y="47"/>
                </a:cubicBezTo>
                <a:cubicBezTo>
                  <a:pt x="410" y="47"/>
                  <a:pt x="418" y="54"/>
                  <a:pt x="413" y="51"/>
                </a:cubicBezTo>
                <a:cubicBezTo>
                  <a:pt x="407" y="50"/>
                  <a:pt x="414" y="47"/>
                  <a:pt x="405" y="45"/>
                </a:cubicBezTo>
                <a:cubicBezTo>
                  <a:pt x="396" y="45"/>
                  <a:pt x="389" y="31"/>
                  <a:pt x="373" y="31"/>
                </a:cubicBezTo>
                <a:cubicBezTo>
                  <a:pt x="363" y="33"/>
                  <a:pt x="379" y="37"/>
                  <a:pt x="369" y="37"/>
                </a:cubicBezTo>
                <a:close/>
                <a:moveTo>
                  <a:pt x="344" y="84"/>
                </a:moveTo>
                <a:cubicBezTo>
                  <a:pt x="351" y="86"/>
                  <a:pt x="338" y="87"/>
                  <a:pt x="344" y="87"/>
                </a:cubicBezTo>
                <a:cubicBezTo>
                  <a:pt x="351" y="89"/>
                  <a:pt x="344" y="93"/>
                  <a:pt x="351" y="90"/>
                </a:cubicBezTo>
                <a:cubicBezTo>
                  <a:pt x="357" y="89"/>
                  <a:pt x="366" y="89"/>
                  <a:pt x="364" y="86"/>
                </a:cubicBezTo>
                <a:cubicBezTo>
                  <a:pt x="361" y="82"/>
                  <a:pt x="370" y="82"/>
                  <a:pt x="364" y="81"/>
                </a:cubicBezTo>
                <a:cubicBezTo>
                  <a:pt x="357" y="78"/>
                  <a:pt x="358" y="81"/>
                  <a:pt x="352" y="76"/>
                </a:cubicBezTo>
                <a:cubicBezTo>
                  <a:pt x="346" y="73"/>
                  <a:pt x="335" y="73"/>
                  <a:pt x="338" y="76"/>
                </a:cubicBezTo>
                <a:cubicBezTo>
                  <a:pt x="340" y="81"/>
                  <a:pt x="332" y="79"/>
                  <a:pt x="338" y="82"/>
                </a:cubicBezTo>
                <a:cubicBezTo>
                  <a:pt x="341" y="82"/>
                  <a:pt x="338" y="82"/>
                  <a:pt x="344" y="84"/>
                </a:cubicBezTo>
                <a:close/>
                <a:moveTo>
                  <a:pt x="329" y="58"/>
                </a:moveTo>
                <a:cubicBezTo>
                  <a:pt x="332" y="61"/>
                  <a:pt x="335" y="61"/>
                  <a:pt x="335" y="56"/>
                </a:cubicBezTo>
                <a:cubicBezTo>
                  <a:pt x="334" y="51"/>
                  <a:pt x="323" y="50"/>
                  <a:pt x="323" y="54"/>
                </a:cubicBezTo>
                <a:cubicBezTo>
                  <a:pt x="325" y="58"/>
                  <a:pt x="326" y="56"/>
                  <a:pt x="329" y="58"/>
                </a:cubicBezTo>
                <a:close/>
                <a:moveTo>
                  <a:pt x="238" y="142"/>
                </a:moveTo>
                <a:cubicBezTo>
                  <a:pt x="245" y="138"/>
                  <a:pt x="250" y="134"/>
                  <a:pt x="256" y="135"/>
                </a:cubicBezTo>
                <a:cubicBezTo>
                  <a:pt x="262" y="138"/>
                  <a:pt x="259" y="134"/>
                  <a:pt x="265" y="135"/>
                </a:cubicBezTo>
                <a:cubicBezTo>
                  <a:pt x="271" y="137"/>
                  <a:pt x="276" y="135"/>
                  <a:pt x="282" y="128"/>
                </a:cubicBezTo>
                <a:cubicBezTo>
                  <a:pt x="288" y="120"/>
                  <a:pt x="274" y="118"/>
                  <a:pt x="270" y="120"/>
                </a:cubicBezTo>
                <a:cubicBezTo>
                  <a:pt x="267" y="121"/>
                  <a:pt x="262" y="125"/>
                  <a:pt x="264" y="121"/>
                </a:cubicBezTo>
                <a:cubicBezTo>
                  <a:pt x="265" y="117"/>
                  <a:pt x="258" y="120"/>
                  <a:pt x="261" y="117"/>
                </a:cubicBezTo>
                <a:cubicBezTo>
                  <a:pt x="264" y="114"/>
                  <a:pt x="258" y="117"/>
                  <a:pt x="258" y="109"/>
                </a:cubicBezTo>
                <a:cubicBezTo>
                  <a:pt x="258" y="103"/>
                  <a:pt x="252" y="107"/>
                  <a:pt x="244" y="112"/>
                </a:cubicBezTo>
                <a:cubicBezTo>
                  <a:pt x="236" y="117"/>
                  <a:pt x="255" y="117"/>
                  <a:pt x="249" y="120"/>
                </a:cubicBezTo>
                <a:cubicBezTo>
                  <a:pt x="242" y="125"/>
                  <a:pt x="256" y="123"/>
                  <a:pt x="255" y="126"/>
                </a:cubicBezTo>
                <a:cubicBezTo>
                  <a:pt x="253" y="131"/>
                  <a:pt x="249" y="125"/>
                  <a:pt x="241" y="126"/>
                </a:cubicBezTo>
                <a:cubicBezTo>
                  <a:pt x="232" y="128"/>
                  <a:pt x="239" y="126"/>
                  <a:pt x="229" y="118"/>
                </a:cubicBezTo>
                <a:cubicBezTo>
                  <a:pt x="217" y="111"/>
                  <a:pt x="217" y="121"/>
                  <a:pt x="213" y="115"/>
                </a:cubicBezTo>
                <a:cubicBezTo>
                  <a:pt x="210" y="109"/>
                  <a:pt x="206" y="112"/>
                  <a:pt x="197" y="117"/>
                </a:cubicBezTo>
                <a:cubicBezTo>
                  <a:pt x="188" y="120"/>
                  <a:pt x="198" y="117"/>
                  <a:pt x="191" y="123"/>
                </a:cubicBezTo>
                <a:cubicBezTo>
                  <a:pt x="185" y="128"/>
                  <a:pt x="194" y="125"/>
                  <a:pt x="188" y="128"/>
                </a:cubicBezTo>
                <a:cubicBezTo>
                  <a:pt x="182" y="132"/>
                  <a:pt x="188" y="132"/>
                  <a:pt x="195" y="135"/>
                </a:cubicBezTo>
                <a:cubicBezTo>
                  <a:pt x="203" y="137"/>
                  <a:pt x="203" y="132"/>
                  <a:pt x="204" y="134"/>
                </a:cubicBezTo>
                <a:cubicBezTo>
                  <a:pt x="206" y="137"/>
                  <a:pt x="209" y="138"/>
                  <a:pt x="212" y="134"/>
                </a:cubicBezTo>
                <a:cubicBezTo>
                  <a:pt x="215" y="129"/>
                  <a:pt x="217" y="129"/>
                  <a:pt x="215" y="132"/>
                </a:cubicBezTo>
                <a:cubicBezTo>
                  <a:pt x="213" y="135"/>
                  <a:pt x="218" y="135"/>
                  <a:pt x="230" y="132"/>
                </a:cubicBezTo>
                <a:cubicBezTo>
                  <a:pt x="242" y="131"/>
                  <a:pt x="236" y="135"/>
                  <a:pt x="227" y="135"/>
                </a:cubicBezTo>
                <a:cubicBezTo>
                  <a:pt x="218" y="137"/>
                  <a:pt x="204" y="140"/>
                  <a:pt x="215" y="143"/>
                </a:cubicBezTo>
                <a:cubicBezTo>
                  <a:pt x="221" y="146"/>
                  <a:pt x="229" y="143"/>
                  <a:pt x="238" y="142"/>
                </a:cubicBezTo>
                <a:close/>
                <a:moveTo>
                  <a:pt x="288" y="96"/>
                </a:moveTo>
                <a:cubicBezTo>
                  <a:pt x="284" y="92"/>
                  <a:pt x="276" y="90"/>
                  <a:pt x="277" y="93"/>
                </a:cubicBezTo>
                <a:cubicBezTo>
                  <a:pt x="279" y="96"/>
                  <a:pt x="280" y="103"/>
                  <a:pt x="288" y="103"/>
                </a:cubicBezTo>
                <a:cubicBezTo>
                  <a:pt x="291" y="101"/>
                  <a:pt x="293" y="101"/>
                  <a:pt x="288" y="96"/>
                </a:cubicBezTo>
                <a:close/>
                <a:moveTo>
                  <a:pt x="192" y="111"/>
                </a:moveTo>
                <a:cubicBezTo>
                  <a:pt x="198" y="111"/>
                  <a:pt x="204" y="107"/>
                  <a:pt x="197" y="104"/>
                </a:cubicBezTo>
                <a:cubicBezTo>
                  <a:pt x="191" y="100"/>
                  <a:pt x="207" y="100"/>
                  <a:pt x="198" y="96"/>
                </a:cubicBezTo>
                <a:cubicBezTo>
                  <a:pt x="192" y="93"/>
                  <a:pt x="191" y="95"/>
                  <a:pt x="189" y="98"/>
                </a:cubicBezTo>
                <a:cubicBezTo>
                  <a:pt x="188" y="101"/>
                  <a:pt x="180" y="92"/>
                  <a:pt x="168" y="103"/>
                </a:cubicBezTo>
                <a:cubicBezTo>
                  <a:pt x="157" y="111"/>
                  <a:pt x="162" y="106"/>
                  <a:pt x="156" y="111"/>
                </a:cubicBezTo>
                <a:cubicBezTo>
                  <a:pt x="150" y="117"/>
                  <a:pt x="150" y="109"/>
                  <a:pt x="145" y="115"/>
                </a:cubicBezTo>
                <a:cubicBezTo>
                  <a:pt x="139" y="120"/>
                  <a:pt x="147" y="117"/>
                  <a:pt x="145" y="120"/>
                </a:cubicBezTo>
                <a:cubicBezTo>
                  <a:pt x="143" y="121"/>
                  <a:pt x="147" y="121"/>
                  <a:pt x="150" y="120"/>
                </a:cubicBezTo>
                <a:cubicBezTo>
                  <a:pt x="153" y="117"/>
                  <a:pt x="153" y="121"/>
                  <a:pt x="157" y="120"/>
                </a:cubicBezTo>
                <a:cubicBezTo>
                  <a:pt x="160" y="120"/>
                  <a:pt x="159" y="115"/>
                  <a:pt x="162" y="120"/>
                </a:cubicBezTo>
                <a:cubicBezTo>
                  <a:pt x="163" y="125"/>
                  <a:pt x="169" y="125"/>
                  <a:pt x="169" y="118"/>
                </a:cubicBezTo>
                <a:cubicBezTo>
                  <a:pt x="169" y="112"/>
                  <a:pt x="171" y="125"/>
                  <a:pt x="177" y="114"/>
                </a:cubicBezTo>
                <a:cubicBezTo>
                  <a:pt x="180" y="107"/>
                  <a:pt x="175" y="111"/>
                  <a:pt x="182" y="107"/>
                </a:cubicBezTo>
                <a:cubicBezTo>
                  <a:pt x="188" y="104"/>
                  <a:pt x="178" y="114"/>
                  <a:pt x="186" y="115"/>
                </a:cubicBezTo>
                <a:cubicBezTo>
                  <a:pt x="195" y="117"/>
                  <a:pt x="188" y="111"/>
                  <a:pt x="192" y="111"/>
                </a:cubicBezTo>
                <a:close/>
                <a:moveTo>
                  <a:pt x="232" y="82"/>
                </a:moveTo>
                <a:cubicBezTo>
                  <a:pt x="236" y="84"/>
                  <a:pt x="232" y="82"/>
                  <a:pt x="241" y="82"/>
                </a:cubicBezTo>
                <a:cubicBezTo>
                  <a:pt x="250" y="84"/>
                  <a:pt x="256" y="81"/>
                  <a:pt x="247" y="78"/>
                </a:cubicBezTo>
                <a:cubicBezTo>
                  <a:pt x="236" y="73"/>
                  <a:pt x="236" y="78"/>
                  <a:pt x="227" y="79"/>
                </a:cubicBezTo>
                <a:cubicBezTo>
                  <a:pt x="218" y="81"/>
                  <a:pt x="218" y="84"/>
                  <a:pt x="224" y="82"/>
                </a:cubicBezTo>
                <a:cubicBezTo>
                  <a:pt x="226" y="82"/>
                  <a:pt x="226" y="82"/>
                  <a:pt x="232" y="82"/>
                </a:cubicBezTo>
                <a:close/>
                <a:moveTo>
                  <a:pt x="239" y="96"/>
                </a:moveTo>
                <a:cubicBezTo>
                  <a:pt x="247" y="95"/>
                  <a:pt x="249" y="92"/>
                  <a:pt x="241" y="90"/>
                </a:cubicBezTo>
                <a:cubicBezTo>
                  <a:pt x="235" y="90"/>
                  <a:pt x="247" y="90"/>
                  <a:pt x="249" y="87"/>
                </a:cubicBezTo>
                <a:cubicBezTo>
                  <a:pt x="250" y="84"/>
                  <a:pt x="239" y="86"/>
                  <a:pt x="229" y="87"/>
                </a:cubicBezTo>
                <a:cubicBezTo>
                  <a:pt x="218" y="89"/>
                  <a:pt x="218" y="90"/>
                  <a:pt x="220" y="95"/>
                </a:cubicBezTo>
                <a:cubicBezTo>
                  <a:pt x="223" y="100"/>
                  <a:pt x="232" y="98"/>
                  <a:pt x="239" y="96"/>
                </a:cubicBezTo>
                <a:close/>
                <a:moveTo>
                  <a:pt x="335" y="135"/>
                </a:moveTo>
                <a:cubicBezTo>
                  <a:pt x="340" y="135"/>
                  <a:pt x="344" y="135"/>
                  <a:pt x="343" y="131"/>
                </a:cubicBezTo>
                <a:cubicBezTo>
                  <a:pt x="341" y="128"/>
                  <a:pt x="341" y="125"/>
                  <a:pt x="344" y="128"/>
                </a:cubicBezTo>
                <a:cubicBezTo>
                  <a:pt x="347" y="131"/>
                  <a:pt x="347" y="128"/>
                  <a:pt x="344" y="125"/>
                </a:cubicBezTo>
                <a:cubicBezTo>
                  <a:pt x="341" y="120"/>
                  <a:pt x="346" y="114"/>
                  <a:pt x="338" y="109"/>
                </a:cubicBezTo>
                <a:cubicBezTo>
                  <a:pt x="331" y="106"/>
                  <a:pt x="334" y="114"/>
                  <a:pt x="331" y="111"/>
                </a:cubicBezTo>
                <a:cubicBezTo>
                  <a:pt x="326" y="109"/>
                  <a:pt x="323" y="109"/>
                  <a:pt x="319" y="111"/>
                </a:cubicBezTo>
                <a:cubicBezTo>
                  <a:pt x="314" y="112"/>
                  <a:pt x="320" y="114"/>
                  <a:pt x="326" y="121"/>
                </a:cubicBezTo>
                <a:cubicBezTo>
                  <a:pt x="312" y="115"/>
                  <a:pt x="320" y="114"/>
                  <a:pt x="312" y="112"/>
                </a:cubicBezTo>
                <a:cubicBezTo>
                  <a:pt x="305" y="112"/>
                  <a:pt x="306" y="114"/>
                  <a:pt x="311" y="120"/>
                </a:cubicBezTo>
                <a:cubicBezTo>
                  <a:pt x="316" y="125"/>
                  <a:pt x="311" y="120"/>
                  <a:pt x="308" y="121"/>
                </a:cubicBezTo>
                <a:cubicBezTo>
                  <a:pt x="306" y="125"/>
                  <a:pt x="300" y="123"/>
                  <a:pt x="303" y="126"/>
                </a:cubicBezTo>
                <a:cubicBezTo>
                  <a:pt x="305" y="129"/>
                  <a:pt x="323" y="125"/>
                  <a:pt x="329" y="125"/>
                </a:cubicBezTo>
                <a:cubicBezTo>
                  <a:pt x="334" y="125"/>
                  <a:pt x="317" y="126"/>
                  <a:pt x="320" y="131"/>
                </a:cubicBezTo>
                <a:cubicBezTo>
                  <a:pt x="323" y="134"/>
                  <a:pt x="320" y="138"/>
                  <a:pt x="326" y="135"/>
                </a:cubicBezTo>
                <a:cubicBezTo>
                  <a:pt x="329" y="134"/>
                  <a:pt x="329" y="135"/>
                  <a:pt x="335" y="135"/>
                </a:cubicBezTo>
                <a:close/>
                <a:moveTo>
                  <a:pt x="623" y="518"/>
                </a:moveTo>
                <a:cubicBezTo>
                  <a:pt x="623" y="515"/>
                  <a:pt x="626" y="515"/>
                  <a:pt x="625" y="515"/>
                </a:cubicBezTo>
                <a:cubicBezTo>
                  <a:pt x="625" y="513"/>
                  <a:pt x="618" y="515"/>
                  <a:pt x="612" y="513"/>
                </a:cubicBezTo>
                <a:cubicBezTo>
                  <a:pt x="608" y="512"/>
                  <a:pt x="611" y="505"/>
                  <a:pt x="608" y="510"/>
                </a:cubicBezTo>
                <a:cubicBezTo>
                  <a:pt x="605" y="515"/>
                  <a:pt x="609" y="512"/>
                  <a:pt x="608" y="515"/>
                </a:cubicBezTo>
                <a:cubicBezTo>
                  <a:pt x="608" y="516"/>
                  <a:pt x="611" y="515"/>
                  <a:pt x="612" y="516"/>
                </a:cubicBezTo>
                <a:cubicBezTo>
                  <a:pt x="614" y="518"/>
                  <a:pt x="614" y="516"/>
                  <a:pt x="622" y="519"/>
                </a:cubicBezTo>
                <a:cubicBezTo>
                  <a:pt x="623" y="521"/>
                  <a:pt x="623" y="521"/>
                  <a:pt x="623" y="518"/>
                </a:cubicBezTo>
                <a:close/>
                <a:moveTo>
                  <a:pt x="635" y="521"/>
                </a:moveTo>
                <a:cubicBezTo>
                  <a:pt x="635" y="518"/>
                  <a:pt x="637" y="518"/>
                  <a:pt x="637" y="522"/>
                </a:cubicBezTo>
                <a:cubicBezTo>
                  <a:pt x="635" y="527"/>
                  <a:pt x="637" y="526"/>
                  <a:pt x="640" y="522"/>
                </a:cubicBezTo>
                <a:cubicBezTo>
                  <a:pt x="643" y="521"/>
                  <a:pt x="646" y="518"/>
                  <a:pt x="643" y="518"/>
                </a:cubicBezTo>
                <a:cubicBezTo>
                  <a:pt x="640" y="516"/>
                  <a:pt x="638" y="516"/>
                  <a:pt x="640" y="512"/>
                </a:cubicBezTo>
                <a:cubicBezTo>
                  <a:pt x="640" y="507"/>
                  <a:pt x="638" y="507"/>
                  <a:pt x="635" y="512"/>
                </a:cubicBezTo>
                <a:cubicBezTo>
                  <a:pt x="632" y="516"/>
                  <a:pt x="629" y="519"/>
                  <a:pt x="631" y="524"/>
                </a:cubicBezTo>
                <a:cubicBezTo>
                  <a:pt x="632" y="527"/>
                  <a:pt x="634" y="526"/>
                  <a:pt x="635" y="521"/>
                </a:cubicBezTo>
                <a:close/>
                <a:moveTo>
                  <a:pt x="611" y="474"/>
                </a:moveTo>
                <a:cubicBezTo>
                  <a:pt x="600" y="473"/>
                  <a:pt x="609" y="476"/>
                  <a:pt x="612" y="479"/>
                </a:cubicBezTo>
                <a:cubicBezTo>
                  <a:pt x="615" y="482"/>
                  <a:pt x="626" y="487"/>
                  <a:pt x="629" y="484"/>
                </a:cubicBezTo>
                <a:cubicBezTo>
                  <a:pt x="629" y="480"/>
                  <a:pt x="620" y="476"/>
                  <a:pt x="611" y="474"/>
                </a:cubicBezTo>
                <a:close/>
                <a:moveTo>
                  <a:pt x="655" y="501"/>
                </a:moveTo>
                <a:cubicBezTo>
                  <a:pt x="660" y="498"/>
                  <a:pt x="660" y="502"/>
                  <a:pt x="669" y="501"/>
                </a:cubicBezTo>
                <a:cubicBezTo>
                  <a:pt x="679" y="499"/>
                  <a:pt x="669" y="504"/>
                  <a:pt x="678" y="502"/>
                </a:cubicBezTo>
                <a:cubicBezTo>
                  <a:pt x="687" y="501"/>
                  <a:pt x="673" y="507"/>
                  <a:pt x="673" y="508"/>
                </a:cubicBezTo>
                <a:cubicBezTo>
                  <a:pt x="673" y="512"/>
                  <a:pt x="678" y="512"/>
                  <a:pt x="681" y="507"/>
                </a:cubicBezTo>
                <a:cubicBezTo>
                  <a:pt x="684" y="501"/>
                  <a:pt x="685" y="505"/>
                  <a:pt x="687" y="501"/>
                </a:cubicBezTo>
                <a:cubicBezTo>
                  <a:pt x="690" y="496"/>
                  <a:pt x="692" y="499"/>
                  <a:pt x="690" y="504"/>
                </a:cubicBezTo>
                <a:cubicBezTo>
                  <a:pt x="689" y="508"/>
                  <a:pt x="687" y="512"/>
                  <a:pt x="690" y="508"/>
                </a:cubicBezTo>
                <a:cubicBezTo>
                  <a:pt x="695" y="505"/>
                  <a:pt x="692" y="512"/>
                  <a:pt x="696" y="512"/>
                </a:cubicBezTo>
                <a:cubicBezTo>
                  <a:pt x="702" y="512"/>
                  <a:pt x="698" y="510"/>
                  <a:pt x="701" y="502"/>
                </a:cubicBezTo>
                <a:cubicBezTo>
                  <a:pt x="702" y="494"/>
                  <a:pt x="695" y="502"/>
                  <a:pt x="699" y="496"/>
                </a:cubicBezTo>
                <a:cubicBezTo>
                  <a:pt x="702" y="491"/>
                  <a:pt x="696" y="494"/>
                  <a:pt x="693" y="499"/>
                </a:cubicBezTo>
                <a:cubicBezTo>
                  <a:pt x="692" y="504"/>
                  <a:pt x="692" y="496"/>
                  <a:pt x="695" y="493"/>
                </a:cubicBezTo>
                <a:cubicBezTo>
                  <a:pt x="699" y="491"/>
                  <a:pt x="699" y="488"/>
                  <a:pt x="696" y="490"/>
                </a:cubicBezTo>
                <a:cubicBezTo>
                  <a:pt x="693" y="491"/>
                  <a:pt x="689" y="488"/>
                  <a:pt x="693" y="485"/>
                </a:cubicBezTo>
                <a:cubicBezTo>
                  <a:pt x="696" y="480"/>
                  <a:pt x="692" y="477"/>
                  <a:pt x="684" y="480"/>
                </a:cubicBezTo>
                <a:cubicBezTo>
                  <a:pt x="676" y="482"/>
                  <a:pt x="682" y="477"/>
                  <a:pt x="678" y="479"/>
                </a:cubicBezTo>
                <a:cubicBezTo>
                  <a:pt x="673" y="480"/>
                  <a:pt x="673" y="474"/>
                  <a:pt x="676" y="474"/>
                </a:cubicBezTo>
                <a:cubicBezTo>
                  <a:pt x="679" y="474"/>
                  <a:pt x="675" y="468"/>
                  <a:pt x="670" y="474"/>
                </a:cubicBezTo>
                <a:cubicBezTo>
                  <a:pt x="666" y="479"/>
                  <a:pt x="669" y="471"/>
                  <a:pt x="672" y="465"/>
                </a:cubicBezTo>
                <a:cubicBezTo>
                  <a:pt x="672" y="465"/>
                  <a:pt x="676" y="459"/>
                  <a:pt x="678" y="456"/>
                </a:cubicBezTo>
                <a:cubicBezTo>
                  <a:pt x="679" y="454"/>
                  <a:pt x="678" y="451"/>
                  <a:pt x="672" y="454"/>
                </a:cubicBezTo>
                <a:cubicBezTo>
                  <a:pt x="666" y="457"/>
                  <a:pt x="669" y="460"/>
                  <a:pt x="666" y="462"/>
                </a:cubicBezTo>
                <a:cubicBezTo>
                  <a:pt x="663" y="463"/>
                  <a:pt x="660" y="474"/>
                  <a:pt x="655" y="484"/>
                </a:cubicBezTo>
                <a:cubicBezTo>
                  <a:pt x="650" y="491"/>
                  <a:pt x="653" y="485"/>
                  <a:pt x="650" y="488"/>
                </a:cubicBezTo>
                <a:cubicBezTo>
                  <a:pt x="647" y="491"/>
                  <a:pt x="647" y="491"/>
                  <a:pt x="652" y="491"/>
                </a:cubicBezTo>
                <a:cubicBezTo>
                  <a:pt x="657" y="493"/>
                  <a:pt x="644" y="496"/>
                  <a:pt x="647" y="499"/>
                </a:cubicBezTo>
                <a:cubicBezTo>
                  <a:pt x="649" y="501"/>
                  <a:pt x="649" y="502"/>
                  <a:pt x="655" y="501"/>
                </a:cubicBezTo>
                <a:close/>
                <a:moveTo>
                  <a:pt x="363" y="485"/>
                </a:moveTo>
                <a:cubicBezTo>
                  <a:pt x="364" y="485"/>
                  <a:pt x="363" y="479"/>
                  <a:pt x="364" y="480"/>
                </a:cubicBezTo>
                <a:cubicBezTo>
                  <a:pt x="366" y="480"/>
                  <a:pt x="366" y="482"/>
                  <a:pt x="367" y="485"/>
                </a:cubicBezTo>
                <a:cubicBezTo>
                  <a:pt x="367" y="490"/>
                  <a:pt x="372" y="487"/>
                  <a:pt x="373" y="490"/>
                </a:cubicBezTo>
                <a:cubicBezTo>
                  <a:pt x="375" y="491"/>
                  <a:pt x="375" y="487"/>
                  <a:pt x="381" y="490"/>
                </a:cubicBezTo>
                <a:cubicBezTo>
                  <a:pt x="387" y="491"/>
                  <a:pt x="384" y="494"/>
                  <a:pt x="386" y="493"/>
                </a:cubicBezTo>
                <a:cubicBezTo>
                  <a:pt x="389" y="491"/>
                  <a:pt x="390" y="498"/>
                  <a:pt x="393" y="494"/>
                </a:cubicBezTo>
                <a:cubicBezTo>
                  <a:pt x="399" y="493"/>
                  <a:pt x="396" y="496"/>
                  <a:pt x="401" y="494"/>
                </a:cubicBezTo>
                <a:cubicBezTo>
                  <a:pt x="405" y="494"/>
                  <a:pt x="402" y="496"/>
                  <a:pt x="407" y="496"/>
                </a:cubicBezTo>
                <a:cubicBezTo>
                  <a:pt x="408" y="496"/>
                  <a:pt x="408" y="496"/>
                  <a:pt x="408" y="496"/>
                </a:cubicBezTo>
                <a:cubicBezTo>
                  <a:pt x="410" y="494"/>
                  <a:pt x="410" y="493"/>
                  <a:pt x="410" y="491"/>
                </a:cubicBezTo>
                <a:cubicBezTo>
                  <a:pt x="411" y="490"/>
                  <a:pt x="414" y="488"/>
                  <a:pt x="413" y="491"/>
                </a:cubicBezTo>
                <a:cubicBezTo>
                  <a:pt x="411" y="493"/>
                  <a:pt x="414" y="491"/>
                  <a:pt x="416" y="488"/>
                </a:cubicBezTo>
                <a:cubicBezTo>
                  <a:pt x="416" y="484"/>
                  <a:pt x="418" y="487"/>
                  <a:pt x="416" y="488"/>
                </a:cubicBezTo>
                <a:cubicBezTo>
                  <a:pt x="414" y="491"/>
                  <a:pt x="416" y="491"/>
                  <a:pt x="418" y="490"/>
                </a:cubicBezTo>
                <a:cubicBezTo>
                  <a:pt x="421" y="488"/>
                  <a:pt x="418" y="485"/>
                  <a:pt x="419" y="485"/>
                </a:cubicBezTo>
                <a:cubicBezTo>
                  <a:pt x="421" y="484"/>
                  <a:pt x="424" y="487"/>
                  <a:pt x="427" y="487"/>
                </a:cubicBezTo>
                <a:cubicBezTo>
                  <a:pt x="430" y="487"/>
                  <a:pt x="428" y="488"/>
                  <a:pt x="431" y="487"/>
                </a:cubicBezTo>
                <a:cubicBezTo>
                  <a:pt x="434" y="487"/>
                  <a:pt x="433" y="494"/>
                  <a:pt x="437" y="496"/>
                </a:cubicBezTo>
                <a:cubicBezTo>
                  <a:pt x="440" y="498"/>
                  <a:pt x="446" y="494"/>
                  <a:pt x="443" y="499"/>
                </a:cubicBezTo>
                <a:cubicBezTo>
                  <a:pt x="443" y="501"/>
                  <a:pt x="445" y="502"/>
                  <a:pt x="446" y="504"/>
                </a:cubicBezTo>
                <a:cubicBezTo>
                  <a:pt x="448" y="505"/>
                  <a:pt x="445" y="507"/>
                  <a:pt x="446" y="508"/>
                </a:cubicBezTo>
                <a:cubicBezTo>
                  <a:pt x="448" y="510"/>
                  <a:pt x="446" y="508"/>
                  <a:pt x="448" y="508"/>
                </a:cubicBezTo>
                <a:cubicBezTo>
                  <a:pt x="449" y="510"/>
                  <a:pt x="446" y="508"/>
                  <a:pt x="446" y="512"/>
                </a:cubicBezTo>
                <a:cubicBezTo>
                  <a:pt x="446" y="515"/>
                  <a:pt x="451" y="512"/>
                  <a:pt x="451" y="515"/>
                </a:cubicBezTo>
                <a:cubicBezTo>
                  <a:pt x="451" y="516"/>
                  <a:pt x="453" y="515"/>
                  <a:pt x="456" y="516"/>
                </a:cubicBezTo>
                <a:cubicBezTo>
                  <a:pt x="459" y="518"/>
                  <a:pt x="463" y="518"/>
                  <a:pt x="466" y="518"/>
                </a:cubicBezTo>
                <a:cubicBezTo>
                  <a:pt x="469" y="518"/>
                  <a:pt x="471" y="518"/>
                  <a:pt x="471" y="519"/>
                </a:cubicBezTo>
                <a:cubicBezTo>
                  <a:pt x="471" y="521"/>
                  <a:pt x="472" y="519"/>
                  <a:pt x="475" y="519"/>
                </a:cubicBezTo>
                <a:cubicBezTo>
                  <a:pt x="478" y="519"/>
                  <a:pt x="480" y="527"/>
                  <a:pt x="481" y="527"/>
                </a:cubicBezTo>
                <a:cubicBezTo>
                  <a:pt x="483" y="526"/>
                  <a:pt x="483" y="526"/>
                  <a:pt x="483" y="529"/>
                </a:cubicBezTo>
                <a:cubicBezTo>
                  <a:pt x="483" y="530"/>
                  <a:pt x="486" y="532"/>
                  <a:pt x="486" y="533"/>
                </a:cubicBezTo>
                <a:cubicBezTo>
                  <a:pt x="486" y="535"/>
                  <a:pt x="483" y="532"/>
                  <a:pt x="483" y="533"/>
                </a:cubicBezTo>
                <a:cubicBezTo>
                  <a:pt x="481" y="533"/>
                  <a:pt x="484" y="536"/>
                  <a:pt x="483" y="536"/>
                </a:cubicBezTo>
                <a:cubicBezTo>
                  <a:pt x="481" y="538"/>
                  <a:pt x="478" y="533"/>
                  <a:pt x="477" y="535"/>
                </a:cubicBezTo>
                <a:cubicBezTo>
                  <a:pt x="475" y="536"/>
                  <a:pt x="477" y="533"/>
                  <a:pt x="475" y="533"/>
                </a:cubicBezTo>
                <a:cubicBezTo>
                  <a:pt x="474" y="533"/>
                  <a:pt x="477" y="532"/>
                  <a:pt x="474" y="532"/>
                </a:cubicBezTo>
                <a:cubicBezTo>
                  <a:pt x="472" y="532"/>
                  <a:pt x="474" y="529"/>
                  <a:pt x="472" y="529"/>
                </a:cubicBezTo>
                <a:cubicBezTo>
                  <a:pt x="471" y="529"/>
                  <a:pt x="471" y="527"/>
                  <a:pt x="469" y="527"/>
                </a:cubicBezTo>
                <a:cubicBezTo>
                  <a:pt x="469" y="529"/>
                  <a:pt x="472" y="530"/>
                  <a:pt x="474" y="533"/>
                </a:cubicBezTo>
                <a:cubicBezTo>
                  <a:pt x="474" y="538"/>
                  <a:pt x="469" y="538"/>
                  <a:pt x="469" y="544"/>
                </a:cubicBezTo>
                <a:cubicBezTo>
                  <a:pt x="471" y="550"/>
                  <a:pt x="469" y="550"/>
                  <a:pt x="465" y="554"/>
                </a:cubicBezTo>
                <a:cubicBezTo>
                  <a:pt x="465" y="555"/>
                  <a:pt x="463" y="555"/>
                  <a:pt x="463" y="557"/>
                </a:cubicBezTo>
                <a:cubicBezTo>
                  <a:pt x="463" y="558"/>
                  <a:pt x="463" y="558"/>
                  <a:pt x="463" y="558"/>
                </a:cubicBezTo>
                <a:cubicBezTo>
                  <a:pt x="466" y="560"/>
                  <a:pt x="463" y="561"/>
                  <a:pt x="460" y="561"/>
                </a:cubicBezTo>
                <a:cubicBezTo>
                  <a:pt x="457" y="561"/>
                  <a:pt x="459" y="564"/>
                  <a:pt x="460" y="564"/>
                </a:cubicBezTo>
                <a:cubicBezTo>
                  <a:pt x="463" y="564"/>
                  <a:pt x="463" y="566"/>
                  <a:pt x="463" y="564"/>
                </a:cubicBezTo>
                <a:cubicBezTo>
                  <a:pt x="465" y="563"/>
                  <a:pt x="466" y="563"/>
                  <a:pt x="468" y="563"/>
                </a:cubicBezTo>
                <a:cubicBezTo>
                  <a:pt x="469" y="561"/>
                  <a:pt x="471" y="557"/>
                  <a:pt x="477" y="558"/>
                </a:cubicBezTo>
                <a:cubicBezTo>
                  <a:pt x="484" y="560"/>
                  <a:pt x="480" y="558"/>
                  <a:pt x="480" y="557"/>
                </a:cubicBezTo>
                <a:cubicBezTo>
                  <a:pt x="481" y="557"/>
                  <a:pt x="483" y="555"/>
                  <a:pt x="486" y="555"/>
                </a:cubicBezTo>
                <a:cubicBezTo>
                  <a:pt x="489" y="555"/>
                  <a:pt x="491" y="555"/>
                  <a:pt x="491" y="555"/>
                </a:cubicBezTo>
                <a:cubicBezTo>
                  <a:pt x="491" y="554"/>
                  <a:pt x="492" y="554"/>
                  <a:pt x="492" y="554"/>
                </a:cubicBezTo>
                <a:cubicBezTo>
                  <a:pt x="489" y="552"/>
                  <a:pt x="489" y="552"/>
                  <a:pt x="489" y="552"/>
                </a:cubicBezTo>
                <a:cubicBezTo>
                  <a:pt x="488" y="552"/>
                  <a:pt x="484" y="552"/>
                  <a:pt x="486" y="549"/>
                </a:cubicBezTo>
                <a:cubicBezTo>
                  <a:pt x="488" y="546"/>
                  <a:pt x="489" y="547"/>
                  <a:pt x="489" y="546"/>
                </a:cubicBezTo>
                <a:cubicBezTo>
                  <a:pt x="491" y="544"/>
                  <a:pt x="494" y="544"/>
                  <a:pt x="498" y="543"/>
                </a:cubicBezTo>
                <a:cubicBezTo>
                  <a:pt x="503" y="541"/>
                  <a:pt x="501" y="541"/>
                  <a:pt x="504" y="543"/>
                </a:cubicBezTo>
                <a:cubicBezTo>
                  <a:pt x="509" y="546"/>
                  <a:pt x="507" y="543"/>
                  <a:pt x="509" y="541"/>
                </a:cubicBezTo>
                <a:cubicBezTo>
                  <a:pt x="512" y="540"/>
                  <a:pt x="513" y="538"/>
                  <a:pt x="516" y="536"/>
                </a:cubicBezTo>
                <a:cubicBezTo>
                  <a:pt x="519" y="533"/>
                  <a:pt x="524" y="530"/>
                  <a:pt x="526" y="530"/>
                </a:cubicBezTo>
                <a:cubicBezTo>
                  <a:pt x="526" y="532"/>
                  <a:pt x="527" y="530"/>
                  <a:pt x="529" y="530"/>
                </a:cubicBezTo>
                <a:cubicBezTo>
                  <a:pt x="551" y="530"/>
                  <a:pt x="551" y="530"/>
                  <a:pt x="551" y="530"/>
                </a:cubicBezTo>
                <a:cubicBezTo>
                  <a:pt x="551" y="527"/>
                  <a:pt x="551" y="527"/>
                  <a:pt x="553" y="527"/>
                </a:cubicBezTo>
                <a:cubicBezTo>
                  <a:pt x="555" y="529"/>
                  <a:pt x="555" y="527"/>
                  <a:pt x="555" y="527"/>
                </a:cubicBezTo>
                <a:cubicBezTo>
                  <a:pt x="556" y="529"/>
                  <a:pt x="556" y="526"/>
                  <a:pt x="558" y="526"/>
                </a:cubicBezTo>
                <a:cubicBezTo>
                  <a:pt x="559" y="526"/>
                  <a:pt x="555" y="526"/>
                  <a:pt x="558" y="524"/>
                </a:cubicBezTo>
                <a:cubicBezTo>
                  <a:pt x="561" y="521"/>
                  <a:pt x="558" y="522"/>
                  <a:pt x="561" y="521"/>
                </a:cubicBezTo>
                <a:cubicBezTo>
                  <a:pt x="562" y="519"/>
                  <a:pt x="559" y="518"/>
                  <a:pt x="562" y="515"/>
                </a:cubicBezTo>
                <a:cubicBezTo>
                  <a:pt x="564" y="513"/>
                  <a:pt x="561" y="513"/>
                  <a:pt x="564" y="510"/>
                </a:cubicBezTo>
                <a:cubicBezTo>
                  <a:pt x="565" y="507"/>
                  <a:pt x="568" y="502"/>
                  <a:pt x="568" y="502"/>
                </a:cubicBezTo>
                <a:cubicBezTo>
                  <a:pt x="568" y="502"/>
                  <a:pt x="570" y="502"/>
                  <a:pt x="570" y="504"/>
                </a:cubicBezTo>
                <a:cubicBezTo>
                  <a:pt x="570" y="505"/>
                  <a:pt x="571" y="505"/>
                  <a:pt x="573" y="505"/>
                </a:cubicBezTo>
                <a:cubicBezTo>
                  <a:pt x="574" y="504"/>
                  <a:pt x="576" y="502"/>
                  <a:pt x="577" y="505"/>
                </a:cubicBezTo>
                <a:cubicBezTo>
                  <a:pt x="580" y="507"/>
                  <a:pt x="580" y="507"/>
                  <a:pt x="580" y="510"/>
                </a:cubicBezTo>
                <a:cubicBezTo>
                  <a:pt x="580" y="512"/>
                  <a:pt x="580" y="519"/>
                  <a:pt x="580" y="521"/>
                </a:cubicBezTo>
                <a:cubicBezTo>
                  <a:pt x="580" y="522"/>
                  <a:pt x="579" y="522"/>
                  <a:pt x="580" y="522"/>
                </a:cubicBezTo>
                <a:cubicBezTo>
                  <a:pt x="582" y="524"/>
                  <a:pt x="582" y="524"/>
                  <a:pt x="582" y="524"/>
                </a:cubicBezTo>
                <a:cubicBezTo>
                  <a:pt x="583" y="524"/>
                  <a:pt x="583" y="524"/>
                  <a:pt x="583" y="526"/>
                </a:cubicBezTo>
                <a:cubicBezTo>
                  <a:pt x="583" y="527"/>
                  <a:pt x="583" y="529"/>
                  <a:pt x="585" y="529"/>
                </a:cubicBezTo>
                <a:cubicBezTo>
                  <a:pt x="591" y="532"/>
                  <a:pt x="594" y="529"/>
                  <a:pt x="600" y="526"/>
                </a:cubicBezTo>
                <a:cubicBezTo>
                  <a:pt x="606" y="522"/>
                  <a:pt x="599" y="527"/>
                  <a:pt x="609" y="526"/>
                </a:cubicBezTo>
                <a:cubicBezTo>
                  <a:pt x="617" y="526"/>
                  <a:pt x="608" y="527"/>
                  <a:pt x="602" y="530"/>
                </a:cubicBezTo>
                <a:cubicBezTo>
                  <a:pt x="596" y="533"/>
                  <a:pt x="591" y="540"/>
                  <a:pt x="594" y="546"/>
                </a:cubicBezTo>
                <a:cubicBezTo>
                  <a:pt x="597" y="552"/>
                  <a:pt x="602" y="547"/>
                  <a:pt x="606" y="540"/>
                </a:cubicBezTo>
                <a:cubicBezTo>
                  <a:pt x="612" y="533"/>
                  <a:pt x="612" y="540"/>
                  <a:pt x="620" y="533"/>
                </a:cubicBezTo>
                <a:cubicBezTo>
                  <a:pt x="626" y="529"/>
                  <a:pt x="635" y="530"/>
                  <a:pt x="632" y="527"/>
                </a:cubicBezTo>
                <a:cubicBezTo>
                  <a:pt x="629" y="524"/>
                  <a:pt x="628" y="521"/>
                  <a:pt x="625" y="522"/>
                </a:cubicBezTo>
                <a:cubicBezTo>
                  <a:pt x="622" y="524"/>
                  <a:pt x="611" y="521"/>
                  <a:pt x="611" y="519"/>
                </a:cubicBezTo>
                <a:cubicBezTo>
                  <a:pt x="612" y="516"/>
                  <a:pt x="606" y="519"/>
                  <a:pt x="605" y="512"/>
                </a:cubicBezTo>
                <a:cubicBezTo>
                  <a:pt x="602" y="502"/>
                  <a:pt x="608" y="496"/>
                  <a:pt x="602" y="498"/>
                </a:cubicBezTo>
                <a:cubicBezTo>
                  <a:pt x="593" y="501"/>
                  <a:pt x="599" y="498"/>
                  <a:pt x="605" y="493"/>
                </a:cubicBezTo>
                <a:cubicBezTo>
                  <a:pt x="609" y="490"/>
                  <a:pt x="611" y="487"/>
                  <a:pt x="605" y="484"/>
                </a:cubicBezTo>
                <a:cubicBezTo>
                  <a:pt x="600" y="479"/>
                  <a:pt x="574" y="487"/>
                  <a:pt x="568" y="494"/>
                </a:cubicBezTo>
                <a:cubicBezTo>
                  <a:pt x="561" y="508"/>
                  <a:pt x="551" y="513"/>
                  <a:pt x="556" y="508"/>
                </a:cubicBezTo>
                <a:cubicBezTo>
                  <a:pt x="561" y="504"/>
                  <a:pt x="568" y="487"/>
                  <a:pt x="579" y="482"/>
                </a:cubicBezTo>
                <a:cubicBezTo>
                  <a:pt x="593" y="477"/>
                  <a:pt x="577" y="473"/>
                  <a:pt x="599" y="470"/>
                </a:cubicBezTo>
                <a:cubicBezTo>
                  <a:pt x="626" y="465"/>
                  <a:pt x="631" y="480"/>
                  <a:pt x="649" y="463"/>
                </a:cubicBezTo>
                <a:cubicBezTo>
                  <a:pt x="666" y="448"/>
                  <a:pt x="663" y="460"/>
                  <a:pt x="667" y="454"/>
                </a:cubicBezTo>
                <a:cubicBezTo>
                  <a:pt x="673" y="448"/>
                  <a:pt x="679" y="449"/>
                  <a:pt x="675" y="442"/>
                </a:cubicBezTo>
                <a:cubicBezTo>
                  <a:pt x="672" y="434"/>
                  <a:pt x="678" y="438"/>
                  <a:pt x="675" y="432"/>
                </a:cubicBezTo>
                <a:cubicBezTo>
                  <a:pt x="672" y="426"/>
                  <a:pt x="669" y="431"/>
                  <a:pt x="664" y="425"/>
                </a:cubicBezTo>
                <a:cubicBezTo>
                  <a:pt x="660" y="418"/>
                  <a:pt x="655" y="423"/>
                  <a:pt x="647" y="429"/>
                </a:cubicBezTo>
                <a:cubicBezTo>
                  <a:pt x="638" y="435"/>
                  <a:pt x="637" y="428"/>
                  <a:pt x="644" y="426"/>
                </a:cubicBezTo>
                <a:cubicBezTo>
                  <a:pt x="652" y="425"/>
                  <a:pt x="650" y="421"/>
                  <a:pt x="658" y="420"/>
                </a:cubicBezTo>
                <a:cubicBezTo>
                  <a:pt x="666" y="418"/>
                  <a:pt x="663" y="415"/>
                  <a:pt x="655" y="414"/>
                </a:cubicBezTo>
                <a:cubicBezTo>
                  <a:pt x="647" y="414"/>
                  <a:pt x="653" y="411"/>
                  <a:pt x="644" y="409"/>
                </a:cubicBezTo>
                <a:cubicBezTo>
                  <a:pt x="635" y="407"/>
                  <a:pt x="643" y="404"/>
                  <a:pt x="637" y="401"/>
                </a:cubicBezTo>
                <a:cubicBezTo>
                  <a:pt x="631" y="398"/>
                  <a:pt x="626" y="395"/>
                  <a:pt x="631" y="389"/>
                </a:cubicBezTo>
                <a:cubicBezTo>
                  <a:pt x="634" y="381"/>
                  <a:pt x="622" y="384"/>
                  <a:pt x="626" y="379"/>
                </a:cubicBezTo>
                <a:cubicBezTo>
                  <a:pt x="629" y="375"/>
                  <a:pt x="622" y="375"/>
                  <a:pt x="620" y="367"/>
                </a:cubicBezTo>
                <a:cubicBezTo>
                  <a:pt x="620" y="361"/>
                  <a:pt x="618" y="365"/>
                  <a:pt x="617" y="361"/>
                </a:cubicBezTo>
                <a:cubicBezTo>
                  <a:pt x="615" y="355"/>
                  <a:pt x="614" y="359"/>
                  <a:pt x="609" y="350"/>
                </a:cubicBezTo>
                <a:cubicBezTo>
                  <a:pt x="605" y="341"/>
                  <a:pt x="605" y="344"/>
                  <a:pt x="600" y="350"/>
                </a:cubicBezTo>
                <a:cubicBezTo>
                  <a:pt x="596" y="355"/>
                  <a:pt x="599" y="365"/>
                  <a:pt x="593" y="364"/>
                </a:cubicBezTo>
                <a:cubicBezTo>
                  <a:pt x="585" y="362"/>
                  <a:pt x="593" y="365"/>
                  <a:pt x="585" y="369"/>
                </a:cubicBezTo>
                <a:cubicBezTo>
                  <a:pt x="576" y="372"/>
                  <a:pt x="579" y="362"/>
                  <a:pt x="570" y="362"/>
                </a:cubicBezTo>
                <a:cubicBezTo>
                  <a:pt x="562" y="362"/>
                  <a:pt x="571" y="359"/>
                  <a:pt x="567" y="358"/>
                </a:cubicBezTo>
                <a:cubicBezTo>
                  <a:pt x="562" y="355"/>
                  <a:pt x="568" y="355"/>
                  <a:pt x="565" y="348"/>
                </a:cubicBezTo>
                <a:cubicBezTo>
                  <a:pt x="562" y="344"/>
                  <a:pt x="570" y="337"/>
                  <a:pt x="567" y="334"/>
                </a:cubicBezTo>
                <a:cubicBezTo>
                  <a:pt x="564" y="331"/>
                  <a:pt x="564" y="339"/>
                  <a:pt x="562" y="336"/>
                </a:cubicBezTo>
                <a:cubicBezTo>
                  <a:pt x="561" y="333"/>
                  <a:pt x="550" y="333"/>
                  <a:pt x="550" y="330"/>
                </a:cubicBezTo>
                <a:cubicBezTo>
                  <a:pt x="551" y="325"/>
                  <a:pt x="545" y="323"/>
                  <a:pt x="538" y="317"/>
                </a:cubicBezTo>
                <a:cubicBezTo>
                  <a:pt x="526" y="309"/>
                  <a:pt x="536" y="327"/>
                  <a:pt x="509" y="314"/>
                </a:cubicBezTo>
                <a:cubicBezTo>
                  <a:pt x="497" y="309"/>
                  <a:pt x="497" y="323"/>
                  <a:pt x="500" y="325"/>
                </a:cubicBezTo>
                <a:cubicBezTo>
                  <a:pt x="503" y="328"/>
                  <a:pt x="501" y="333"/>
                  <a:pt x="500" y="336"/>
                </a:cubicBezTo>
                <a:cubicBezTo>
                  <a:pt x="497" y="339"/>
                  <a:pt x="500" y="337"/>
                  <a:pt x="503" y="345"/>
                </a:cubicBezTo>
                <a:cubicBezTo>
                  <a:pt x="506" y="351"/>
                  <a:pt x="503" y="351"/>
                  <a:pt x="501" y="356"/>
                </a:cubicBezTo>
                <a:cubicBezTo>
                  <a:pt x="500" y="361"/>
                  <a:pt x="497" y="358"/>
                  <a:pt x="495" y="364"/>
                </a:cubicBezTo>
                <a:cubicBezTo>
                  <a:pt x="494" y="370"/>
                  <a:pt x="506" y="367"/>
                  <a:pt x="510" y="384"/>
                </a:cubicBezTo>
                <a:cubicBezTo>
                  <a:pt x="515" y="401"/>
                  <a:pt x="500" y="411"/>
                  <a:pt x="491" y="414"/>
                </a:cubicBezTo>
                <a:cubicBezTo>
                  <a:pt x="480" y="418"/>
                  <a:pt x="491" y="418"/>
                  <a:pt x="491" y="428"/>
                </a:cubicBezTo>
                <a:cubicBezTo>
                  <a:pt x="491" y="435"/>
                  <a:pt x="498" y="446"/>
                  <a:pt x="494" y="448"/>
                </a:cubicBezTo>
                <a:cubicBezTo>
                  <a:pt x="489" y="451"/>
                  <a:pt x="497" y="459"/>
                  <a:pt x="491" y="454"/>
                </a:cubicBezTo>
                <a:cubicBezTo>
                  <a:pt x="483" y="449"/>
                  <a:pt x="489" y="463"/>
                  <a:pt x="483" y="459"/>
                </a:cubicBezTo>
                <a:cubicBezTo>
                  <a:pt x="477" y="454"/>
                  <a:pt x="481" y="452"/>
                  <a:pt x="469" y="442"/>
                </a:cubicBezTo>
                <a:cubicBezTo>
                  <a:pt x="462" y="435"/>
                  <a:pt x="468" y="431"/>
                  <a:pt x="465" y="425"/>
                </a:cubicBezTo>
                <a:cubicBezTo>
                  <a:pt x="462" y="415"/>
                  <a:pt x="471" y="412"/>
                  <a:pt x="462" y="411"/>
                </a:cubicBezTo>
                <a:cubicBezTo>
                  <a:pt x="446" y="406"/>
                  <a:pt x="446" y="411"/>
                  <a:pt x="443" y="409"/>
                </a:cubicBezTo>
                <a:cubicBezTo>
                  <a:pt x="439" y="407"/>
                  <a:pt x="442" y="404"/>
                  <a:pt x="428" y="401"/>
                </a:cubicBezTo>
                <a:cubicBezTo>
                  <a:pt x="414" y="397"/>
                  <a:pt x="430" y="395"/>
                  <a:pt x="408" y="387"/>
                </a:cubicBezTo>
                <a:cubicBezTo>
                  <a:pt x="387" y="378"/>
                  <a:pt x="384" y="395"/>
                  <a:pt x="384" y="384"/>
                </a:cubicBezTo>
                <a:cubicBezTo>
                  <a:pt x="384" y="373"/>
                  <a:pt x="381" y="375"/>
                  <a:pt x="379" y="367"/>
                </a:cubicBezTo>
                <a:cubicBezTo>
                  <a:pt x="379" y="361"/>
                  <a:pt x="367" y="370"/>
                  <a:pt x="366" y="356"/>
                </a:cubicBezTo>
                <a:cubicBezTo>
                  <a:pt x="364" y="341"/>
                  <a:pt x="379" y="319"/>
                  <a:pt x="383" y="320"/>
                </a:cubicBezTo>
                <a:cubicBezTo>
                  <a:pt x="386" y="320"/>
                  <a:pt x="383" y="311"/>
                  <a:pt x="390" y="311"/>
                </a:cubicBezTo>
                <a:cubicBezTo>
                  <a:pt x="396" y="311"/>
                  <a:pt x="404" y="309"/>
                  <a:pt x="396" y="303"/>
                </a:cubicBezTo>
                <a:cubicBezTo>
                  <a:pt x="390" y="297"/>
                  <a:pt x="404" y="303"/>
                  <a:pt x="405" y="295"/>
                </a:cubicBezTo>
                <a:cubicBezTo>
                  <a:pt x="407" y="288"/>
                  <a:pt x="413" y="305"/>
                  <a:pt x="421" y="291"/>
                </a:cubicBezTo>
                <a:cubicBezTo>
                  <a:pt x="428" y="277"/>
                  <a:pt x="431" y="281"/>
                  <a:pt x="416" y="277"/>
                </a:cubicBezTo>
                <a:cubicBezTo>
                  <a:pt x="405" y="275"/>
                  <a:pt x="410" y="272"/>
                  <a:pt x="402" y="269"/>
                </a:cubicBezTo>
                <a:cubicBezTo>
                  <a:pt x="411" y="268"/>
                  <a:pt x="421" y="283"/>
                  <a:pt x="430" y="274"/>
                </a:cubicBezTo>
                <a:cubicBezTo>
                  <a:pt x="437" y="264"/>
                  <a:pt x="437" y="266"/>
                  <a:pt x="431" y="261"/>
                </a:cubicBezTo>
                <a:cubicBezTo>
                  <a:pt x="424" y="258"/>
                  <a:pt x="439" y="258"/>
                  <a:pt x="442" y="261"/>
                </a:cubicBezTo>
                <a:cubicBezTo>
                  <a:pt x="445" y="264"/>
                  <a:pt x="448" y="266"/>
                  <a:pt x="449" y="269"/>
                </a:cubicBezTo>
                <a:cubicBezTo>
                  <a:pt x="451" y="272"/>
                  <a:pt x="453" y="274"/>
                  <a:pt x="457" y="272"/>
                </a:cubicBezTo>
                <a:cubicBezTo>
                  <a:pt x="460" y="271"/>
                  <a:pt x="448" y="268"/>
                  <a:pt x="453" y="264"/>
                </a:cubicBezTo>
                <a:cubicBezTo>
                  <a:pt x="457" y="263"/>
                  <a:pt x="459" y="258"/>
                  <a:pt x="462" y="258"/>
                </a:cubicBezTo>
                <a:cubicBezTo>
                  <a:pt x="466" y="260"/>
                  <a:pt x="466" y="254"/>
                  <a:pt x="471" y="254"/>
                </a:cubicBezTo>
                <a:cubicBezTo>
                  <a:pt x="474" y="254"/>
                  <a:pt x="475" y="247"/>
                  <a:pt x="469" y="243"/>
                </a:cubicBezTo>
                <a:cubicBezTo>
                  <a:pt x="463" y="238"/>
                  <a:pt x="471" y="240"/>
                  <a:pt x="466" y="235"/>
                </a:cubicBezTo>
                <a:cubicBezTo>
                  <a:pt x="462" y="230"/>
                  <a:pt x="472" y="235"/>
                  <a:pt x="474" y="230"/>
                </a:cubicBezTo>
                <a:cubicBezTo>
                  <a:pt x="475" y="224"/>
                  <a:pt x="469" y="229"/>
                  <a:pt x="472" y="224"/>
                </a:cubicBezTo>
                <a:cubicBezTo>
                  <a:pt x="475" y="219"/>
                  <a:pt x="466" y="224"/>
                  <a:pt x="465" y="218"/>
                </a:cubicBezTo>
                <a:cubicBezTo>
                  <a:pt x="465" y="213"/>
                  <a:pt x="457" y="216"/>
                  <a:pt x="451" y="213"/>
                </a:cubicBezTo>
                <a:cubicBezTo>
                  <a:pt x="443" y="210"/>
                  <a:pt x="448" y="213"/>
                  <a:pt x="442" y="213"/>
                </a:cubicBezTo>
                <a:cubicBezTo>
                  <a:pt x="436" y="213"/>
                  <a:pt x="439" y="222"/>
                  <a:pt x="442" y="224"/>
                </a:cubicBezTo>
                <a:cubicBezTo>
                  <a:pt x="446" y="226"/>
                  <a:pt x="443" y="229"/>
                  <a:pt x="440" y="229"/>
                </a:cubicBezTo>
                <a:cubicBezTo>
                  <a:pt x="437" y="227"/>
                  <a:pt x="440" y="236"/>
                  <a:pt x="434" y="241"/>
                </a:cubicBezTo>
                <a:cubicBezTo>
                  <a:pt x="430" y="244"/>
                  <a:pt x="434" y="247"/>
                  <a:pt x="428" y="250"/>
                </a:cubicBezTo>
                <a:cubicBezTo>
                  <a:pt x="422" y="252"/>
                  <a:pt x="425" y="249"/>
                  <a:pt x="419" y="244"/>
                </a:cubicBezTo>
                <a:cubicBezTo>
                  <a:pt x="413" y="238"/>
                  <a:pt x="422" y="240"/>
                  <a:pt x="422" y="235"/>
                </a:cubicBezTo>
                <a:cubicBezTo>
                  <a:pt x="422" y="232"/>
                  <a:pt x="414" y="218"/>
                  <a:pt x="408" y="222"/>
                </a:cubicBezTo>
                <a:cubicBezTo>
                  <a:pt x="404" y="227"/>
                  <a:pt x="407" y="240"/>
                  <a:pt x="401" y="233"/>
                </a:cubicBezTo>
                <a:cubicBezTo>
                  <a:pt x="396" y="229"/>
                  <a:pt x="404" y="230"/>
                  <a:pt x="399" y="224"/>
                </a:cubicBezTo>
                <a:cubicBezTo>
                  <a:pt x="393" y="219"/>
                  <a:pt x="405" y="221"/>
                  <a:pt x="399" y="218"/>
                </a:cubicBezTo>
                <a:cubicBezTo>
                  <a:pt x="392" y="213"/>
                  <a:pt x="392" y="219"/>
                  <a:pt x="387" y="216"/>
                </a:cubicBezTo>
                <a:cubicBezTo>
                  <a:pt x="381" y="213"/>
                  <a:pt x="395" y="208"/>
                  <a:pt x="392" y="207"/>
                </a:cubicBezTo>
                <a:cubicBezTo>
                  <a:pt x="389" y="204"/>
                  <a:pt x="381" y="201"/>
                  <a:pt x="381" y="194"/>
                </a:cubicBezTo>
                <a:cubicBezTo>
                  <a:pt x="381" y="188"/>
                  <a:pt x="370" y="182"/>
                  <a:pt x="366" y="182"/>
                </a:cubicBezTo>
                <a:cubicBezTo>
                  <a:pt x="360" y="180"/>
                  <a:pt x="364" y="185"/>
                  <a:pt x="360" y="185"/>
                </a:cubicBezTo>
                <a:cubicBezTo>
                  <a:pt x="354" y="187"/>
                  <a:pt x="360" y="188"/>
                  <a:pt x="354" y="191"/>
                </a:cubicBezTo>
                <a:cubicBezTo>
                  <a:pt x="347" y="194"/>
                  <a:pt x="355" y="201"/>
                  <a:pt x="354" y="204"/>
                </a:cubicBezTo>
                <a:cubicBezTo>
                  <a:pt x="352" y="208"/>
                  <a:pt x="352" y="212"/>
                  <a:pt x="361" y="215"/>
                </a:cubicBezTo>
                <a:cubicBezTo>
                  <a:pt x="370" y="218"/>
                  <a:pt x="373" y="222"/>
                  <a:pt x="369" y="226"/>
                </a:cubicBezTo>
                <a:cubicBezTo>
                  <a:pt x="364" y="227"/>
                  <a:pt x="367" y="230"/>
                  <a:pt x="372" y="229"/>
                </a:cubicBezTo>
                <a:cubicBezTo>
                  <a:pt x="376" y="226"/>
                  <a:pt x="376" y="230"/>
                  <a:pt x="370" y="236"/>
                </a:cubicBezTo>
                <a:cubicBezTo>
                  <a:pt x="363" y="241"/>
                  <a:pt x="363" y="235"/>
                  <a:pt x="361" y="240"/>
                </a:cubicBezTo>
                <a:cubicBezTo>
                  <a:pt x="358" y="244"/>
                  <a:pt x="367" y="255"/>
                  <a:pt x="360" y="250"/>
                </a:cubicBezTo>
                <a:cubicBezTo>
                  <a:pt x="354" y="246"/>
                  <a:pt x="354" y="246"/>
                  <a:pt x="355" y="241"/>
                </a:cubicBezTo>
                <a:cubicBezTo>
                  <a:pt x="357" y="238"/>
                  <a:pt x="357" y="235"/>
                  <a:pt x="352" y="235"/>
                </a:cubicBezTo>
                <a:cubicBezTo>
                  <a:pt x="346" y="236"/>
                  <a:pt x="344" y="230"/>
                  <a:pt x="338" y="233"/>
                </a:cubicBezTo>
                <a:cubicBezTo>
                  <a:pt x="332" y="236"/>
                  <a:pt x="340" y="241"/>
                  <a:pt x="334" y="243"/>
                </a:cubicBezTo>
                <a:cubicBezTo>
                  <a:pt x="329" y="244"/>
                  <a:pt x="331" y="240"/>
                  <a:pt x="319" y="243"/>
                </a:cubicBezTo>
                <a:cubicBezTo>
                  <a:pt x="302" y="246"/>
                  <a:pt x="300" y="236"/>
                  <a:pt x="296" y="238"/>
                </a:cubicBezTo>
                <a:cubicBezTo>
                  <a:pt x="285" y="243"/>
                  <a:pt x="282" y="226"/>
                  <a:pt x="274" y="227"/>
                </a:cubicBezTo>
                <a:cubicBezTo>
                  <a:pt x="268" y="227"/>
                  <a:pt x="253" y="230"/>
                  <a:pt x="256" y="236"/>
                </a:cubicBezTo>
                <a:cubicBezTo>
                  <a:pt x="259" y="241"/>
                  <a:pt x="268" y="232"/>
                  <a:pt x="271" y="235"/>
                </a:cubicBezTo>
                <a:cubicBezTo>
                  <a:pt x="276" y="236"/>
                  <a:pt x="264" y="236"/>
                  <a:pt x="262" y="241"/>
                </a:cubicBezTo>
                <a:cubicBezTo>
                  <a:pt x="261" y="246"/>
                  <a:pt x="273" y="258"/>
                  <a:pt x="261" y="249"/>
                </a:cubicBezTo>
                <a:cubicBezTo>
                  <a:pt x="249" y="241"/>
                  <a:pt x="250" y="246"/>
                  <a:pt x="245" y="241"/>
                </a:cubicBezTo>
                <a:cubicBezTo>
                  <a:pt x="241" y="235"/>
                  <a:pt x="245" y="243"/>
                  <a:pt x="230" y="243"/>
                </a:cubicBezTo>
                <a:cubicBezTo>
                  <a:pt x="217" y="244"/>
                  <a:pt x="198" y="243"/>
                  <a:pt x="204" y="238"/>
                </a:cubicBezTo>
                <a:cubicBezTo>
                  <a:pt x="210" y="233"/>
                  <a:pt x="218" y="238"/>
                  <a:pt x="212" y="233"/>
                </a:cubicBezTo>
                <a:cubicBezTo>
                  <a:pt x="207" y="229"/>
                  <a:pt x="204" y="224"/>
                  <a:pt x="195" y="226"/>
                </a:cubicBezTo>
                <a:cubicBezTo>
                  <a:pt x="186" y="227"/>
                  <a:pt x="177" y="222"/>
                  <a:pt x="169" y="221"/>
                </a:cubicBezTo>
                <a:cubicBezTo>
                  <a:pt x="160" y="218"/>
                  <a:pt x="154" y="212"/>
                  <a:pt x="147" y="213"/>
                </a:cubicBezTo>
                <a:cubicBezTo>
                  <a:pt x="137" y="213"/>
                  <a:pt x="143" y="221"/>
                  <a:pt x="136" y="219"/>
                </a:cubicBezTo>
                <a:cubicBezTo>
                  <a:pt x="128" y="218"/>
                  <a:pt x="137" y="207"/>
                  <a:pt x="127" y="208"/>
                </a:cubicBezTo>
                <a:cubicBezTo>
                  <a:pt x="122" y="210"/>
                  <a:pt x="128" y="224"/>
                  <a:pt x="118" y="218"/>
                </a:cubicBezTo>
                <a:cubicBezTo>
                  <a:pt x="112" y="215"/>
                  <a:pt x="108" y="198"/>
                  <a:pt x="102" y="202"/>
                </a:cubicBezTo>
                <a:cubicBezTo>
                  <a:pt x="95" y="208"/>
                  <a:pt x="112" y="204"/>
                  <a:pt x="99" y="212"/>
                </a:cubicBezTo>
                <a:cubicBezTo>
                  <a:pt x="90" y="216"/>
                  <a:pt x="101" y="208"/>
                  <a:pt x="86" y="215"/>
                </a:cubicBezTo>
                <a:cubicBezTo>
                  <a:pt x="69" y="221"/>
                  <a:pt x="77" y="216"/>
                  <a:pt x="86" y="212"/>
                </a:cubicBezTo>
                <a:cubicBezTo>
                  <a:pt x="95" y="207"/>
                  <a:pt x="93" y="207"/>
                  <a:pt x="89" y="208"/>
                </a:cubicBezTo>
                <a:cubicBezTo>
                  <a:pt x="83" y="210"/>
                  <a:pt x="84" y="205"/>
                  <a:pt x="75" y="212"/>
                </a:cubicBezTo>
                <a:cubicBezTo>
                  <a:pt x="67" y="216"/>
                  <a:pt x="72" y="210"/>
                  <a:pt x="63" y="218"/>
                </a:cubicBezTo>
                <a:cubicBezTo>
                  <a:pt x="54" y="224"/>
                  <a:pt x="49" y="224"/>
                  <a:pt x="52" y="227"/>
                </a:cubicBezTo>
                <a:cubicBezTo>
                  <a:pt x="54" y="230"/>
                  <a:pt x="48" y="226"/>
                  <a:pt x="43" y="229"/>
                </a:cubicBezTo>
                <a:cubicBezTo>
                  <a:pt x="38" y="230"/>
                  <a:pt x="42" y="226"/>
                  <a:pt x="32" y="226"/>
                </a:cubicBezTo>
                <a:cubicBezTo>
                  <a:pt x="22" y="226"/>
                  <a:pt x="14" y="215"/>
                  <a:pt x="0" y="216"/>
                </a:cubicBezTo>
                <a:cubicBezTo>
                  <a:pt x="0" y="344"/>
                  <a:pt x="0" y="344"/>
                  <a:pt x="0" y="344"/>
                </a:cubicBezTo>
                <a:cubicBezTo>
                  <a:pt x="6" y="347"/>
                  <a:pt x="3" y="342"/>
                  <a:pt x="5" y="344"/>
                </a:cubicBezTo>
                <a:cubicBezTo>
                  <a:pt x="8" y="345"/>
                  <a:pt x="8" y="345"/>
                  <a:pt x="10" y="345"/>
                </a:cubicBezTo>
                <a:cubicBezTo>
                  <a:pt x="11" y="344"/>
                  <a:pt x="16" y="342"/>
                  <a:pt x="16" y="345"/>
                </a:cubicBezTo>
                <a:cubicBezTo>
                  <a:pt x="14" y="347"/>
                  <a:pt x="13" y="347"/>
                  <a:pt x="16" y="348"/>
                </a:cubicBezTo>
                <a:cubicBezTo>
                  <a:pt x="20" y="350"/>
                  <a:pt x="16" y="351"/>
                  <a:pt x="23" y="355"/>
                </a:cubicBezTo>
                <a:cubicBezTo>
                  <a:pt x="29" y="359"/>
                  <a:pt x="26" y="361"/>
                  <a:pt x="28" y="361"/>
                </a:cubicBezTo>
                <a:cubicBezTo>
                  <a:pt x="29" y="362"/>
                  <a:pt x="29" y="359"/>
                  <a:pt x="34" y="359"/>
                </a:cubicBezTo>
                <a:cubicBezTo>
                  <a:pt x="38" y="358"/>
                  <a:pt x="34" y="356"/>
                  <a:pt x="37" y="355"/>
                </a:cubicBezTo>
                <a:cubicBezTo>
                  <a:pt x="40" y="355"/>
                  <a:pt x="35" y="353"/>
                  <a:pt x="38" y="353"/>
                </a:cubicBezTo>
                <a:cubicBezTo>
                  <a:pt x="45" y="350"/>
                  <a:pt x="45" y="350"/>
                  <a:pt x="46" y="353"/>
                </a:cubicBezTo>
                <a:cubicBezTo>
                  <a:pt x="49" y="356"/>
                  <a:pt x="46" y="355"/>
                  <a:pt x="48" y="356"/>
                </a:cubicBezTo>
                <a:cubicBezTo>
                  <a:pt x="49" y="359"/>
                  <a:pt x="51" y="358"/>
                  <a:pt x="52" y="361"/>
                </a:cubicBezTo>
                <a:cubicBezTo>
                  <a:pt x="54" y="365"/>
                  <a:pt x="57" y="362"/>
                  <a:pt x="58" y="367"/>
                </a:cubicBezTo>
                <a:cubicBezTo>
                  <a:pt x="61" y="370"/>
                  <a:pt x="67" y="381"/>
                  <a:pt x="69" y="383"/>
                </a:cubicBezTo>
                <a:cubicBezTo>
                  <a:pt x="70" y="386"/>
                  <a:pt x="67" y="386"/>
                  <a:pt x="70" y="386"/>
                </a:cubicBezTo>
                <a:cubicBezTo>
                  <a:pt x="72" y="386"/>
                  <a:pt x="69" y="389"/>
                  <a:pt x="72" y="389"/>
                </a:cubicBezTo>
                <a:cubicBezTo>
                  <a:pt x="73" y="389"/>
                  <a:pt x="70" y="392"/>
                  <a:pt x="73" y="392"/>
                </a:cubicBezTo>
                <a:cubicBezTo>
                  <a:pt x="77" y="390"/>
                  <a:pt x="75" y="393"/>
                  <a:pt x="81" y="395"/>
                </a:cubicBezTo>
                <a:cubicBezTo>
                  <a:pt x="86" y="397"/>
                  <a:pt x="83" y="398"/>
                  <a:pt x="86" y="398"/>
                </a:cubicBezTo>
                <a:cubicBezTo>
                  <a:pt x="87" y="398"/>
                  <a:pt x="87" y="400"/>
                  <a:pt x="87" y="400"/>
                </a:cubicBezTo>
                <a:cubicBezTo>
                  <a:pt x="86" y="404"/>
                  <a:pt x="89" y="407"/>
                  <a:pt x="87" y="411"/>
                </a:cubicBezTo>
                <a:cubicBezTo>
                  <a:pt x="84" y="412"/>
                  <a:pt x="87" y="414"/>
                  <a:pt x="86" y="415"/>
                </a:cubicBezTo>
                <a:cubicBezTo>
                  <a:pt x="81" y="420"/>
                  <a:pt x="84" y="420"/>
                  <a:pt x="86" y="421"/>
                </a:cubicBezTo>
                <a:cubicBezTo>
                  <a:pt x="86" y="425"/>
                  <a:pt x="89" y="428"/>
                  <a:pt x="92" y="431"/>
                </a:cubicBezTo>
                <a:cubicBezTo>
                  <a:pt x="93" y="434"/>
                  <a:pt x="90" y="426"/>
                  <a:pt x="98" y="426"/>
                </a:cubicBezTo>
                <a:cubicBezTo>
                  <a:pt x="102" y="425"/>
                  <a:pt x="93" y="428"/>
                  <a:pt x="96" y="432"/>
                </a:cubicBezTo>
                <a:cubicBezTo>
                  <a:pt x="98" y="435"/>
                  <a:pt x="98" y="432"/>
                  <a:pt x="98" y="437"/>
                </a:cubicBezTo>
                <a:cubicBezTo>
                  <a:pt x="99" y="442"/>
                  <a:pt x="104" y="434"/>
                  <a:pt x="101" y="440"/>
                </a:cubicBezTo>
                <a:cubicBezTo>
                  <a:pt x="99" y="446"/>
                  <a:pt x="99" y="448"/>
                  <a:pt x="101" y="446"/>
                </a:cubicBezTo>
                <a:cubicBezTo>
                  <a:pt x="101" y="446"/>
                  <a:pt x="99" y="449"/>
                  <a:pt x="102" y="451"/>
                </a:cubicBezTo>
                <a:cubicBezTo>
                  <a:pt x="104" y="451"/>
                  <a:pt x="102" y="446"/>
                  <a:pt x="105" y="445"/>
                </a:cubicBezTo>
                <a:cubicBezTo>
                  <a:pt x="107" y="445"/>
                  <a:pt x="108" y="442"/>
                  <a:pt x="108" y="443"/>
                </a:cubicBezTo>
                <a:cubicBezTo>
                  <a:pt x="110" y="445"/>
                  <a:pt x="113" y="443"/>
                  <a:pt x="113" y="445"/>
                </a:cubicBezTo>
                <a:cubicBezTo>
                  <a:pt x="112" y="448"/>
                  <a:pt x="112" y="443"/>
                  <a:pt x="107" y="446"/>
                </a:cubicBezTo>
                <a:cubicBezTo>
                  <a:pt x="102" y="449"/>
                  <a:pt x="104" y="449"/>
                  <a:pt x="104" y="452"/>
                </a:cubicBezTo>
                <a:cubicBezTo>
                  <a:pt x="104" y="456"/>
                  <a:pt x="107" y="454"/>
                  <a:pt x="105" y="456"/>
                </a:cubicBezTo>
                <a:cubicBezTo>
                  <a:pt x="104" y="457"/>
                  <a:pt x="107" y="457"/>
                  <a:pt x="105" y="457"/>
                </a:cubicBezTo>
                <a:cubicBezTo>
                  <a:pt x="102" y="459"/>
                  <a:pt x="105" y="460"/>
                  <a:pt x="108" y="462"/>
                </a:cubicBezTo>
                <a:cubicBezTo>
                  <a:pt x="112" y="463"/>
                  <a:pt x="112" y="460"/>
                  <a:pt x="115" y="462"/>
                </a:cubicBezTo>
                <a:cubicBezTo>
                  <a:pt x="118" y="462"/>
                  <a:pt x="113" y="463"/>
                  <a:pt x="116" y="463"/>
                </a:cubicBezTo>
                <a:cubicBezTo>
                  <a:pt x="121" y="462"/>
                  <a:pt x="115" y="468"/>
                  <a:pt x="119" y="466"/>
                </a:cubicBezTo>
                <a:cubicBezTo>
                  <a:pt x="121" y="466"/>
                  <a:pt x="119" y="468"/>
                  <a:pt x="122" y="466"/>
                </a:cubicBezTo>
                <a:cubicBezTo>
                  <a:pt x="125" y="466"/>
                  <a:pt x="127" y="470"/>
                  <a:pt x="128" y="468"/>
                </a:cubicBezTo>
                <a:cubicBezTo>
                  <a:pt x="130" y="466"/>
                  <a:pt x="131" y="471"/>
                  <a:pt x="128" y="471"/>
                </a:cubicBezTo>
                <a:cubicBezTo>
                  <a:pt x="127" y="473"/>
                  <a:pt x="131" y="476"/>
                  <a:pt x="133" y="476"/>
                </a:cubicBezTo>
                <a:cubicBezTo>
                  <a:pt x="136" y="474"/>
                  <a:pt x="136" y="471"/>
                  <a:pt x="136" y="474"/>
                </a:cubicBezTo>
                <a:cubicBezTo>
                  <a:pt x="136" y="477"/>
                  <a:pt x="137" y="476"/>
                  <a:pt x="137" y="477"/>
                </a:cubicBezTo>
                <a:cubicBezTo>
                  <a:pt x="136" y="479"/>
                  <a:pt x="136" y="474"/>
                  <a:pt x="134" y="476"/>
                </a:cubicBezTo>
                <a:cubicBezTo>
                  <a:pt x="133" y="477"/>
                  <a:pt x="139" y="480"/>
                  <a:pt x="139" y="479"/>
                </a:cubicBezTo>
                <a:cubicBezTo>
                  <a:pt x="139" y="477"/>
                  <a:pt x="140" y="476"/>
                  <a:pt x="140" y="479"/>
                </a:cubicBezTo>
                <a:cubicBezTo>
                  <a:pt x="140" y="480"/>
                  <a:pt x="142" y="482"/>
                  <a:pt x="142" y="484"/>
                </a:cubicBezTo>
                <a:cubicBezTo>
                  <a:pt x="140" y="485"/>
                  <a:pt x="142" y="485"/>
                  <a:pt x="143" y="484"/>
                </a:cubicBezTo>
                <a:cubicBezTo>
                  <a:pt x="143" y="482"/>
                  <a:pt x="143" y="484"/>
                  <a:pt x="143" y="485"/>
                </a:cubicBezTo>
                <a:cubicBezTo>
                  <a:pt x="363" y="485"/>
                  <a:pt x="363" y="485"/>
                  <a:pt x="363" y="485"/>
                </a:cubicBezTo>
                <a:close/>
                <a:moveTo>
                  <a:pt x="484" y="328"/>
                </a:moveTo>
                <a:cubicBezTo>
                  <a:pt x="488" y="327"/>
                  <a:pt x="491" y="316"/>
                  <a:pt x="484" y="317"/>
                </a:cubicBezTo>
                <a:cubicBezTo>
                  <a:pt x="478" y="319"/>
                  <a:pt x="483" y="328"/>
                  <a:pt x="484" y="328"/>
                </a:cubicBezTo>
                <a:close/>
                <a:moveTo>
                  <a:pt x="600" y="325"/>
                </a:moveTo>
                <a:cubicBezTo>
                  <a:pt x="603" y="325"/>
                  <a:pt x="606" y="327"/>
                  <a:pt x="605" y="330"/>
                </a:cubicBezTo>
                <a:cubicBezTo>
                  <a:pt x="603" y="333"/>
                  <a:pt x="596" y="327"/>
                  <a:pt x="600" y="325"/>
                </a:cubicBezTo>
                <a:close/>
                <a:moveTo>
                  <a:pt x="431" y="235"/>
                </a:moveTo>
                <a:cubicBezTo>
                  <a:pt x="431" y="233"/>
                  <a:pt x="425" y="236"/>
                  <a:pt x="428" y="241"/>
                </a:cubicBezTo>
                <a:cubicBezTo>
                  <a:pt x="433" y="247"/>
                  <a:pt x="433" y="236"/>
                  <a:pt x="431" y="235"/>
                </a:cubicBezTo>
                <a:close/>
                <a:moveTo>
                  <a:pt x="372" y="96"/>
                </a:moveTo>
                <a:cubicBezTo>
                  <a:pt x="383" y="96"/>
                  <a:pt x="379" y="92"/>
                  <a:pt x="370" y="92"/>
                </a:cubicBezTo>
                <a:cubicBezTo>
                  <a:pt x="360" y="90"/>
                  <a:pt x="354" y="92"/>
                  <a:pt x="354" y="95"/>
                </a:cubicBezTo>
                <a:cubicBezTo>
                  <a:pt x="354" y="98"/>
                  <a:pt x="361" y="96"/>
                  <a:pt x="372" y="96"/>
                </a:cubicBezTo>
                <a:close/>
                <a:moveTo>
                  <a:pt x="296" y="132"/>
                </a:moveTo>
                <a:cubicBezTo>
                  <a:pt x="294" y="129"/>
                  <a:pt x="287" y="126"/>
                  <a:pt x="287" y="132"/>
                </a:cubicBezTo>
                <a:cubicBezTo>
                  <a:pt x="287" y="137"/>
                  <a:pt x="297" y="135"/>
                  <a:pt x="296" y="132"/>
                </a:cubicBezTo>
                <a:close/>
                <a:moveTo>
                  <a:pt x="183" y="120"/>
                </a:moveTo>
                <a:cubicBezTo>
                  <a:pt x="177" y="121"/>
                  <a:pt x="166" y="126"/>
                  <a:pt x="175" y="128"/>
                </a:cubicBezTo>
                <a:cubicBezTo>
                  <a:pt x="182" y="128"/>
                  <a:pt x="188" y="117"/>
                  <a:pt x="183" y="120"/>
                </a:cubicBezTo>
                <a:close/>
                <a:moveTo>
                  <a:pt x="207" y="107"/>
                </a:moveTo>
                <a:cubicBezTo>
                  <a:pt x="209" y="104"/>
                  <a:pt x="221" y="106"/>
                  <a:pt x="218" y="107"/>
                </a:cubicBezTo>
                <a:cubicBezTo>
                  <a:pt x="215" y="109"/>
                  <a:pt x="206" y="109"/>
                  <a:pt x="207" y="107"/>
                </a:cubicBezTo>
                <a:close/>
                <a:moveTo>
                  <a:pt x="213" y="89"/>
                </a:moveTo>
                <a:cubicBezTo>
                  <a:pt x="210" y="86"/>
                  <a:pt x="207" y="87"/>
                  <a:pt x="206" y="89"/>
                </a:cubicBezTo>
                <a:cubicBezTo>
                  <a:pt x="204" y="89"/>
                  <a:pt x="209" y="92"/>
                  <a:pt x="215" y="92"/>
                </a:cubicBezTo>
                <a:cubicBezTo>
                  <a:pt x="218" y="92"/>
                  <a:pt x="218" y="92"/>
                  <a:pt x="213" y="89"/>
                </a:cubicBezTo>
                <a:close/>
                <a:moveTo>
                  <a:pt x="290" y="114"/>
                </a:moveTo>
                <a:cubicBezTo>
                  <a:pt x="293" y="117"/>
                  <a:pt x="306" y="112"/>
                  <a:pt x="300" y="112"/>
                </a:cubicBezTo>
                <a:cubicBezTo>
                  <a:pt x="294" y="111"/>
                  <a:pt x="296" y="106"/>
                  <a:pt x="290" y="109"/>
                </a:cubicBezTo>
                <a:cubicBezTo>
                  <a:pt x="288" y="111"/>
                  <a:pt x="287" y="111"/>
                  <a:pt x="290" y="114"/>
                </a:cubicBezTo>
                <a:close/>
                <a:moveTo>
                  <a:pt x="290" y="118"/>
                </a:moveTo>
                <a:cubicBezTo>
                  <a:pt x="288" y="117"/>
                  <a:pt x="302" y="114"/>
                  <a:pt x="305" y="115"/>
                </a:cubicBezTo>
                <a:cubicBezTo>
                  <a:pt x="306" y="117"/>
                  <a:pt x="293" y="120"/>
                  <a:pt x="290" y="118"/>
                </a:cubicBezTo>
                <a:close/>
                <a:moveTo>
                  <a:pt x="296" y="121"/>
                </a:moveTo>
                <a:cubicBezTo>
                  <a:pt x="293" y="120"/>
                  <a:pt x="303" y="118"/>
                  <a:pt x="305" y="118"/>
                </a:cubicBezTo>
                <a:cubicBezTo>
                  <a:pt x="308" y="120"/>
                  <a:pt x="297" y="123"/>
                  <a:pt x="296" y="121"/>
                </a:cubicBezTo>
                <a:close/>
                <a:moveTo>
                  <a:pt x="299" y="125"/>
                </a:moveTo>
                <a:cubicBezTo>
                  <a:pt x="297" y="123"/>
                  <a:pt x="306" y="120"/>
                  <a:pt x="308" y="120"/>
                </a:cubicBezTo>
                <a:cubicBezTo>
                  <a:pt x="309" y="120"/>
                  <a:pt x="302" y="125"/>
                  <a:pt x="299" y="125"/>
                </a:cubicBezTo>
                <a:close/>
                <a:moveTo>
                  <a:pt x="433" y="73"/>
                </a:moveTo>
                <a:cubicBezTo>
                  <a:pt x="436" y="70"/>
                  <a:pt x="443" y="68"/>
                  <a:pt x="443" y="72"/>
                </a:cubicBezTo>
                <a:cubicBezTo>
                  <a:pt x="442" y="73"/>
                  <a:pt x="430" y="75"/>
                  <a:pt x="433" y="73"/>
                </a:cubicBezTo>
                <a:close/>
                <a:moveTo>
                  <a:pt x="471" y="437"/>
                </a:moveTo>
                <a:cubicBezTo>
                  <a:pt x="474" y="438"/>
                  <a:pt x="477" y="440"/>
                  <a:pt x="478" y="440"/>
                </a:cubicBezTo>
                <a:cubicBezTo>
                  <a:pt x="480" y="438"/>
                  <a:pt x="475" y="435"/>
                  <a:pt x="475" y="434"/>
                </a:cubicBezTo>
                <a:cubicBezTo>
                  <a:pt x="474" y="432"/>
                  <a:pt x="469" y="432"/>
                  <a:pt x="468" y="435"/>
                </a:cubicBezTo>
                <a:cubicBezTo>
                  <a:pt x="466" y="435"/>
                  <a:pt x="468" y="435"/>
                  <a:pt x="471" y="437"/>
                </a:cubicBezTo>
                <a:close/>
                <a:moveTo>
                  <a:pt x="486" y="400"/>
                </a:moveTo>
                <a:cubicBezTo>
                  <a:pt x="486" y="398"/>
                  <a:pt x="488" y="397"/>
                  <a:pt x="486" y="400"/>
                </a:cubicBezTo>
                <a:cubicBezTo>
                  <a:pt x="484" y="403"/>
                  <a:pt x="484" y="401"/>
                  <a:pt x="486" y="401"/>
                </a:cubicBezTo>
                <a:cubicBezTo>
                  <a:pt x="488" y="401"/>
                  <a:pt x="489" y="397"/>
                  <a:pt x="489" y="397"/>
                </a:cubicBezTo>
                <a:cubicBezTo>
                  <a:pt x="491" y="397"/>
                  <a:pt x="488" y="401"/>
                  <a:pt x="489" y="401"/>
                </a:cubicBezTo>
                <a:cubicBezTo>
                  <a:pt x="491" y="401"/>
                  <a:pt x="491" y="400"/>
                  <a:pt x="491" y="397"/>
                </a:cubicBezTo>
                <a:cubicBezTo>
                  <a:pt x="492" y="393"/>
                  <a:pt x="492" y="395"/>
                  <a:pt x="491" y="393"/>
                </a:cubicBezTo>
                <a:cubicBezTo>
                  <a:pt x="489" y="392"/>
                  <a:pt x="489" y="392"/>
                  <a:pt x="489" y="393"/>
                </a:cubicBezTo>
                <a:cubicBezTo>
                  <a:pt x="488" y="395"/>
                  <a:pt x="488" y="397"/>
                  <a:pt x="488" y="395"/>
                </a:cubicBezTo>
                <a:cubicBezTo>
                  <a:pt x="488" y="393"/>
                  <a:pt x="488" y="392"/>
                  <a:pt x="488" y="393"/>
                </a:cubicBezTo>
                <a:cubicBezTo>
                  <a:pt x="486" y="393"/>
                  <a:pt x="488" y="393"/>
                  <a:pt x="488" y="395"/>
                </a:cubicBezTo>
                <a:cubicBezTo>
                  <a:pt x="486" y="397"/>
                  <a:pt x="486" y="397"/>
                  <a:pt x="484" y="398"/>
                </a:cubicBezTo>
                <a:cubicBezTo>
                  <a:pt x="483" y="400"/>
                  <a:pt x="483" y="400"/>
                  <a:pt x="483" y="401"/>
                </a:cubicBezTo>
                <a:cubicBezTo>
                  <a:pt x="484" y="403"/>
                  <a:pt x="484" y="401"/>
                  <a:pt x="486" y="400"/>
                </a:cubicBezTo>
                <a:close/>
                <a:moveTo>
                  <a:pt x="494" y="398"/>
                </a:moveTo>
                <a:cubicBezTo>
                  <a:pt x="494" y="397"/>
                  <a:pt x="494" y="393"/>
                  <a:pt x="494" y="393"/>
                </a:cubicBezTo>
                <a:cubicBezTo>
                  <a:pt x="492" y="393"/>
                  <a:pt x="492" y="395"/>
                  <a:pt x="492" y="398"/>
                </a:cubicBezTo>
                <a:cubicBezTo>
                  <a:pt x="491" y="398"/>
                  <a:pt x="492" y="398"/>
                  <a:pt x="494" y="398"/>
                </a:cubicBezTo>
                <a:close/>
                <a:moveTo>
                  <a:pt x="484" y="397"/>
                </a:moveTo>
                <a:cubicBezTo>
                  <a:pt x="486" y="395"/>
                  <a:pt x="486" y="393"/>
                  <a:pt x="486" y="393"/>
                </a:cubicBezTo>
                <a:cubicBezTo>
                  <a:pt x="484" y="395"/>
                  <a:pt x="483" y="395"/>
                  <a:pt x="483" y="397"/>
                </a:cubicBezTo>
                <a:cubicBezTo>
                  <a:pt x="481" y="398"/>
                  <a:pt x="483" y="398"/>
                  <a:pt x="484" y="397"/>
                </a:cubicBezTo>
                <a:close/>
                <a:moveTo>
                  <a:pt x="577" y="345"/>
                </a:moveTo>
                <a:cubicBezTo>
                  <a:pt x="574" y="345"/>
                  <a:pt x="577" y="339"/>
                  <a:pt x="579" y="341"/>
                </a:cubicBezTo>
                <a:cubicBezTo>
                  <a:pt x="582" y="342"/>
                  <a:pt x="579" y="345"/>
                  <a:pt x="577" y="34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6" name="Freeform 289"/>
          <p:cNvSpPr>
            <a:spLocks noEditPoints="1"/>
          </p:cNvSpPr>
          <p:nvPr/>
        </p:nvSpPr>
        <p:spPr bwMode="auto">
          <a:xfrm>
            <a:off x="1440091" y="2386083"/>
            <a:ext cx="2072354" cy="1782720"/>
          </a:xfrm>
          <a:custGeom>
            <a:avLst/>
            <a:gdLst/>
            <a:ahLst/>
            <a:cxnLst>
              <a:cxn ang="0">
                <a:pos x="124" y="195"/>
              </a:cxn>
              <a:cxn ang="0">
                <a:pos x="127" y="181"/>
              </a:cxn>
              <a:cxn ang="0">
                <a:pos x="161" y="164"/>
              </a:cxn>
              <a:cxn ang="0">
                <a:pos x="271" y="185"/>
              </a:cxn>
              <a:cxn ang="0">
                <a:pos x="262" y="193"/>
              </a:cxn>
              <a:cxn ang="0">
                <a:pos x="257" y="198"/>
              </a:cxn>
              <a:cxn ang="0">
                <a:pos x="255" y="193"/>
              </a:cxn>
              <a:cxn ang="0">
                <a:pos x="271" y="209"/>
              </a:cxn>
              <a:cxn ang="0">
                <a:pos x="300" y="227"/>
              </a:cxn>
              <a:cxn ang="0">
                <a:pos x="277" y="212"/>
              </a:cxn>
              <a:cxn ang="0">
                <a:pos x="278" y="216"/>
              </a:cxn>
              <a:cxn ang="0">
                <a:pos x="287" y="224"/>
              </a:cxn>
              <a:cxn ang="0">
                <a:pos x="278" y="207"/>
              </a:cxn>
              <a:cxn ang="0">
                <a:pos x="278" y="221"/>
              </a:cxn>
              <a:cxn ang="0">
                <a:pos x="100" y="6"/>
              </a:cxn>
              <a:cxn ang="0">
                <a:pos x="56" y="76"/>
              </a:cxn>
              <a:cxn ang="0">
                <a:pos x="59" y="97"/>
              </a:cxn>
              <a:cxn ang="0">
                <a:pos x="50" y="168"/>
              </a:cxn>
              <a:cxn ang="0">
                <a:pos x="53" y="212"/>
              </a:cxn>
              <a:cxn ang="0">
                <a:pos x="100" y="192"/>
              </a:cxn>
              <a:cxn ang="0">
                <a:pos x="143" y="167"/>
              </a:cxn>
              <a:cxn ang="0">
                <a:pos x="227" y="165"/>
              </a:cxn>
              <a:cxn ang="0">
                <a:pos x="278" y="198"/>
              </a:cxn>
              <a:cxn ang="0">
                <a:pos x="304" y="212"/>
              </a:cxn>
              <a:cxn ang="0">
                <a:pos x="265" y="168"/>
              </a:cxn>
              <a:cxn ang="0">
                <a:pos x="227" y="157"/>
              </a:cxn>
              <a:cxn ang="0">
                <a:pos x="727" y="361"/>
              </a:cxn>
              <a:cxn ang="0">
                <a:pos x="679" y="381"/>
              </a:cxn>
              <a:cxn ang="0">
                <a:pos x="671" y="355"/>
              </a:cxn>
              <a:cxn ang="0">
                <a:pos x="651" y="349"/>
              </a:cxn>
              <a:cxn ang="0">
                <a:pos x="638" y="349"/>
              </a:cxn>
              <a:cxn ang="0">
                <a:pos x="667" y="327"/>
              </a:cxn>
              <a:cxn ang="0">
                <a:pos x="615" y="325"/>
              </a:cxn>
              <a:cxn ang="0">
                <a:pos x="590" y="302"/>
              </a:cxn>
              <a:cxn ang="0">
                <a:pos x="348" y="305"/>
              </a:cxn>
              <a:cxn ang="0">
                <a:pos x="374" y="448"/>
              </a:cxn>
              <a:cxn ang="0">
                <a:pos x="478" y="489"/>
              </a:cxn>
              <a:cxn ang="0">
                <a:pos x="563" y="535"/>
              </a:cxn>
              <a:cxn ang="0">
                <a:pos x="607" y="512"/>
              </a:cxn>
              <a:cxn ang="0">
                <a:pos x="625" y="512"/>
              </a:cxn>
              <a:cxn ang="0">
                <a:pos x="639" y="504"/>
              </a:cxn>
              <a:cxn ang="0">
                <a:pos x="680" y="532"/>
              </a:cxn>
              <a:cxn ang="0">
                <a:pos x="700" y="543"/>
              </a:cxn>
              <a:cxn ang="0">
                <a:pos x="730" y="453"/>
              </a:cxn>
              <a:cxn ang="0">
                <a:pos x="730" y="442"/>
              </a:cxn>
              <a:cxn ang="0">
                <a:pos x="729" y="411"/>
              </a:cxn>
              <a:cxn ang="0">
                <a:pos x="738" y="420"/>
              </a:cxn>
              <a:cxn ang="0">
                <a:pos x="758" y="386"/>
              </a:cxn>
              <a:cxn ang="0">
                <a:pos x="773" y="374"/>
              </a:cxn>
              <a:cxn ang="0">
                <a:pos x="802" y="347"/>
              </a:cxn>
              <a:cxn ang="0">
                <a:pos x="787" y="316"/>
              </a:cxn>
              <a:cxn ang="0">
                <a:pos x="769" y="342"/>
              </a:cxn>
              <a:cxn ang="0">
                <a:pos x="100" y="619"/>
              </a:cxn>
              <a:cxn ang="0">
                <a:pos x="99" y="610"/>
              </a:cxn>
              <a:cxn ang="0">
                <a:pos x="92" y="599"/>
              </a:cxn>
              <a:cxn ang="0">
                <a:pos x="82" y="596"/>
              </a:cxn>
              <a:cxn ang="0">
                <a:pos x="67" y="590"/>
              </a:cxn>
              <a:cxn ang="0">
                <a:pos x="89" y="597"/>
              </a:cxn>
              <a:cxn ang="0">
                <a:pos x="64" y="591"/>
              </a:cxn>
            </a:cxnLst>
            <a:rect l="0" t="0" r="r" b="b"/>
            <a:pathLst>
              <a:path w="817" h="630">
                <a:moveTo>
                  <a:pt x="108" y="199"/>
                </a:moveTo>
                <a:cubicBezTo>
                  <a:pt x="108" y="196"/>
                  <a:pt x="105" y="195"/>
                  <a:pt x="108" y="192"/>
                </a:cubicBezTo>
                <a:cubicBezTo>
                  <a:pt x="112" y="190"/>
                  <a:pt x="114" y="193"/>
                  <a:pt x="114" y="190"/>
                </a:cubicBezTo>
                <a:cubicBezTo>
                  <a:pt x="114" y="188"/>
                  <a:pt x="114" y="187"/>
                  <a:pt x="115" y="188"/>
                </a:cubicBezTo>
                <a:cubicBezTo>
                  <a:pt x="117" y="190"/>
                  <a:pt x="120" y="188"/>
                  <a:pt x="118" y="187"/>
                </a:cubicBezTo>
                <a:cubicBezTo>
                  <a:pt x="118" y="185"/>
                  <a:pt x="120" y="187"/>
                  <a:pt x="121" y="187"/>
                </a:cubicBezTo>
                <a:cubicBezTo>
                  <a:pt x="123" y="188"/>
                  <a:pt x="124" y="187"/>
                  <a:pt x="124" y="188"/>
                </a:cubicBezTo>
                <a:cubicBezTo>
                  <a:pt x="126" y="190"/>
                  <a:pt x="124" y="190"/>
                  <a:pt x="126" y="190"/>
                </a:cubicBezTo>
                <a:cubicBezTo>
                  <a:pt x="127" y="192"/>
                  <a:pt x="126" y="193"/>
                  <a:pt x="124" y="195"/>
                </a:cubicBezTo>
                <a:cubicBezTo>
                  <a:pt x="123" y="196"/>
                  <a:pt x="123" y="196"/>
                  <a:pt x="120" y="196"/>
                </a:cubicBezTo>
                <a:cubicBezTo>
                  <a:pt x="117" y="196"/>
                  <a:pt x="115" y="198"/>
                  <a:pt x="115" y="199"/>
                </a:cubicBezTo>
                <a:cubicBezTo>
                  <a:pt x="115" y="201"/>
                  <a:pt x="115" y="199"/>
                  <a:pt x="114" y="201"/>
                </a:cubicBezTo>
                <a:cubicBezTo>
                  <a:pt x="112" y="202"/>
                  <a:pt x="111" y="202"/>
                  <a:pt x="112" y="201"/>
                </a:cubicBezTo>
                <a:cubicBezTo>
                  <a:pt x="115" y="198"/>
                  <a:pt x="111" y="199"/>
                  <a:pt x="111" y="199"/>
                </a:cubicBezTo>
                <a:cubicBezTo>
                  <a:pt x="111" y="201"/>
                  <a:pt x="109" y="201"/>
                  <a:pt x="108" y="199"/>
                </a:cubicBezTo>
                <a:close/>
                <a:moveTo>
                  <a:pt x="123" y="185"/>
                </a:moveTo>
                <a:cubicBezTo>
                  <a:pt x="124" y="184"/>
                  <a:pt x="124" y="184"/>
                  <a:pt x="126" y="184"/>
                </a:cubicBezTo>
                <a:cubicBezTo>
                  <a:pt x="127" y="184"/>
                  <a:pt x="129" y="184"/>
                  <a:pt x="127" y="181"/>
                </a:cubicBezTo>
                <a:cubicBezTo>
                  <a:pt x="126" y="179"/>
                  <a:pt x="126" y="182"/>
                  <a:pt x="124" y="181"/>
                </a:cubicBezTo>
                <a:cubicBezTo>
                  <a:pt x="124" y="181"/>
                  <a:pt x="121" y="179"/>
                  <a:pt x="121" y="182"/>
                </a:cubicBezTo>
                <a:cubicBezTo>
                  <a:pt x="123" y="184"/>
                  <a:pt x="121" y="182"/>
                  <a:pt x="120" y="182"/>
                </a:cubicBezTo>
                <a:cubicBezTo>
                  <a:pt x="118" y="184"/>
                  <a:pt x="118" y="185"/>
                  <a:pt x="120" y="185"/>
                </a:cubicBezTo>
                <a:cubicBezTo>
                  <a:pt x="121" y="187"/>
                  <a:pt x="121" y="187"/>
                  <a:pt x="123" y="185"/>
                </a:cubicBezTo>
                <a:close/>
                <a:moveTo>
                  <a:pt x="164" y="164"/>
                </a:moveTo>
                <a:cubicBezTo>
                  <a:pt x="166" y="162"/>
                  <a:pt x="164" y="162"/>
                  <a:pt x="167" y="159"/>
                </a:cubicBezTo>
                <a:cubicBezTo>
                  <a:pt x="169" y="156"/>
                  <a:pt x="167" y="156"/>
                  <a:pt x="166" y="157"/>
                </a:cubicBezTo>
                <a:cubicBezTo>
                  <a:pt x="166" y="159"/>
                  <a:pt x="163" y="160"/>
                  <a:pt x="161" y="164"/>
                </a:cubicBezTo>
                <a:cubicBezTo>
                  <a:pt x="159" y="164"/>
                  <a:pt x="163" y="164"/>
                  <a:pt x="164" y="164"/>
                </a:cubicBezTo>
                <a:close/>
                <a:moveTo>
                  <a:pt x="173" y="156"/>
                </a:moveTo>
                <a:cubicBezTo>
                  <a:pt x="175" y="156"/>
                  <a:pt x="175" y="156"/>
                  <a:pt x="173" y="154"/>
                </a:cubicBezTo>
                <a:cubicBezTo>
                  <a:pt x="170" y="154"/>
                  <a:pt x="170" y="156"/>
                  <a:pt x="170" y="157"/>
                </a:cubicBezTo>
                <a:cubicBezTo>
                  <a:pt x="170" y="159"/>
                  <a:pt x="172" y="157"/>
                  <a:pt x="173" y="156"/>
                </a:cubicBezTo>
                <a:close/>
                <a:moveTo>
                  <a:pt x="269" y="198"/>
                </a:moveTo>
                <a:cubicBezTo>
                  <a:pt x="272" y="196"/>
                  <a:pt x="269" y="195"/>
                  <a:pt x="272" y="195"/>
                </a:cubicBezTo>
                <a:cubicBezTo>
                  <a:pt x="274" y="195"/>
                  <a:pt x="271" y="192"/>
                  <a:pt x="272" y="192"/>
                </a:cubicBezTo>
                <a:cubicBezTo>
                  <a:pt x="274" y="192"/>
                  <a:pt x="272" y="187"/>
                  <a:pt x="271" y="185"/>
                </a:cubicBezTo>
                <a:cubicBezTo>
                  <a:pt x="269" y="182"/>
                  <a:pt x="268" y="185"/>
                  <a:pt x="266" y="182"/>
                </a:cubicBezTo>
                <a:cubicBezTo>
                  <a:pt x="263" y="181"/>
                  <a:pt x="265" y="182"/>
                  <a:pt x="265" y="185"/>
                </a:cubicBezTo>
                <a:cubicBezTo>
                  <a:pt x="266" y="188"/>
                  <a:pt x="266" y="190"/>
                  <a:pt x="268" y="193"/>
                </a:cubicBezTo>
                <a:cubicBezTo>
                  <a:pt x="269" y="196"/>
                  <a:pt x="266" y="193"/>
                  <a:pt x="266" y="198"/>
                </a:cubicBezTo>
                <a:cubicBezTo>
                  <a:pt x="266" y="199"/>
                  <a:pt x="268" y="198"/>
                  <a:pt x="269" y="198"/>
                </a:cubicBezTo>
                <a:close/>
                <a:moveTo>
                  <a:pt x="265" y="207"/>
                </a:moveTo>
                <a:cubicBezTo>
                  <a:pt x="268" y="212"/>
                  <a:pt x="266" y="209"/>
                  <a:pt x="266" y="206"/>
                </a:cubicBezTo>
                <a:cubicBezTo>
                  <a:pt x="266" y="204"/>
                  <a:pt x="268" y="206"/>
                  <a:pt x="266" y="201"/>
                </a:cubicBezTo>
                <a:cubicBezTo>
                  <a:pt x="265" y="196"/>
                  <a:pt x="265" y="195"/>
                  <a:pt x="262" y="193"/>
                </a:cubicBezTo>
                <a:cubicBezTo>
                  <a:pt x="258" y="190"/>
                  <a:pt x="258" y="195"/>
                  <a:pt x="258" y="196"/>
                </a:cubicBezTo>
                <a:cubicBezTo>
                  <a:pt x="260" y="196"/>
                  <a:pt x="262" y="198"/>
                  <a:pt x="260" y="199"/>
                </a:cubicBezTo>
                <a:cubicBezTo>
                  <a:pt x="260" y="202"/>
                  <a:pt x="263" y="201"/>
                  <a:pt x="263" y="202"/>
                </a:cubicBezTo>
                <a:cubicBezTo>
                  <a:pt x="262" y="206"/>
                  <a:pt x="263" y="202"/>
                  <a:pt x="263" y="206"/>
                </a:cubicBezTo>
                <a:cubicBezTo>
                  <a:pt x="263" y="207"/>
                  <a:pt x="265" y="207"/>
                  <a:pt x="265" y="207"/>
                </a:cubicBezTo>
                <a:close/>
                <a:moveTo>
                  <a:pt x="257" y="198"/>
                </a:moveTo>
                <a:cubicBezTo>
                  <a:pt x="257" y="198"/>
                  <a:pt x="257" y="199"/>
                  <a:pt x="258" y="199"/>
                </a:cubicBezTo>
                <a:cubicBezTo>
                  <a:pt x="258" y="198"/>
                  <a:pt x="257" y="193"/>
                  <a:pt x="257" y="195"/>
                </a:cubicBezTo>
                <a:cubicBezTo>
                  <a:pt x="257" y="195"/>
                  <a:pt x="257" y="196"/>
                  <a:pt x="257" y="198"/>
                </a:cubicBezTo>
                <a:close/>
                <a:moveTo>
                  <a:pt x="258" y="190"/>
                </a:moveTo>
                <a:cubicBezTo>
                  <a:pt x="257" y="188"/>
                  <a:pt x="258" y="188"/>
                  <a:pt x="262" y="192"/>
                </a:cubicBezTo>
                <a:cubicBezTo>
                  <a:pt x="265" y="193"/>
                  <a:pt x="266" y="193"/>
                  <a:pt x="265" y="190"/>
                </a:cubicBezTo>
                <a:cubicBezTo>
                  <a:pt x="265" y="188"/>
                  <a:pt x="263" y="188"/>
                  <a:pt x="265" y="187"/>
                </a:cubicBezTo>
                <a:cubicBezTo>
                  <a:pt x="265" y="185"/>
                  <a:pt x="260" y="184"/>
                  <a:pt x="258" y="182"/>
                </a:cubicBezTo>
                <a:cubicBezTo>
                  <a:pt x="257" y="182"/>
                  <a:pt x="255" y="184"/>
                  <a:pt x="254" y="184"/>
                </a:cubicBezTo>
                <a:cubicBezTo>
                  <a:pt x="252" y="182"/>
                  <a:pt x="252" y="184"/>
                  <a:pt x="252" y="185"/>
                </a:cubicBezTo>
                <a:cubicBezTo>
                  <a:pt x="251" y="187"/>
                  <a:pt x="251" y="187"/>
                  <a:pt x="254" y="188"/>
                </a:cubicBezTo>
                <a:cubicBezTo>
                  <a:pt x="255" y="190"/>
                  <a:pt x="252" y="190"/>
                  <a:pt x="255" y="193"/>
                </a:cubicBezTo>
                <a:cubicBezTo>
                  <a:pt x="257" y="193"/>
                  <a:pt x="260" y="192"/>
                  <a:pt x="258" y="190"/>
                </a:cubicBezTo>
                <a:close/>
                <a:moveTo>
                  <a:pt x="278" y="204"/>
                </a:moveTo>
                <a:cubicBezTo>
                  <a:pt x="280" y="202"/>
                  <a:pt x="280" y="201"/>
                  <a:pt x="280" y="199"/>
                </a:cubicBezTo>
                <a:cubicBezTo>
                  <a:pt x="278" y="198"/>
                  <a:pt x="278" y="199"/>
                  <a:pt x="275" y="198"/>
                </a:cubicBezTo>
                <a:cubicBezTo>
                  <a:pt x="274" y="198"/>
                  <a:pt x="272" y="198"/>
                  <a:pt x="272" y="199"/>
                </a:cubicBezTo>
                <a:cubicBezTo>
                  <a:pt x="272" y="202"/>
                  <a:pt x="275" y="199"/>
                  <a:pt x="275" y="202"/>
                </a:cubicBezTo>
                <a:cubicBezTo>
                  <a:pt x="274" y="207"/>
                  <a:pt x="275" y="206"/>
                  <a:pt x="278" y="206"/>
                </a:cubicBezTo>
                <a:cubicBezTo>
                  <a:pt x="280" y="207"/>
                  <a:pt x="278" y="204"/>
                  <a:pt x="278" y="204"/>
                </a:cubicBezTo>
                <a:close/>
                <a:moveTo>
                  <a:pt x="271" y="209"/>
                </a:moveTo>
                <a:cubicBezTo>
                  <a:pt x="272" y="212"/>
                  <a:pt x="272" y="210"/>
                  <a:pt x="272" y="209"/>
                </a:cubicBezTo>
                <a:cubicBezTo>
                  <a:pt x="274" y="207"/>
                  <a:pt x="272" y="207"/>
                  <a:pt x="274" y="204"/>
                </a:cubicBezTo>
                <a:cubicBezTo>
                  <a:pt x="274" y="201"/>
                  <a:pt x="272" y="202"/>
                  <a:pt x="272" y="201"/>
                </a:cubicBezTo>
                <a:cubicBezTo>
                  <a:pt x="271" y="199"/>
                  <a:pt x="271" y="199"/>
                  <a:pt x="269" y="199"/>
                </a:cubicBezTo>
                <a:cubicBezTo>
                  <a:pt x="268" y="201"/>
                  <a:pt x="268" y="201"/>
                  <a:pt x="269" y="204"/>
                </a:cubicBezTo>
                <a:cubicBezTo>
                  <a:pt x="271" y="206"/>
                  <a:pt x="272" y="207"/>
                  <a:pt x="271" y="207"/>
                </a:cubicBezTo>
                <a:cubicBezTo>
                  <a:pt x="269" y="206"/>
                  <a:pt x="269" y="207"/>
                  <a:pt x="269" y="210"/>
                </a:cubicBezTo>
                <a:cubicBezTo>
                  <a:pt x="271" y="213"/>
                  <a:pt x="271" y="207"/>
                  <a:pt x="271" y="209"/>
                </a:cubicBezTo>
                <a:close/>
                <a:moveTo>
                  <a:pt x="300" y="227"/>
                </a:moveTo>
                <a:cubicBezTo>
                  <a:pt x="301" y="226"/>
                  <a:pt x="301" y="226"/>
                  <a:pt x="303" y="224"/>
                </a:cubicBezTo>
                <a:cubicBezTo>
                  <a:pt x="303" y="224"/>
                  <a:pt x="301" y="224"/>
                  <a:pt x="301" y="226"/>
                </a:cubicBezTo>
                <a:cubicBezTo>
                  <a:pt x="300" y="226"/>
                  <a:pt x="298" y="227"/>
                  <a:pt x="300" y="227"/>
                </a:cubicBezTo>
                <a:cubicBezTo>
                  <a:pt x="300" y="227"/>
                  <a:pt x="300" y="227"/>
                  <a:pt x="300" y="227"/>
                </a:cubicBezTo>
                <a:close/>
                <a:moveTo>
                  <a:pt x="293" y="224"/>
                </a:moveTo>
                <a:cubicBezTo>
                  <a:pt x="293" y="224"/>
                  <a:pt x="293" y="224"/>
                  <a:pt x="292" y="224"/>
                </a:cubicBezTo>
                <a:cubicBezTo>
                  <a:pt x="292" y="224"/>
                  <a:pt x="292" y="224"/>
                  <a:pt x="292" y="226"/>
                </a:cubicBezTo>
                <a:cubicBezTo>
                  <a:pt x="293" y="226"/>
                  <a:pt x="293" y="226"/>
                  <a:pt x="293" y="224"/>
                </a:cubicBezTo>
                <a:close/>
                <a:moveTo>
                  <a:pt x="277" y="212"/>
                </a:moveTo>
                <a:cubicBezTo>
                  <a:pt x="278" y="212"/>
                  <a:pt x="278" y="210"/>
                  <a:pt x="277" y="210"/>
                </a:cubicBezTo>
                <a:cubicBezTo>
                  <a:pt x="275" y="209"/>
                  <a:pt x="274" y="210"/>
                  <a:pt x="275" y="210"/>
                </a:cubicBezTo>
                <a:cubicBezTo>
                  <a:pt x="275" y="210"/>
                  <a:pt x="274" y="210"/>
                  <a:pt x="274" y="212"/>
                </a:cubicBezTo>
                <a:cubicBezTo>
                  <a:pt x="274" y="212"/>
                  <a:pt x="272" y="213"/>
                  <a:pt x="275" y="212"/>
                </a:cubicBezTo>
                <a:cubicBezTo>
                  <a:pt x="275" y="212"/>
                  <a:pt x="275" y="212"/>
                  <a:pt x="277" y="212"/>
                </a:cubicBezTo>
                <a:close/>
                <a:moveTo>
                  <a:pt x="278" y="212"/>
                </a:moveTo>
                <a:cubicBezTo>
                  <a:pt x="277" y="213"/>
                  <a:pt x="278" y="212"/>
                  <a:pt x="278" y="213"/>
                </a:cubicBezTo>
                <a:cubicBezTo>
                  <a:pt x="278" y="215"/>
                  <a:pt x="277" y="213"/>
                  <a:pt x="277" y="215"/>
                </a:cubicBezTo>
                <a:cubicBezTo>
                  <a:pt x="277" y="216"/>
                  <a:pt x="277" y="216"/>
                  <a:pt x="278" y="216"/>
                </a:cubicBezTo>
                <a:cubicBezTo>
                  <a:pt x="280" y="216"/>
                  <a:pt x="278" y="216"/>
                  <a:pt x="280" y="218"/>
                </a:cubicBezTo>
                <a:cubicBezTo>
                  <a:pt x="280" y="220"/>
                  <a:pt x="277" y="220"/>
                  <a:pt x="277" y="220"/>
                </a:cubicBezTo>
                <a:cubicBezTo>
                  <a:pt x="278" y="221"/>
                  <a:pt x="278" y="221"/>
                  <a:pt x="280" y="221"/>
                </a:cubicBezTo>
                <a:cubicBezTo>
                  <a:pt x="280" y="220"/>
                  <a:pt x="280" y="221"/>
                  <a:pt x="280" y="221"/>
                </a:cubicBezTo>
                <a:cubicBezTo>
                  <a:pt x="281" y="221"/>
                  <a:pt x="281" y="221"/>
                  <a:pt x="283" y="223"/>
                </a:cubicBezTo>
                <a:cubicBezTo>
                  <a:pt x="284" y="224"/>
                  <a:pt x="283" y="224"/>
                  <a:pt x="283" y="224"/>
                </a:cubicBezTo>
                <a:cubicBezTo>
                  <a:pt x="284" y="226"/>
                  <a:pt x="284" y="223"/>
                  <a:pt x="284" y="226"/>
                </a:cubicBezTo>
                <a:cubicBezTo>
                  <a:pt x="284" y="227"/>
                  <a:pt x="287" y="229"/>
                  <a:pt x="287" y="227"/>
                </a:cubicBezTo>
                <a:cubicBezTo>
                  <a:pt x="289" y="226"/>
                  <a:pt x="287" y="226"/>
                  <a:pt x="287" y="224"/>
                </a:cubicBezTo>
                <a:cubicBezTo>
                  <a:pt x="287" y="223"/>
                  <a:pt x="287" y="224"/>
                  <a:pt x="287" y="221"/>
                </a:cubicBezTo>
                <a:cubicBezTo>
                  <a:pt x="289" y="220"/>
                  <a:pt x="287" y="221"/>
                  <a:pt x="286" y="220"/>
                </a:cubicBezTo>
                <a:cubicBezTo>
                  <a:pt x="286" y="218"/>
                  <a:pt x="286" y="220"/>
                  <a:pt x="284" y="218"/>
                </a:cubicBezTo>
                <a:cubicBezTo>
                  <a:pt x="284" y="218"/>
                  <a:pt x="283" y="220"/>
                  <a:pt x="283" y="218"/>
                </a:cubicBezTo>
                <a:cubicBezTo>
                  <a:pt x="281" y="218"/>
                  <a:pt x="283" y="216"/>
                  <a:pt x="284" y="218"/>
                </a:cubicBezTo>
                <a:cubicBezTo>
                  <a:pt x="287" y="220"/>
                  <a:pt x="286" y="218"/>
                  <a:pt x="284" y="216"/>
                </a:cubicBezTo>
                <a:cubicBezTo>
                  <a:pt x="283" y="215"/>
                  <a:pt x="283" y="213"/>
                  <a:pt x="283" y="212"/>
                </a:cubicBezTo>
                <a:cubicBezTo>
                  <a:pt x="281" y="210"/>
                  <a:pt x="280" y="212"/>
                  <a:pt x="278" y="210"/>
                </a:cubicBezTo>
                <a:cubicBezTo>
                  <a:pt x="278" y="210"/>
                  <a:pt x="280" y="209"/>
                  <a:pt x="278" y="207"/>
                </a:cubicBezTo>
                <a:cubicBezTo>
                  <a:pt x="278" y="206"/>
                  <a:pt x="278" y="207"/>
                  <a:pt x="277" y="207"/>
                </a:cubicBezTo>
                <a:cubicBezTo>
                  <a:pt x="274" y="207"/>
                  <a:pt x="275" y="207"/>
                  <a:pt x="275" y="207"/>
                </a:cubicBezTo>
                <a:cubicBezTo>
                  <a:pt x="274" y="209"/>
                  <a:pt x="274" y="209"/>
                  <a:pt x="275" y="209"/>
                </a:cubicBezTo>
                <a:cubicBezTo>
                  <a:pt x="277" y="209"/>
                  <a:pt x="278" y="209"/>
                  <a:pt x="278" y="212"/>
                </a:cubicBezTo>
                <a:close/>
                <a:moveTo>
                  <a:pt x="280" y="227"/>
                </a:moveTo>
                <a:cubicBezTo>
                  <a:pt x="281" y="229"/>
                  <a:pt x="283" y="229"/>
                  <a:pt x="281" y="227"/>
                </a:cubicBezTo>
                <a:cubicBezTo>
                  <a:pt x="281" y="226"/>
                  <a:pt x="281" y="226"/>
                  <a:pt x="280" y="224"/>
                </a:cubicBezTo>
                <a:cubicBezTo>
                  <a:pt x="278" y="223"/>
                  <a:pt x="280" y="223"/>
                  <a:pt x="280" y="223"/>
                </a:cubicBezTo>
                <a:cubicBezTo>
                  <a:pt x="278" y="221"/>
                  <a:pt x="278" y="221"/>
                  <a:pt x="278" y="221"/>
                </a:cubicBezTo>
                <a:cubicBezTo>
                  <a:pt x="277" y="223"/>
                  <a:pt x="278" y="223"/>
                  <a:pt x="278" y="224"/>
                </a:cubicBezTo>
                <a:cubicBezTo>
                  <a:pt x="278" y="224"/>
                  <a:pt x="278" y="224"/>
                  <a:pt x="280" y="227"/>
                </a:cubicBezTo>
                <a:close/>
                <a:moveTo>
                  <a:pt x="199" y="22"/>
                </a:moveTo>
                <a:cubicBezTo>
                  <a:pt x="190" y="20"/>
                  <a:pt x="188" y="25"/>
                  <a:pt x="182" y="22"/>
                </a:cubicBezTo>
                <a:cubicBezTo>
                  <a:pt x="176" y="19"/>
                  <a:pt x="166" y="20"/>
                  <a:pt x="155" y="16"/>
                </a:cubicBezTo>
                <a:cubicBezTo>
                  <a:pt x="144" y="13"/>
                  <a:pt x="144" y="19"/>
                  <a:pt x="134" y="16"/>
                </a:cubicBezTo>
                <a:cubicBezTo>
                  <a:pt x="123" y="13"/>
                  <a:pt x="134" y="10"/>
                  <a:pt x="121" y="10"/>
                </a:cubicBezTo>
                <a:cubicBezTo>
                  <a:pt x="109" y="10"/>
                  <a:pt x="112" y="11"/>
                  <a:pt x="109" y="8"/>
                </a:cubicBezTo>
                <a:cubicBezTo>
                  <a:pt x="105" y="5"/>
                  <a:pt x="105" y="10"/>
                  <a:pt x="100" y="6"/>
                </a:cubicBezTo>
                <a:cubicBezTo>
                  <a:pt x="97" y="5"/>
                  <a:pt x="96" y="0"/>
                  <a:pt x="88" y="6"/>
                </a:cubicBezTo>
                <a:cubicBezTo>
                  <a:pt x="80" y="14"/>
                  <a:pt x="76" y="5"/>
                  <a:pt x="64" y="14"/>
                </a:cubicBezTo>
                <a:cubicBezTo>
                  <a:pt x="51" y="24"/>
                  <a:pt x="50" y="11"/>
                  <a:pt x="44" y="24"/>
                </a:cubicBezTo>
                <a:cubicBezTo>
                  <a:pt x="39" y="36"/>
                  <a:pt x="36" y="39"/>
                  <a:pt x="21" y="39"/>
                </a:cubicBezTo>
                <a:cubicBezTo>
                  <a:pt x="13" y="39"/>
                  <a:pt x="21" y="44"/>
                  <a:pt x="13" y="45"/>
                </a:cubicBezTo>
                <a:cubicBezTo>
                  <a:pt x="7" y="47"/>
                  <a:pt x="32" y="52"/>
                  <a:pt x="36" y="61"/>
                </a:cubicBezTo>
                <a:cubicBezTo>
                  <a:pt x="41" y="69"/>
                  <a:pt x="47" y="61"/>
                  <a:pt x="45" y="67"/>
                </a:cubicBezTo>
                <a:cubicBezTo>
                  <a:pt x="45" y="72"/>
                  <a:pt x="50" y="67"/>
                  <a:pt x="50" y="72"/>
                </a:cubicBezTo>
                <a:cubicBezTo>
                  <a:pt x="51" y="76"/>
                  <a:pt x="57" y="72"/>
                  <a:pt x="56" y="76"/>
                </a:cubicBezTo>
                <a:cubicBezTo>
                  <a:pt x="56" y="80"/>
                  <a:pt x="56" y="75"/>
                  <a:pt x="51" y="78"/>
                </a:cubicBezTo>
                <a:cubicBezTo>
                  <a:pt x="51" y="80"/>
                  <a:pt x="51" y="76"/>
                  <a:pt x="41" y="78"/>
                </a:cubicBezTo>
                <a:cubicBezTo>
                  <a:pt x="30" y="80"/>
                  <a:pt x="44" y="67"/>
                  <a:pt x="30" y="72"/>
                </a:cubicBezTo>
                <a:cubicBezTo>
                  <a:pt x="16" y="76"/>
                  <a:pt x="9" y="83"/>
                  <a:pt x="4" y="83"/>
                </a:cubicBezTo>
                <a:cubicBezTo>
                  <a:pt x="0" y="84"/>
                  <a:pt x="3" y="89"/>
                  <a:pt x="10" y="89"/>
                </a:cubicBezTo>
                <a:cubicBezTo>
                  <a:pt x="19" y="89"/>
                  <a:pt x="9" y="92"/>
                  <a:pt x="13" y="94"/>
                </a:cubicBezTo>
                <a:cubicBezTo>
                  <a:pt x="18" y="97"/>
                  <a:pt x="12" y="100"/>
                  <a:pt x="21" y="101"/>
                </a:cubicBezTo>
                <a:cubicBezTo>
                  <a:pt x="30" y="101"/>
                  <a:pt x="33" y="97"/>
                  <a:pt x="39" y="100"/>
                </a:cubicBezTo>
                <a:cubicBezTo>
                  <a:pt x="47" y="104"/>
                  <a:pt x="54" y="90"/>
                  <a:pt x="59" y="97"/>
                </a:cubicBezTo>
                <a:cubicBezTo>
                  <a:pt x="64" y="101"/>
                  <a:pt x="48" y="98"/>
                  <a:pt x="56" y="103"/>
                </a:cubicBezTo>
                <a:cubicBezTo>
                  <a:pt x="65" y="108"/>
                  <a:pt x="57" y="115"/>
                  <a:pt x="51" y="114"/>
                </a:cubicBezTo>
                <a:cubicBezTo>
                  <a:pt x="44" y="112"/>
                  <a:pt x="45" y="123"/>
                  <a:pt x="38" y="118"/>
                </a:cubicBezTo>
                <a:cubicBezTo>
                  <a:pt x="30" y="114"/>
                  <a:pt x="29" y="126"/>
                  <a:pt x="24" y="128"/>
                </a:cubicBezTo>
                <a:cubicBezTo>
                  <a:pt x="21" y="129"/>
                  <a:pt x="22" y="134"/>
                  <a:pt x="18" y="137"/>
                </a:cubicBezTo>
                <a:cubicBezTo>
                  <a:pt x="15" y="139"/>
                  <a:pt x="18" y="140"/>
                  <a:pt x="24" y="145"/>
                </a:cubicBezTo>
                <a:cubicBezTo>
                  <a:pt x="30" y="150"/>
                  <a:pt x="22" y="153"/>
                  <a:pt x="25" y="154"/>
                </a:cubicBezTo>
                <a:cubicBezTo>
                  <a:pt x="29" y="157"/>
                  <a:pt x="33" y="165"/>
                  <a:pt x="41" y="162"/>
                </a:cubicBezTo>
                <a:cubicBezTo>
                  <a:pt x="48" y="159"/>
                  <a:pt x="51" y="162"/>
                  <a:pt x="50" y="168"/>
                </a:cubicBezTo>
                <a:cubicBezTo>
                  <a:pt x="47" y="174"/>
                  <a:pt x="53" y="170"/>
                  <a:pt x="50" y="176"/>
                </a:cubicBezTo>
                <a:cubicBezTo>
                  <a:pt x="48" y="181"/>
                  <a:pt x="56" y="179"/>
                  <a:pt x="59" y="174"/>
                </a:cubicBezTo>
                <a:cubicBezTo>
                  <a:pt x="62" y="171"/>
                  <a:pt x="68" y="176"/>
                  <a:pt x="71" y="179"/>
                </a:cubicBezTo>
                <a:cubicBezTo>
                  <a:pt x="76" y="184"/>
                  <a:pt x="76" y="176"/>
                  <a:pt x="79" y="178"/>
                </a:cubicBezTo>
                <a:cubicBezTo>
                  <a:pt x="82" y="181"/>
                  <a:pt x="91" y="173"/>
                  <a:pt x="86" y="178"/>
                </a:cubicBezTo>
                <a:cubicBezTo>
                  <a:pt x="83" y="182"/>
                  <a:pt x="83" y="185"/>
                  <a:pt x="83" y="190"/>
                </a:cubicBezTo>
                <a:cubicBezTo>
                  <a:pt x="83" y="195"/>
                  <a:pt x="79" y="192"/>
                  <a:pt x="76" y="198"/>
                </a:cubicBezTo>
                <a:cubicBezTo>
                  <a:pt x="73" y="204"/>
                  <a:pt x="67" y="202"/>
                  <a:pt x="64" y="209"/>
                </a:cubicBezTo>
                <a:cubicBezTo>
                  <a:pt x="59" y="216"/>
                  <a:pt x="61" y="210"/>
                  <a:pt x="53" y="212"/>
                </a:cubicBezTo>
                <a:cubicBezTo>
                  <a:pt x="45" y="215"/>
                  <a:pt x="50" y="218"/>
                  <a:pt x="44" y="220"/>
                </a:cubicBezTo>
                <a:cubicBezTo>
                  <a:pt x="39" y="223"/>
                  <a:pt x="38" y="227"/>
                  <a:pt x="44" y="224"/>
                </a:cubicBezTo>
                <a:cubicBezTo>
                  <a:pt x="51" y="221"/>
                  <a:pt x="53" y="215"/>
                  <a:pt x="54" y="218"/>
                </a:cubicBezTo>
                <a:cubicBezTo>
                  <a:pt x="56" y="221"/>
                  <a:pt x="59" y="216"/>
                  <a:pt x="59" y="220"/>
                </a:cubicBezTo>
                <a:cubicBezTo>
                  <a:pt x="61" y="224"/>
                  <a:pt x="64" y="221"/>
                  <a:pt x="64" y="218"/>
                </a:cubicBezTo>
                <a:cubicBezTo>
                  <a:pt x="62" y="215"/>
                  <a:pt x="68" y="213"/>
                  <a:pt x="68" y="216"/>
                </a:cubicBezTo>
                <a:cubicBezTo>
                  <a:pt x="68" y="220"/>
                  <a:pt x="74" y="210"/>
                  <a:pt x="79" y="210"/>
                </a:cubicBezTo>
                <a:cubicBezTo>
                  <a:pt x="83" y="210"/>
                  <a:pt x="76" y="209"/>
                  <a:pt x="86" y="202"/>
                </a:cubicBezTo>
                <a:cubicBezTo>
                  <a:pt x="96" y="198"/>
                  <a:pt x="94" y="195"/>
                  <a:pt x="100" y="192"/>
                </a:cubicBezTo>
                <a:cubicBezTo>
                  <a:pt x="105" y="188"/>
                  <a:pt x="112" y="185"/>
                  <a:pt x="114" y="181"/>
                </a:cubicBezTo>
                <a:cubicBezTo>
                  <a:pt x="115" y="176"/>
                  <a:pt x="118" y="178"/>
                  <a:pt x="120" y="174"/>
                </a:cubicBezTo>
                <a:cubicBezTo>
                  <a:pt x="120" y="170"/>
                  <a:pt x="105" y="176"/>
                  <a:pt x="114" y="168"/>
                </a:cubicBezTo>
                <a:cubicBezTo>
                  <a:pt x="124" y="160"/>
                  <a:pt x="126" y="159"/>
                  <a:pt x="129" y="151"/>
                </a:cubicBezTo>
                <a:cubicBezTo>
                  <a:pt x="134" y="145"/>
                  <a:pt x="144" y="140"/>
                  <a:pt x="152" y="148"/>
                </a:cubicBezTo>
                <a:cubicBezTo>
                  <a:pt x="159" y="156"/>
                  <a:pt x="146" y="143"/>
                  <a:pt x="138" y="148"/>
                </a:cubicBezTo>
                <a:cubicBezTo>
                  <a:pt x="132" y="153"/>
                  <a:pt x="138" y="154"/>
                  <a:pt x="132" y="159"/>
                </a:cubicBezTo>
                <a:cubicBezTo>
                  <a:pt x="126" y="165"/>
                  <a:pt x="137" y="165"/>
                  <a:pt x="132" y="167"/>
                </a:cubicBezTo>
                <a:cubicBezTo>
                  <a:pt x="124" y="171"/>
                  <a:pt x="137" y="173"/>
                  <a:pt x="143" y="167"/>
                </a:cubicBezTo>
                <a:cubicBezTo>
                  <a:pt x="149" y="162"/>
                  <a:pt x="150" y="160"/>
                  <a:pt x="155" y="160"/>
                </a:cubicBezTo>
                <a:cubicBezTo>
                  <a:pt x="161" y="160"/>
                  <a:pt x="155" y="157"/>
                  <a:pt x="159" y="156"/>
                </a:cubicBezTo>
                <a:cubicBezTo>
                  <a:pt x="164" y="154"/>
                  <a:pt x="156" y="150"/>
                  <a:pt x="163" y="150"/>
                </a:cubicBezTo>
                <a:cubicBezTo>
                  <a:pt x="169" y="148"/>
                  <a:pt x="172" y="145"/>
                  <a:pt x="172" y="148"/>
                </a:cubicBezTo>
                <a:cubicBezTo>
                  <a:pt x="172" y="153"/>
                  <a:pt x="176" y="151"/>
                  <a:pt x="181" y="154"/>
                </a:cubicBezTo>
                <a:cubicBezTo>
                  <a:pt x="185" y="157"/>
                  <a:pt x="184" y="151"/>
                  <a:pt x="187" y="156"/>
                </a:cubicBezTo>
                <a:cubicBezTo>
                  <a:pt x="191" y="162"/>
                  <a:pt x="199" y="159"/>
                  <a:pt x="204" y="159"/>
                </a:cubicBezTo>
                <a:cubicBezTo>
                  <a:pt x="210" y="159"/>
                  <a:pt x="219" y="167"/>
                  <a:pt x="223" y="164"/>
                </a:cubicBezTo>
                <a:cubicBezTo>
                  <a:pt x="230" y="160"/>
                  <a:pt x="230" y="164"/>
                  <a:pt x="227" y="165"/>
                </a:cubicBezTo>
                <a:cubicBezTo>
                  <a:pt x="223" y="167"/>
                  <a:pt x="233" y="170"/>
                  <a:pt x="237" y="173"/>
                </a:cubicBezTo>
                <a:cubicBezTo>
                  <a:pt x="242" y="174"/>
                  <a:pt x="242" y="178"/>
                  <a:pt x="248" y="181"/>
                </a:cubicBezTo>
                <a:cubicBezTo>
                  <a:pt x="252" y="184"/>
                  <a:pt x="257" y="182"/>
                  <a:pt x="254" y="179"/>
                </a:cubicBezTo>
                <a:cubicBezTo>
                  <a:pt x="251" y="176"/>
                  <a:pt x="251" y="173"/>
                  <a:pt x="255" y="176"/>
                </a:cubicBezTo>
                <a:cubicBezTo>
                  <a:pt x="258" y="181"/>
                  <a:pt x="265" y="185"/>
                  <a:pt x="263" y="181"/>
                </a:cubicBezTo>
                <a:cubicBezTo>
                  <a:pt x="263" y="176"/>
                  <a:pt x="262" y="173"/>
                  <a:pt x="265" y="179"/>
                </a:cubicBezTo>
                <a:cubicBezTo>
                  <a:pt x="268" y="184"/>
                  <a:pt x="271" y="179"/>
                  <a:pt x="272" y="184"/>
                </a:cubicBezTo>
                <a:cubicBezTo>
                  <a:pt x="275" y="190"/>
                  <a:pt x="274" y="190"/>
                  <a:pt x="277" y="192"/>
                </a:cubicBezTo>
                <a:cubicBezTo>
                  <a:pt x="278" y="193"/>
                  <a:pt x="274" y="196"/>
                  <a:pt x="278" y="198"/>
                </a:cubicBezTo>
                <a:cubicBezTo>
                  <a:pt x="283" y="199"/>
                  <a:pt x="280" y="199"/>
                  <a:pt x="284" y="204"/>
                </a:cubicBezTo>
                <a:cubicBezTo>
                  <a:pt x="290" y="210"/>
                  <a:pt x="293" y="209"/>
                  <a:pt x="290" y="210"/>
                </a:cubicBezTo>
                <a:cubicBezTo>
                  <a:pt x="287" y="210"/>
                  <a:pt x="289" y="212"/>
                  <a:pt x="286" y="215"/>
                </a:cubicBezTo>
                <a:cubicBezTo>
                  <a:pt x="284" y="216"/>
                  <a:pt x="287" y="220"/>
                  <a:pt x="289" y="215"/>
                </a:cubicBezTo>
                <a:cubicBezTo>
                  <a:pt x="290" y="212"/>
                  <a:pt x="293" y="209"/>
                  <a:pt x="295" y="213"/>
                </a:cubicBezTo>
                <a:cubicBezTo>
                  <a:pt x="298" y="218"/>
                  <a:pt x="295" y="221"/>
                  <a:pt x="295" y="223"/>
                </a:cubicBezTo>
                <a:cubicBezTo>
                  <a:pt x="297" y="226"/>
                  <a:pt x="297" y="229"/>
                  <a:pt x="300" y="226"/>
                </a:cubicBezTo>
                <a:cubicBezTo>
                  <a:pt x="301" y="223"/>
                  <a:pt x="304" y="223"/>
                  <a:pt x="303" y="218"/>
                </a:cubicBezTo>
                <a:cubicBezTo>
                  <a:pt x="301" y="213"/>
                  <a:pt x="303" y="213"/>
                  <a:pt x="304" y="212"/>
                </a:cubicBezTo>
                <a:cubicBezTo>
                  <a:pt x="304" y="212"/>
                  <a:pt x="304" y="210"/>
                  <a:pt x="303" y="210"/>
                </a:cubicBezTo>
                <a:cubicBezTo>
                  <a:pt x="300" y="210"/>
                  <a:pt x="303" y="209"/>
                  <a:pt x="298" y="207"/>
                </a:cubicBezTo>
                <a:cubicBezTo>
                  <a:pt x="292" y="206"/>
                  <a:pt x="293" y="202"/>
                  <a:pt x="290" y="204"/>
                </a:cubicBezTo>
                <a:cubicBezTo>
                  <a:pt x="287" y="204"/>
                  <a:pt x="290" y="201"/>
                  <a:pt x="289" y="201"/>
                </a:cubicBezTo>
                <a:cubicBezTo>
                  <a:pt x="286" y="201"/>
                  <a:pt x="289" y="198"/>
                  <a:pt x="287" y="198"/>
                </a:cubicBezTo>
                <a:cubicBezTo>
                  <a:pt x="284" y="198"/>
                  <a:pt x="287" y="198"/>
                  <a:pt x="286" y="195"/>
                </a:cubicBezTo>
                <a:cubicBezTo>
                  <a:pt x="284" y="193"/>
                  <a:pt x="278" y="182"/>
                  <a:pt x="275" y="179"/>
                </a:cubicBezTo>
                <a:cubicBezTo>
                  <a:pt x="274" y="174"/>
                  <a:pt x="271" y="178"/>
                  <a:pt x="269" y="173"/>
                </a:cubicBezTo>
                <a:cubicBezTo>
                  <a:pt x="268" y="170"/>
                  <a:pt x="266" y="171"/>
                  <a:pt x="265" y="168"/>
                </a:cubicBezTo>
                <a:cubicBezTo>
                  <a:pt x="263" y="167"/>
                  <a:pt x="266" y="168"/>
                  <a:pt x="263" y="165"/>
                </a:cubicBezTo>
                <a:cubicBezTo>
                  <a:pt x="262" y="162"/>
                  <a:pt x="262" y="162"/>
                  <a:pt x="255" y="165"/>
                </a:cubicBezTo>
                <a:cubicBezTo>
                  <a:pt x="252" y="165"/>
                  <a:pt x="257" y="167"/>
                  <a:pt x="254" y="167"/>
                </a:cubicBezTo>
                <a:cubicBezTo>
                  <a:pt x="251" y="168"/>
                  <a:pt x="255" y="170"/>
                  <a:pt x="251" y="171"/>
                </a:cubicBezTo>
                <a:cubicBezTo>
                  <a:pt x="246" y="171"/>
                  <a:pt x="246" y="174"/>
                  <a:pt x="245" y="173"/>
                </a:cubicBezTo>
                <a:cubicBezTo>
                  <a:pt x="243" y="173"/>
                  <a:pt x="246" y="171"/>
                  <a:pt x="240" y="167"/>
                </a:cubicBezTo>
                <a:cubicBezTo>
                  <a:pt x="233" y="164"/>
                  <a:pt x="237" y="162"/>
                  <a:pt x="233" y="160"/>
                </a:cubicBezTo>
                <a:cubicBezTo>
                  <a:pt x="230" y="159"/>
                  <a:pt x="231" y="159"/>
                  <a:pt x="233" y="157"/>
                </a:cubicBezTo>
                <a:cubicBezTo>
                  <a:pt x="233" y="154"/>
                  <a:pt x="228" y="156"/>
                  <a:pt x="227" y="157"/>
                </a:cubicBezTo>
                <a:cubicBezTo>
                  <a:pt x="225" y="157"/>
                  <a:pt x="225" y="157"/>
                  <a:pt x="222" y="156"/>
                </a:cubicBezTo>
                <a:cubicBezTo>
                  <a:pt x="220" y="154"/>
                  <a:pt x="223" y="159"/>
                  <a:pt x="217" y="156"/>
                </a:cubicBezTo>
                <a:cubicBezTo>
                  <a:pt x="217" y="28"/>
                  <a:pt x="217" y="28"/>
                  <a:pt x="217" y="28"/>
                </a:cubicBezTo>
                <a:cubicBezTo>
                  <a:pt x="208" y="28"/>
                  <a:pt x="208" y="22"/>
                  <a:pt x="199" y="22"/>
                </a:cubicBezTo>
                <a:close/>
                <a:moveTo>
                  <a:pt x="734" y="349"/>
                </a:moveTo>
                <a:cubicBezTo>
                  <a:pt x="734" y="350"/>
                  <a:pt x="732" y="352"/>
                  <a:pt x="730" y="352"/>
                </a:cubicBezTo>
                <a:cubicBezTo>
                  <a:pt x="729" y="352"/>
                  <a:pt x="729" y="353"/>
                  <a:pt x="730" y="355"/>
                </a:cubicBezTo>
                <a:cubicBezTo>
                  <a:pt x="732" y="355"/>
                  <a:pt x="730" y="355"/>
                  <a:pt x="730" y="358"/>
                </a:cubicBezTo>
                <a:cubicBezTo>
                  <a:pt x="730" y="360"/>
                  <a:pt x="729" y="360"/>
                  <a:pt x="727" y="361"/>
                </a:cubicBezTo>
                <a:cubicBezTo>
                  <a:pt x="726" y="363"/>
                  <a:pt x="721" y="363"/>
                  <a:pt x="718" y="363"/>
                </a:cubicBezTo>
                <a:cubicBezTo>
                  <a:pt x="717" y="361"/>
                  <a:pt x="711" y="361"/>
                  <a:pt x="711" y="363"/>
                </a:cubicBezTo>
                <a:cubicBezTo>
                  <a:pt x="709" y="363"/>
                  <a:pt x="706" y="364"/>
                  <a:pt x="706" y="364"/>
                </a:cubicBezTo>
                <a:cubicBezTo>
                  <a:pt x="709" y="366"/>
                  <a:pt x="709" y="366"/>
                  <a:pt x="709" y="366"/>
                </a:cubicBezTo>
                <a:cubicBezTo>
                  <a:pt x="711" y="366"/>
                  <a:pt x="709" y="369"/>
                  <a:pt x="709" y="369"/>
                </a:cubicBezTo>
                <a:cubicBezTo>
                  <a:pt x="708" y="370"/>
                  <a:pt x="703" y="375"/>
                  <a:pt x="700" y="375"/>
                </a:cubicBezTo>
                <a:cubicBezTo>
                  <a:pt x="699" y="375"/>
                  <a:pt x="695" y="378"/>
                  <a:pt x="689" y="381"/>
                </a:cubicBezTo>
                <a:cubicBezTo>
                  <a:pt x="683" y="384"/>
                  <a:pt x="677" y="384"/>
                  <a:pt x="677" y="383"/>
                </a:cubicBezTo>
                <a:cubicBezTo>
                  <a:pt x="676" y="383"/>
                  <a:pt x="679" y="383"/>
                  <a:pt x="679" y="381"/>
                </a:cubicBezTo>
                <a:cubicBezTo>
                  <a:pt x="677" y="381"/>
                  <a:pt x="673" y="381"/>
                  <a:pt x="673" y="380"/>
                </a:cubicBezTo>
                <a:cubicBezTo>
                  <a:pt x="673" y="378"/>
                  <a:pt x="674" y="378"/>
                  <a:pt x="674" y="375"/>
                </a:cubicBezTo>
                <a:cubicBezTo>
                  <a:pt x="676" y="372"/>
                  <a:pt x="677" y="374"/>
                  <a:pt x="677" y="370"/>
                </a:cubicBezTo>
                <a:cubicBezTo>
                  <a:pt x="679" y="369"/>
                  <a:pt x="679" y="369"/>
                  <a:pt x="680" y="370"/>
                </a:cubicBezTo>
                <a:cubicBezTo>
                  <a:pt x="680" y="369"/>
                  <a:pt x="680" y="369"/>
                  <a:pt x="680" y="369"/>
                </a:cubicBezTo>
                <a:cubicBezTo>
                  <a:pt x="680" y="367"/>
                  <a:pt x="682" y="367"/>
                  <a:pt x="682" y="366"/>
                </a:cubicBezTo>
                <a:cubicBezTo>
                  <a:pt x="680" y="363"/>
                  <a:pt x="680" y="353"/>
                  <a:pt x="676" y="355"/>
                </a:cubicBezTo>
                <a:cubicBezTo>
                  <a:pt x="673" y="355"/>
                  <a:pt x="673" y="358"/>
                  <a:pt x="671" y="360"/>
                </a:cubicBezTo>
                <a:cubicBezTo>
                  <a:pt x="670" y="360"/>
                  <a:pt x="668" y="355"/>
                  <a:pt x="671" y="355"/>
                </a:cubicBezTo>
                <a:cubicBezTo>
                  <a:pt x="673" y="353"/>
                  <a:pt x="674" y="352"/>
                  <a:pt x="674" y="349"/>
                </a:cubicBezTo>
                <a:cubicBezTo>
                  <a:pt x="674" y="344"/>
                  <a:pt x="671" y="342"/>
                  <a:pt x="674" y="342"/>
                </a:cubicBezTo>
                <a:cubicBezTo>
                  <a:pt x="676" y="342"/>
                  <a:pt x="673" y="339"/>
                  <a:pt x="670" y="338"/>
                </a:cubicBezTo>
                <a:cubicBezTo>
                  <a:pt x="667" y="338"/>
                  <a:pt x="668" y="336"/>
                  <a:pt x="667" y="336"/>
                </a:cubicBezTo>
                <a:cubicBezTo>
                  <a:pt x="663" y="336"/>
                  <a:pt x="663" y="333"/>
                  <a:pt x="660" y="335"/>
                </a:cubicBezTo>
                <a:cubicBezTo>
                  <a:pt x="657" y="338"/>
                  <a:pt x="663" y="338"/>
                  <a:pt x="659" y="339"/>
                </a:cubicBezTo>
                <a:cubicBezTo>
                  <a:pt x="656" y="339"/>
                  <a:pt x="657" y="345"/>
                  <a:pt x="656" y="345"/>
                </a:cubicBezTo>
                <a:cubicBezTo>
                  <a:pt x="654" y="345"/>
                  <a:pt x="657" y="338"/>
                  <a:pt x="653" y="344"/>
                </a:cubicBezTo>
                <a:cubicBezTo>
                  <a:pt x="651" y="347"/>
                  <a:pt x="650" y="344"/>
                  <a:pt x="651" y="349"/>
                </a:cubicBezTo>
                <a:cubicBezTo>
                  <a:pt x="651" y="352"/>
                  <a:pt x="648" y="353"/>
                  <a:pt x="650" y="355"/>
                </a:cubicBezTo>
                <a:cubicBezTo>
                  <a:pt x="650" y="358"/>
                  <a:pt x="648" y="356"/>
                  <a:pt x="650" y="361"/>
                </a:cubicBezTo>
                <a:cubicBezTo>
                  <a:pt x="651" y="367"/>
                  <a:pt x="651" y="372"/>
                  <a:pt x="648" y="377"/>
                </a:cubicBezTo>
                <a:cubicBezTo>
                  <a:pt x="645" y="381"/>
                  <a:pt x="642" y="383"/>
                  <a:pt x="639" y="378"/>
                </a:cubicBezTo>
                <a:cubicBezTo>
                  <a:pt x="636" y="374"/>
                  <a:pt x="639" y="370"/>
                  <a:pt x="638" y="366"/>
                </a:cubicBezTo>
                <a:cubicBezTo>
                  <a:pt x="638" y="361"/>
                  <a:pt x="639" y="363"/>
                  <a:pt x="639" y="356"/>
                </a:cubicBezTo>
                <a:cubicBezTo>
                  <a:pt x="639" y="352"/>
                  <a:pt x="642" y="355"/>
                  <a:pt x="641" y="352"/>
                </a:cubicBezTo>
                <a:cubicBezTo>
                  <a:pt x="639" y="350"/>
                  <a:pt x="644" y="345"/>
                  <a:pt x="641" y="345"/>
                </a:cubicBezTo>
                <a:cubicBezTo>
                  <a:pt x="639" y="344"/>
                  <a:pt x="641" y="345"/>
                  <a:pt x="638" y="349"/>
                </a:cubicBezTo>
                <a:cubicBezTo>
                  <a:pt x="636" y="350"/>
                  <a:pt x="638" y="344"/>
                  <a:pt x="639" y="344"/>
                </a:cubicBezTo>
                <a:cubicBezTo>
                  <a:pt x="641" y="342"/>
                  <a:pt x="639" y="342"/>
                  <a:pt x="641" y="341"/>
                </a:cubicBezTo>
                <a:cubicBezTo>
                  <a:pt x="642" y="338"/>
                  <a:pt x="645" y="331"/>
                  <a:pt x="645" y="333"/>
                </a:cubicBezTo>
                <a:cubicBezTo>
                  <a:pt x="645" y="336"/>
                  <a:pt x="648" y="331"/>
                  <a:pt x="648" y="335"/>
                </a:cubicBezTo>
                <a:cubicBezTo>
                  <a:pt x="647" y="338"/>
                  <a:pt x="650" y="331"/>
                  <a:pt x="651" y="331"/>
                </a:cubicBezTo>
                <a:cubicBezTo>
                  <a:pt x="657" y="333"/>
                  <a:pt x="654" y="328"/>
                  <a:pt x="660" y="331"/>
                </a:cubicBezTo>
                <a:cubicBezTo>
                  <a:pt x="665" y="335"/>
                  <a:pt x="662" y="330"/>
                  <a:pt x="663" y="331"/>
                </a:cubicBezTo>
                <a:cubicBezTo>
                  <a:pt x="667" y="331"/>
                  <a:pt x="670" y="333"/>
                  <a:pt x="670" y="330"/>
                </a:cubicBezTo>
                <a:cubicBezTo>
                  <a:pt x="668" y="328"/>
                  <a:pt x="667" y="330"/>
                  <a:pt x="667" y="327"/>
                </a:cubicBezTo>
                <a:cubicBezTo>
                  <a:pt x="667" y="325"/>
                  <a:pt x="665" y="327"/>
                  <a:pt x="662" y="325"/>
                </a:cubicBezTo>
                <a:cubicBezTo>
                  <a:pt x="659" y="325"/>
                  <a:pt x="662" y="322"/>
                  <a:pt x="660" y="322"/>
                </a:cubicBezTo>
                <a:cubicBezTo>
                  <a:pt x="657" y="324"/>
                  <a:pt x="651" y="324"/>
                  <a:pt x="650" y="325"/>
                </a:cubicBezTo>
                <a:cubicBezTo>
                  <a:pt x="647" y="327"/>
                  <a:pt x="647" y="325"/>
                  <a:pt x="644" y="325"/>
                </a:cubicBezTo>
                <a:cubicBezTo>
                  <a:pt x="641" y="325"/>
                  <a:pt x="641" y="322"/>
                  <a:pt x="638" y="321"/>
                </a:cubicBezTo>
                <a:cubicBezTo>
                  <a:pt x="635" y="319"/>
                  <a:pt x="633" y="324"/>
                  <a:pt x="633" y="321"/>
                </a:cubicBezTo>
                <a:cubicBezTo>
                  <a:pt x="633" y="317"/>
                  <a:pt x="632" y="317"/>
                  <a:pt x="628" y="321"/>
                </a:cubicBezTo>
                <a:cubicBezTo>
                  <a:pt x="625" y="324"/>
                  <a:pt x="625" y="321"/>
                  <a:pt x="621" y="324"/>
                </a:cubicBezTo>
                <a:cubicBezTo>
                  <a:pt x="618" y="327"/>
                  <a:pt x="618" y="324"/>
                  <a:pt x="615" y="325"/>
                </a:cubicBezTo>
                <a:cubicBezTo>
                  <a:pt x="612" y="325"/>
                  <a:pt x="616" y="321"/>
                  <a:pt x="615" y="321"/>
                </a:cubicBezTo>
                <a:cubicBezTo>
                  <a:pt x="612" y="321"/>
                  <a:pt x="609" y="324"/>
                  <a:pt x="606" y="324"/>
                </a:cubicBezTo>
                <a:cubicBezTo>
                  <a:pt x="603" y="322"/>
                  <a:pt x="607" y="321"/>
                  <a:pt x="610" y="316"/>
                </a:cubicBezTo>
                <a:cubicBezTo>
                  <a:pt x="615" y="311"/>
                  <a:pt x="616" y="311"/>
                  <a:pt x="624" y="308"/>
                </a:cubicBezTo>
                <a:cubicBezTo>
                  <a:pt x="619" y="308"/>
                  <a:pt x="622" y="307"/>
                  <a:pt x="618" y="307"/>
                </a:cubicBezTo>
                <a:cubicBezTo>
                  <a:pt x="613" y="308"/>
                  <a:pt x="616" y="305"/>
                  <a:pt x="610" y="307"/>
                </a:cubicBezTo>
                <a:cubicBezTo>
                  <a:pt x="607" y="310"/>
                  <a:pt x="606" y="304"/>
                  <a:pt x="603" y="305"/>
                </a:cubicBezTo>
                <a:cubicBezTo>
                  <a:pt x="601" y="307"/>
                  <a:pt x="604" y="304"/>
                  <a:pt x="598" y="302"/>
                </a:cubicBezTo>
                <a:cubicBezTo>
                  <a:pt x="592" y="299"/>
                  <a:pt x="592" y="304"/>
                  <a:pt x="590" y="302"/>
                </a:cubicBezTo>
                <a:cubicBezTo>
                  <a:pt x="589" y="299"/>
                  <a:pt x="584" y="302"/>
                  <a:pt x="584" y="297"/>
                </a:cubicBezTo>
                <a:cubicBezTo>
                  <a:pt x="583" y="294"/>
                  <a:pt x="583" y="293"/>
                  <a:pt x="581" y="293"/>
                </a:cubicBezTo>
                <a:cubicBezTo>
                  <a:pt x="580" y="291"/>
                  <a:pt x="581" y="297"/>
                  <a:pt x="580" y="297"/>
                </a:cubicBezTo>
                <a:cubicBezTo>
                  <a:pt x="360" y="297"/>
                  <a:pt x="360" y="297"/>
                  <a:pt x="360" y="297"/>
                </a:cubicBezTo>
                <a:cubicBezTo>
                  <a:pt x="360" y="300"/>
                  <a:pt x="364" y="299"/>
                  <a:pt x="364" y="302"/>
                </a:cubicBezTo>
                <a:cubicBezTo>
                  <a:pt x="364" y="304"/>
                  <a:pt x="360" y="302"/>
                  <a:pt x="362" y="305"/>
                </a:cubicBezTo>
                <a:cubicBezTo>
                  <a:pt x="365" y="308"/>
                  <a:pt x="365" y="308"/>
                  <a:pt x="365" y="314"/>
                </a:cubicBezTo>
                <a:cubicBezTo>
                  <a:pt x="364" y="321"/>
                  <a:pt x="364" y="313"/>
                  <a:pt x="362" y="308"/>
                </a:cubicBezTo>
                <a:cubicBezTo>
                  <a:pt x="360" y="305"/>
                  <a:pt x="353" y="307"/>
                  <a:pt x="348" y="305"/>
                </a:cubicBezTo>
                <a:cubicBezTo>
                  <a:pt x="345" y="302"/>
                  <a:pt x="345" y="307"/>
                  <a:pt x="348" y="310"/>
                </a:cubicBezTo>
                <a:cubicBezTo>
                  <a:pt x="350" y="314"/>
                  <a:pt x="351" y="325"/>
                  <a:pt x="351" y="333"/>
                </a:cubicBezTo>
                <a:cubicBezTo>
                  <a:pt x="351" y="341"/>
                  <a:pt x="351" y="356"/>
                  <a:pt x="348" y="364"/>
                </a:cubicBezTo>
                <a:cubicBezTo>
                  <a:pt x="345" y="370"/>
                  <a:pt x="353" y="381"/>
                  <a:pt x="350" y="389"/>
                </a:cubicBezTo>
                <a:cubicBezTo>
                  <a:pt x="347" y="398"/>
                  <a:pt x="353" y="397"/>
                  <a:pt x="353" y="406"/>
                </a:cubicBezTo>
                <a:cubicBezTo>
                  <a:pt x="354" y="415"/>
                  <a:pt x="359" y="414"/>
                  <a:pt x="359" y="419"/>
                </a:cubicBezTo>
                <a:cubicBezTo>
                  <a:pt x="360" y="423"/>
                  <a:pt x="364" y="420"/>
                  <a:pt x="364" y="426"/>
                </a:cubicBezTo>
                <a:cubicBezTo>
                  <a:pt x="365" y="434"/>
                  <a:pt x="370" y="431"/>
                  <a:pt x="368" y="436"/>
                </a:cubicBezTo>
                <a:cubicBezTo>
                  <a:pt x="367" y="439"/>
                  <a:pt x="370" y="440"/>
                  <a:pt x="374" y="448"/>
                </a:cubicBezTo>
                <a:cubicBezTo>
                  <a:pt x="380" y="454"/>
                  <a:pt x="377" y="458"/>
                  <a:pt x="379" y="459"/>
                </a:cubicBezTo>
                <a:cubicBezTo>
                  <a:pt x="382" y="461"/>
                  <a:pt x="386" y="459"/>
                  <a:pt x="392" y="465"/>
                </a:cubicBezTo>
                <a:cubicBezTo>
                  <a:pt x="397" y="470"/>
                  <a:pt x="397" y="465"/>
                  <a:pt x="402" y="470"/>
                </a:cubicBezTo>
                <a:cubicBezTo>
                  <a:pt x="406" y="475"/>
                  <a:pt x="405" y="476"/>
                  <a:pt x="406" y="481"/>
                </a:cubicBezTo>
                <a:cubicBezTo>
                  <a:pt x="411" y="479"/>
                  <a:pt x="421" y="479"/>
                  <a:pt x="424" y="478"/>
                </a:cubicBezTo>
                <a:cubicBezTo>
                  <a:pt x="424" y="481"/>
                  <a:pt x="424" y="481"/>
                  <a:pt x="424" y="481"/>
                </a:cubicBezTo>
                <a:cubicBezTo>
                  <a:pt x="429" y="482"/>
                  <a:pt x="452" y="492"/>
                  <a:pt x="455" y="493"/>
                </a:cubicBezTo>
                <a:cubicBezTo>
                  <a:pt x="478" y="493"/>
                  <a:pt x="478" y="493"/>
                  <a:pt x="478" y="493"/>
                </a:cubicBezTo>
                <a:cubicBezTo>
                  <a:pt x="478" y="489"/>
                  <a:pt x="478" y="489"/>
                  <a:pt x="478" y="489"/>
                </a:cubicBezTo>
                <a:cubicBezTo>
                  <a:pt x="490" y="489"/>
                  <a:pt x="490" y="489"/>
                  <a:pt x="490" y="489"/>
                </a:cubicBezTo>
                <a:cubicBezTo>
                  <a:pt x="490" y="489"/>
                  <a:pt x="499" y="498"/>
                  <a:pt x="502" y="501"/>
                </a:cubicBezTo>
                <a:cubicBezTo>
                  <a:pt x="507" y="504"/>
                  <a:pt x="505" y="512"/>
                  <a:pt x="513" y="517"/>
                </a:cubicBezTo>
                <a:cubicBezTo>
                  <a:pt x="522" y="520"/>
                  <a:pt x="516" y="506"/>
                  <a:pt x="526" y="507"/>
                </a:cubicBezTo>
                <a:cubicBezTo>
                  <a:pt x="536" y="509"/>
                  <a:pt x="537" y="521"/>
                  <a:pt x="543" y="529"/>
                </a:cubicBezTo>
                <a:cubicBezTo>
                  <a:pt x="549" y="537"/>
                  <a:pt x="545" y="546"/>
                  <a:pt x="558" y="548"/>
                </a:cubicBezTo>
                <a:cubicBezTo>
                  <a:pt x="560" y="548"/>
                  <a:pt x="563" y="551"/>
                  <a:pt x="563" y="549"/>
                </a:cubicBezTo>
                <a:cubicBezTo>
                  <a:pt x="563" y="549"/>
                  <a:pt x="563" y="549"/>
                  <a:pt x="565" y="549"/>
                </a:cubicBezTo>
                <a:cubicBezTo>
                  <a:pt x="565" y="545"/>
                  <a:pt x="561" y="538"/>
                  <a:pt x="563" y="535"/>
                </a:cubicBezTo>
                <a:cubicBezTo>
                  <a:pt x="563" y="532"/>
                  <a:pt x="565" y="531"/>
                  <a:pt x="566" y="529"/>
                </a:cubicBezTo>
                <a:cubicBezTo>
                  <a:pt x="568" y="526"/>
                  <a:pt x="572" y="524"/>
                  <a:pt x="571" y="523"/>
                </a:cubicBezTo>
                <a:cubicBezTo>
                  <a:pt x="569" y="523"/>
                  <a:pt x="568" y="521"/>
                  <a:pt x="569" y="521"/>
                </a:cubicBezTo>
                <a:cubicBezTo>
                  <a:pt x="571" y="523"/>
                  <a:pt x="571" y="520"/>
                  <a:pt x="572" y="521"/>
                </a:cubicBezTo>
                <a:cubicBezTo>
                  <a:pt x="574" y="523"/>
                  <a:pt x="578" y="520"/>
                  <a:pt x="580" y="517"/>
                </a:cubicBezTo>
                <a:cubicBezTo>
                  <a:pt x="583" y="515"/>
                  <a:pt x="583" y="515"/>
                  <a:pt x="586" y="512"/>
                </a:cubicBezTo>
                <a:cubicBezTo>
                  <a:pt x="589" y="510"/>
                  <a:pt x="589" y="510"/>
                  <a:pt x="593" y="509"/>
                </a:cubicBezTo>
                <a:cubicBezTo>
                  <a:pt x="600" y="509"/>
                  <a:pt x="600" y="512"/>
                  <a:pt x="603" y="512"/>
                </a:cubicBezTo>
                <a:cubicBezTo>
                  <a:pt x="606" y="510"/>
                  <a:pt x="606" y="513"/>
                  <a:pt x="607" y="512"/>
                </a:cubicBezTo>
                <a:cubicBezTo>
                  <a:pt x="609" y="510"/>
                  <a:pt x="603" y="510"/>
                  <a:pt x="606" y="509"/>
                </a:cubicBezTo>
                <a:cubicBezTo>
                  <a:pt x="607" y="509"/>
                  <a:pt x="609" y="510"/>
                  <a:pt x="609" y="512"/>
                </a:cubicBezTo>
                <a:cubicBezTo>
                  <a:pt x="610" y="513"/>
                  <a:pt x="613" y="512"/>
                  <a:pt x="612" y="513"/>
                </a:cubicBezTo>
                <a:cubicBezTo>
                  <a:pt x="610" y="515"/>
                  <a:pt x="616" y="517"/>
                  <a:pt x="616" y="517"/>
                </a:cubicBezTo>
                <a:cubicBezTo>
                  <a:pt x="616" y="515"/>
                  <a:pt x="618" y="513"/>
                  <a:pt x="619" y="517"/>
                </a:cubicBezTo>
                <a:cubicBezTo>
                  <a:pt x="619" y="518"/>
                  <a:pt x="622" y="515"/>
                  <a:pt x="621" y="513"/>
                </a:cubicBezTo>
                <a:cubicBezTo>
                  <a:pt x="619" y="512"/>
                  <a:pt x="622" y="512"/>
                  <a:pt x="624" y="515"/>
                </a:cubicBezTo>
                <a:cubicBezTo>
                  <a:pt x="627" y="517"/>
                  <a:pt x="625" y="520"/>
                  <a:pt x="627" y="517"/>
                </a:cubicBezTo>
                <a:cubicBezTo>
                  <a:pt x="630" y="515"/>
                  <a:pt x="628" y="515"/>
                  <a:pt x="625" y="512"/>
                </a:cubicBezTo>
                <a:cubicBezTo>
                  <a:pt x="622" y="510"/>
                  <a:pt x="628" y="510"/>
                  <a:pt x="627" y="507"/>
                </a:cubicBezTo>
                <a:cubicBezTo>
                  <a:pt x="625" y="506"/>
                  <a:pt x="625" y="509"/>
                  <a:pt x="624" y="509"/>
                </a:cubicBezTo>
                <a:cubicBezTo>
                  <a:pt x="622" y="507"/>
                  <a:pt x="625" y="507"/>
                  <a:pt x="622" y="506"/>
                </a:cubicBezTo>
                <a:cubicBezTo>
                  <a:pt x="621" y="506"/>
                  <a:pt x="622" y="507"/>
                  <a:pt x="619" y="507"/>
                </a:cubicBezTo>
                <a:cubicBezTo>
                  <a:pt x="616" y="506"/>
                  <a:pt x="619" y="501"/>
                  <a:pt x="622" y="504"/>
                </a:cubicBezTo>
                <a:cubicBezTo>
                  <a:pt x="625" y="506"/>
                  <a:pt x="625" y="506"/>
                  <a:pt x="628" y="504"/>
                </a:cubicBezTo>
                <a:cubicBezTo>
                  <a:pt x="630" y="501"/>
                  <a:pt x="636" y="504"/>
                  <a:pt x="636" y="503"/>
                </a:cubicBezTo>
                <a:cubicBezTo>
                  <a:pt x="638" y="501"/>
                  <a:pt x="636" y="498"/>
                  <a:pt x="639" y="503"/>
                </a:cubicBezTo>
                <a:cubicBezTo>
                  <a:pt x="639" y="504"/>
                  <a:pt x="635" y="506"/>
                  <a:pt x="639" y="504"/>
                </a:cubicBezTo>
                <a:cubicBezTo>
                  <a:pt x="644" y="504"/>
                  <a:pt x="648" y="503"/>
                  <a:pt x="651" y="504"/>
                </a:cubicBezTo>
                <a:cubicBezTo>
                  <a:pt x="654" y="504"/>
                  <a:pt x="656" y="504"/>
                  <a:pt x="656" y="506"/>
                </a:cubicBezTo>
                <a:cubicBezTo>
                  <a:pt x="656" y="507"/>
                  <a:pt x="657" y="506"/>
                  <a:pt x="657" y="509"/>
                </a:cubicBezTo>
                <a:cubicBezTo>
                  <a:pt x="657" y="512"/>
                  <a:pt x="663" y="509"/>
                  <a:pt x="665" y="509"/>
                </a:cubicBezTo>
                <a:cubicBezTo>
                  <a:pt x="667" y="509"/>
                  <a:pt x="665" y="506"/>
                  <a:pt x="668" y="506"/>
                </a:cubicBezTo>
                <a:cubicBezTo>
                  <a:pt x="671" y="506"/>
                  <a:pt x="676" y="515"/>
                  <a:pt x="677" y="515"/>
                </a:cubicBezTo>
                <a:cubicBezTo>
                  <a:pt x="679" y="515"/>
                  <a:pt x="680" y="521"/>
                  <a:pt x="679" y="524"/>
                </a:cubicBezTo>
                <a:cubicBezTo>
                  <a:pt x="677" y="529"/>
                  <a:pt x="679" y="532"/>
                  <a:pt x="680" y="531"/>
                </a:cubicBezTo>
                <a:cubicBezTo>
                  <a:pt x="680" y="529"/>
                  <a:pt x="683" y="529"/>
                  <a:pt x="680" y="532"/>
                </a:cubicBezTo>
                <a:cubicBezTo>
                  <a:pt x="679" y="534"/>
                  <a:pt x="680" y="538"/>
                  <a:pt x="682" y="540"/>
                </a:cubicBezTo>
                <a:cubicBezTo>
                  <a:pt x="685" y="541"/>
                  <a:pt x="683" y="538"/>
                  <a:pt x="685" y="541"/>
                </a:cubicBezTo>
                <a:cubicBezTo>
                  <a:pt x="685" y="545"/>
                  <a:pt x="686" y="543"/>
                  <a:pt x="686" y="546"/>
                </a:cubicBezTo>
                <a:cubicBezTo>
                  <a:pt x="688" y="551"/>
                  <a:pt x="689" y="548"/>
                  <a:pt x="691" y="552"/>
                </a:cubicBezTo>
                <a:cubicBezTo>
                  <a:pt x="691" y="557"/>
                  <a:pt x="692" y="554"/>
                  <a:pt x="692" y="555"/>
                </a:cubicBezTo>
                <a:cubicBezTo>
                  <a:pt x="691" y="557"/>
                  <a:pt x="692" y="559"/>
                  <a:pt x="694" y="557"/>
                </a:cubicBezTo>
                <a:cubicBezTo>
                  <a:pt x="697" y="555"/>
                  <a:pt x="695" y="560"/>
                  <a:pt x="697" y="557"/>
                </a:cubicBezTo>
                <a:cubicBezTo>
                  <a:pt x="700" y="554"/>
                  <a:pt x="697" y="554"/>
                  <a:pt x="699" y="552"/>
                </a:cubicBezTo>
                <a:cubicBezTo>
                  <a:pt x="700" y="549"/>
                  <a:pt x="700" y="546"/>
                  <a:pt x="700" y="543"/>
                </a:cubicBezTo>
                <a:cubicBezTo>
                  <a:pt x="702" y="538"/>
                  <a:pt x="695" y="529"/>
                  <a:pt x="697" y="524"/>
                </a:cubicBezTo>
                <a:cubicBezTo>
                  <a:pt x="697" y="521"/>
                  <a:pt x="691" y="517"/>
                  <a:pt x="689" y="504"/>
                </a:cubicBezTo>
                <a:cubicBezTo>
                  <a:pt x="688" y="492"/>
                  <a:pt x="694" y="485"/>
                  <a:pt x="695" y="482"/>
                </a:cubicBezTo>
                <a:cubicBezTo>
                  <a:pt x="699" y="481"/>
                  <a:pt x="695" y="481"/>
                  <a:pt x="699" y="481"/>
                </a:cubicBezTo>
                <a:cubicBezTo>
                  <a:pt x="702" y="481"/>
                  <a:pt x="703" y="476"/>
                  <a:pt x="705" y="476"/>
                </a:cubicBezTo>
                <a:cubicBezTo>
                  <a:pt x="708" y="475"/>
                  <a:pt x="706" y="470"/>
                  <a:pt x="711" y="467"/>
                </a:cubicBezTo>
                <a:cubicBezTo>
                  <a:pt x="715" y="464"/>
                  <a:pt x="717" y="467"/>
                  <a:pt x="718" y="464"/>
                </a:cubicBezTo>
                <a:cubicBezTo>
                  <a:pt x="718" y="461"/>
                  <a:pt x="723" y="458"/>
                  <a:pt x="726" y="458"/>
                </a:cubicBezTo>
                <a:cubicBezTo>
                  <a:pt x="730" y="456"/>
                  <a:pt x="730" y="454"/>
                  <a:pt x="730" y="453"/>
                </a:cubicBezTo>
                <a:cubicBezTo>
                  <a:pt x="729" y="453"/>
                  <a:pt x="727" y="456"/>
                  <a:pt x="726" y="454"/>
                </a:cubicBezTo>
                <a:cubicBezTo>
                  <a:pt x="724" y="453"/>
                  <a:pt x="726" y="454"/>
                  <a:pt x="727" y="453"/>
                </a:cubicBezTo>
                <a:cubicBezTo>
                  <a:pt x="729" y="450"/>
                  <a:pt x="723" y="448"/>
                  <a:pt x="727" y="450"/>
                </a:cubicBezTo>
                <a:cubicBezTo>
                  <a:pt x="730" y="450"/>
                  <a:pt x="730" y="451"/>
                  <a:pt x="732" y="450"/>
                </a:cubicBezTo>
                <a:cubicBezTo>
                  <a:pt x="734" y="447"/>
                  <a:pt x="734" y="450"/>
                  <a:pt x="734" y="447"/>
                </a:cubicBezTo>
                <a:cubicBezTo>
                  <a:pt x="735" y="443"/>
                  <a:pt x="734" y="443"/>
                  <a:pt x="734" y="443"/>
                </a:cubicBezTo>
                <a:cubicBezTo>
                  <a:pt x="732" y="445"/>
                  <a:pt x="734" y="443"/>
                  <a:pt x="729" y="443"/>
                </a:cubicBezTo>
                <a:cubicBezTo>
                  <a:pt x="726" y="445"/>
                  <a:pt x="726" y="443"/>
                  <a:pt x="726" y="442"/>
                </a:cubicBezTo>
                <a:cubicBezTo>
                  <a:pt x="726" y="440"/>
                  <a:pt x="727" y="445"/>
                  <a:pt x="730" y="442"/>
                </a:cubicBezTo>
                <a:cubicBezTo>
                  <a:pt x="734" y="439"/>
                  <a:pt x="735" y="445"/>
                  <a:pt x="737" y="445"/>
                </a:cubicBezTo>
                <a:cubicBezTo>
                  <a:pt x="737" y="445"/>
                  <a:pt x="735" y="443"/>
                  <a:pt x="734" y="434"/>
                </a:cubicBezTo>
                <a:cubicBezTo>
                  <a:pt x="732" y="431"/>
                  <a:pt x="730" y="433"/>
                  <a:pt x="729" y="434"/>
                </a:cubicBezTo>
                <a:cubicBezTo>
                  <a:pt x="727" y="434"/>
                  <a:pt x="732" y="431"/>
                  <a:pt x="729" y="429"/>
                </a:cubicBezTo>
                <a:cubicBezTo>
                  <a:pt x="727" y="428"/>
                  <a:pt x="730" y="431"/>
                  <a:pt x="730" y="426"/>
                </a:cubicBezTo>
                <a:cubicBezTo>
                  <a:pt x="729" y="422"/>
                  <a:pt x="732" y="423"/>
                  <a:pt x="729" y="422"/>
                </a:cubicBezTo>
                <a:cubicBezTo>
                  <a:pt x="726" y="419"/>
                  <a:pt x="724" y="417"/>
                  <a:pt x="727" y="420"/>
                </a:cubicBezTo>
                <a:cubicBezTo>
                  <a:pt x="730" y="422"/>
                  <a:pt x="729" y="420"/>
                  <a:pt x="729" y="417"/>
                </a:cubicBezTo>
                <a:cubicBezTo>
                  <a:pt x="727" y="414"/>
                  <a:pt x="727" y="412"/>
                  <a:pt x="729" y="411"/>
                </a:cubicBezTo>
                <a:cubicBezTo>
                  <a:pt x="729" y="408"/>
                  <a:pt x="729" y="408"/>
                  <a:pt x="730" y="406"/>
                </a:cubicBezTo>
                <a:cubicBezTo>
                  <a:pt x="732" y="405"/>
                  <a:pt x="730" y="406"/>
                  <a:pt x="730" y="408"/>
                </a:cubicBezTo>
                <a:cubicBezTo>
                  <a:pt x="729" y="409"/>
                  <a:pt x="729" y="411"/>
                  <a:pt x="730" y="412"/>
                </a:cubicBezTo>
                <a:cubicBezTo>
                  <a:pt x="730" y="414"/>
                  <a:pt x="729" y="414"/>
                  <a:pt x="730" y="415"/>
                </a:cubicBezTo>
                <a:cubicBezTo>
                  <a:pt x="730" y="417"/>
                  <a:pt x="729" y="417"/>
                  <a:pt x="730" y="419"/>
                </a:cubicBezTo>
                <a:cubicBezTo>
                  <a:pt x="732" y="420"/>
                  <a:pt x="732" y="417"/>
                  <a:pt x="734" y="419"/>
                </a:cubicBezTo>
                <a:cubicBezTo>
                  <a:pt x="734" y="422"/>
                  <a:pt x="732" y="422"/>
                  <a:pt x="734" y="422"/>
                </a:cubicBezTo>
                <a:cubicBezTo>
                  <a:pt x="735" y="423"/>
                  <a:pt x="730" y="429"/>
                  <a:pt x="732" y="431"/>
                </a:cubicBezTo>
                <a:cubicBezTo>
                  <a:pt x="734" y="431"/>
                  <a:pt x="735" y="423"/>
                  <a:pt x="738" y="420"/>
                </a:cubicBezTo>
                <a:cubicBezTo>
                  <a:pt x="741" y="415"/>
                  <a:pt x="740" y="412"/>
                  <a:pt x="738" y="412"/>
                </a:cubicBezTo>
                <a:cubicBezTo>
                  <a:pt x="737" y="412"/>
                  <a:pt x="737" y="409"/>
                  <a:pt x="735" y="406"/>
                </a:cubicBezTo>
                <a:cubicBezTo>
                  <a:pt x="735" y="403"/>
                  <a:pt x="735" y="401"/>
                  <a:pt x="738" y="400"/>
                </a:cubicBezTo>
                <a:cubicBezTo>
                  <a:pt x="741" y="398"/>
                  <a:pt x="734" y="401"/>
                  <a:pt x="737" y="406"/>
                </a:cubicBezTo>
                <a:cubicBezTo>
                  <a:pt x="740" y="411"/>
                  <a:pt x="741" y="406"/>
                  <a:pt x="741" y="409"/>
                </a:cubicBezTo>
                <a:cubicBezTo>
                  <a:pt x="740" y="414"/>
                  <a:pt x="743" y="409"/>
                  <a:pt x="746" y="405"/>
                </a:cubicBezTo>
                <a:cubicBezTo>
                  <a:pt x="747" y="400"/>
                  <a:pt x="750" y="395"/>
                  <a:pt x="747" y="395"/>
                </a:cubicBezTo>
                <a:cubicBezTo>
                  <a:pt x="746" y="395"/>
                  <a:pt x="746" y="394"/>
                  <a:pt x="747" y="391"/>
                </a:cubicBezTo>
                <a:cubicBezTo>
                  <a:pt x="750" y="389"/>
                  <a:pt x="755" y="386"/>
                  <a:pt x="758" y="386"/>
                </a:cubicBezTo>
                <a:cubicBezTo>
                  <a:pt x="761" y="384"/>
                  <a:pt x="769" y="384"/>
                  <a:pt x="769" y="383"/>
                </a:cubicBezTo>
                <a:cubicBezTo>
                  <a:pt x="769" y="381"/>
                  <a:pt x="769" y="378"/>
                  <a:pt x="770" y="381"/>
                </a:cubicBezTo>
                <a:cubicBezTo>
                  <a:pt x="770" y="383"/>
                  <a:pt x="770" y="384"/>
                  <a:pt x="773" y="381"/>
                </a:cubicBezTo>
                <a:cubicBezTo>
                  <a:pt x="776" y="378"/>
                  <a:pt x="773" y="384"/>
                  <a:pt x="776" y="383"/>
                </a:cubicBezTo>
                <a:cubicBezTo>
                  <a:pt x="778" y="380"/>
                  <a:pt x="781" y="383"/>
                  <a:pt x="781" y="380"/>
                </a:cubicBezTo>
                <a:cubicBezTo>
                  <a:pt x="779" y="377"/>
                  <a:pt x="779" y="375"/>
                  <a:pt x="778" y="377"/>
                </a:cubicBezTo>
                <a:cubicBezTo>
                  <a:pt x="778" y="377"/>
                  <a:pt x="779" y="377"/>
                  <a:pt x="779" y="378"/>
                </a:cubicBezTo>
                <a:cubicBezTo>
                  <a:pt x="779" y="380"/>
                  <a:pt x="776" y="381"/>
                  <a:pt x="776" y="378"/>
                </a:cubicBezTo>
                <a:cubicBezTo>
                  <a:pt x="775" y="375"/>
                  <a:pt x="775" y="375"/>
                  <a:pt x="773" y="374"/>
                </a:cubicBezTo>
                <a:cubicBezTo>
                  <a:pt x="770" y="374"/>
                  <a:pt x="776" y="370"/>
                  <a:pt x="775" y="369"/>
                </a:cubicBezTo>
                <a:cubicBezTo>
                  <a:pt x="773" y="369"/>
                  <a:pt x="775" y="363"/>
                  <a:pt x="778" y="360"/>
                </a:cubicBezTo>
                <a:cubicBezTo>
                  <a:pt x="779" y="358"/>
                  <a:pt x="776" y="358"/>
                  <a:pt x="778" y="356"/>
                </a:cubicBezTo>
                <a:cubicBezTo>
                  <a:pt x="779" y="356"/>
                  <a:pt x="779" y="360"/>
                  <a:pt x="782" y="358"/>
                </a:cubicBezTo>
                <a:cubicBezTo>
                  <a:pt x="784" y="356"/>
                  <a:pt x="784" y="355"/>
                  <a:pt x="785" y="355"/>
                </a:cubicBezTo>
                <a:cubicBezTo>
                  <a:pt x="788" y="355"/>
                  <a:pt x="787" y="349"/>
                  <a:pt x="790" y="350"/>
                </a:cubicBezTo>
                <a:cubicBezTo>
                  <a:pt x="793" y="352"/>
                  <a:pt x="791" y="350"/>
                  <a:pt x="793" y="350"/>
                </a:cubicBezTo>
                <a:cubicBezTo>
                  <a:pt x="794" y="349"/>
                  <a:pt x="794" y="352"/>
                  <a:pt x="796" y="349"/>
                </a:cubicBezTo>
                <a:cubicBezTo>
                  <a:pt x="799" y="347"/>
                  <a:pt x="801" y="349"/>
                  <a:pt x="802" y="347"/>
                </a:cubicBezTo>
                <a:cubicBezTo>
                  <a:pt x="804" y="344"/>
                  <a:pt x="804" y="345"/>
                  <a:pt x="802" y="344"/>
                </a:cubicBezTo>
                <a:cubicBezTo>
                  <a:pt x="802" y="342"/>
                  <a:pt x="802" y="341"/>
                  <a:pt x="801" y="341"/>
                </a:cubicBezTo>
                <a:cubicBezTo>
                  <a:pt x="799" y="341"/>
                  <a:pt x="799" y="338"/>
                  <a:pt x="799" y="336"/>
                </a:cubicBezTo>
                <a:cubicBezTo>
                  <a:pt x="799" y="336"/>
                  <a:pt x="799" y="336"/>
                  <a:pt x="798" y="335"/>
                </a:cubicBezTo>
                <a:cubicBezTo>
                  <a:pt x="796" y="335"/>
                  <a:pt x="798" y="335"/>
                  <a:pt x="798" y="333"/>
                </a:cubicBezTo>
                <a:cubicBezTo>
                  <a:pt x="798" y="331"/>
                  <a:pt x="798" y="324"/>
                  <a:pt x="798" y="322"/>
                </a:cubicBezTo>
                <a:cubicBezTo>
                  <a:pt x="798" y="319"/>
                  <a:pt x="798" y="319"/>
                  <a:pt x="794" y="317"/>
                </a:cubicBezTo>
                <a:cubicBezTo>
                  <a:pt x="793" y="314"/>
                  <a:pt x="791" y="316"/>
                  <a:pt x="790" y="317"/>
                </a:cubicBezTo>
                <a:cubicBezTo>
                  <a:pt x="788" y="317"/>
                  <a:pt x="787" y="317"/>
                  <a:pt x="787" y="316"/>
                </a:cubicBezTo>
                <a:cubicBezTo>
                  <a:pt x="787" y="314"/>
                  <a:pt x="785" y="314"/>
                  <a:pt x="785" y="314"/>
                </a:cubicBezTo>
                <a:cubicBezTo>
                  <a:pt x="785" y="314"/>
                  <a:pt x="782" y="319"/>
                  <a:pt x="781" y="322"/>
                </a:cubicBezTo>
                <a:cubicBezTo>
                  <a:pt x="778" y="325"/>
                  <a:pt x="781" y="325"/>
                  <a:pt x="779" y="327"/>
                </a:cubicBezTo>
                <a:cubicBezTo>
                  <a:pt x="776" y="330"/>
                  <a:pt x="779" y="331"/>
                  <a:pt x="778" y="333"/>
                </a:cubicBezTo>
                <a:cubicBezTo>
                  <a:pt x="775" y="335"/>
                  <a:pt x="778" y="333"/>
                  <a:pt x="775" y="336"/>
                </a:cubicBezTo>
                <a:cubicBezTo>
                  <a:pt x="772" y="338"/>
                  <a:pt x="776" y="338"/>
                  <a:pt x="775" y="338"/>
                </a:cubicBezTo>
                <a:cubicBezTo>
                  <a:pt x="773" y="338"/>
                  <a:pt x="773" y="341"/>
                  <a:pt x="772" y="339"/>
                </a:cubicBezTo>
                <a:cubicBezTo>
                  <a:pt x="772" y="339"/>
                  <a:pt x="772" y="341"/>
                  <a:pt x="770" y="339"/>
                </a:cubicBezTo>
                <a:cubicBezTo>
                  <a:pt x="769" y="339"/>
                  <a:pt x="769" y="339"/>
                  <a:pt x="769" y="342"/>
                </a:cubicBezTo>
                <a:cubicBezTo>
                  <a:pt x="746" y="342"/>
                  <a:pt x="746" y="342"/>
                  <a:pt x="746" y="342"/>
                </a:cubicBezTo>
                <a:cubicBezTo>
                  <a:pt x="744" y="342"/>
                  <a:pt x="743" y="344"/>
                  <a:pt x="743" y="342"/>
                </a:cubicBezTo>
                <a:cubicBezTo>
                  <a:pt x="741" y="342"/>
                  <a:pt x="737" y="345"/>
                  <a:pt x="734" y="349"/>
                </a:cubicBezTo>
                <a:close/>
                <a:moveTo>
                  <a:pt x="807" y="630"/>
                </a:moveTo>
                <a:cubicBezTo>
                  <a:pt x="810" y="629"/>
                  <a:pt x="808" y="630"/>
                  <a:pt x="813" y="630"/>
                </a:cubicBezTo>
                <a:cubicBezTo>
                  <a:pt x="816" y="629"/>
                  <a:pt x="817" y="625"/>
                  <a:pt x="811" y="625"/>
                </a:cubicBezTo>
                <a:cubicBezTo>
                  <a:pt x="805" y="624"/>
                  <a:pt x="802" y="624"/>
                  <a:pt x="802" y="629"/>
                </a:cubicBezTo>
                <a:cubicBezTo>
                  <a:pt x="804" y="630"/>
                  <a:pt x="802" y="630"/>
                  <a:pt x="807" y="630"/>
                </a:cubicBezTo>
                <a:close/>
                <a:moveTo>
                  <a:pt x="100" y="619"/>
                </a:moveTo>
                <a:cubicBezTo>
                  <a:pt x="102" y="616"/>
                  <a:pt x="106" y="618"/>
                  <a:pt x="106" y="615"/>
                </a:cubicBezTo>
                <a:cubicBezTo>
                  <a:pt x="106" y="615"/>
                  <a:pt x="106" y="615"/>
                  <a:pt x="106" y="615"/>
                </a:cubicBezTo>
                <a:cubicBezTo>
                  <a:pt x="106" y="615"/>
                  <a:pt x="106" y="615"/>
                  <a:pt x="106" y="613"/>
                </a:cubicBezTo>
                <a:cubicBezTo>
                  <a:pt x="105" y="613"/>
                  <a:pt x="105" y="613"/>
                  <a:pt x="105" y="613"/>
                </a:cubicBezTo>
                <a:cubicBezTo>
                  <a:pt x="105" y="611"/>
                  <a:pt x="105" y="613"/>
                  <a:pt x="105" y="613"/>
                </a:cubicBezTo>
                <a:cubicBezTo>
                  <a:pt x="105" y="611"/>
                  <a:pt x="105" y="610"/>
                  <a:pt x="103" y="610"/>
                </a:cubicBezTo>
                <a:cubicBezTo>
                  <a:pt x="103" y="610"/>
                  <a:pt x="100" y="607"/>
                  <a:pt x="99" y="607"/>
                </a:cubicBezTo>
                <a:cubicBezTo>
                  <a:pt x="99" y="607"/>
                  <a:pt x="99" y="607"/>
                  <a:pt x="99" y="607"/>
                </a:cubicBezTo>
                <a:cubicBezTo>
                  <a:pt x="97" y="607"/>
                  <a:pt x="99" y="610"/>
                  <a:pt x="99" y="610"/>
                </a:cubicBezTo>
                <a:cubicBezTo>
                  <a:pt x="99" y="610"/>
                  <a:pt x="97" y="611"/>
                  <a:pt x="97" y="613"/>
                </a:cubicBezTo>
                <a:cubicBezTo>
                  <a:pt x="97" y="615"/>
                  <a:pt x="97" y="615"/>
                  <a:pt x="97" y="615"/>
                </a:cubicBezTo>
                <a:cubicBezTo>
                  <a:pt x="97" y="615"/>
                  <a:pt x="97" y="615"/>
                  <a:pt x="97" y="615"/>
                </a:cubicBezTo>
                <a:cubicBezTo>
                  <a:pt x="97" y="616"/>
                  <a:pt x="97" y="618"/>
                  <a:pt x="97" y="619"/>
                </a:cubicBezTo>
                <a:cubicBezTo>
                  <a:pt x="99" y="619"/>
                  <a:pt x="100" y="621"/>
                  <a:pt x="100" y="619"/>
                </a:cubicBezTo>
                <a:moveTo>
                  <a:pt x="96" y="601"/>
                </a:moveTo>
                <a:cubicBezTo>
                  <a:pt x="94" y="601"/>
                  <a:pt x="94" y="601"/>
                  <a:pt x="94" y="601"/>
                </a:cubicBezTo>
                <a:cubicBezTo>
                  <a:pt x="92" y="601"/>
                  <a:pt x="92" y="599"/>
                  <a:pt x="92" y="599"/>
                </a:cubicBezTo>
                <a:cubicBezTo>
                  <a:pt x="92" y="599"/>
                  <a:pt x="92" y="599"/>
                  <a:pt x="92" y="599"/>
                </a:cubicBezTo>
                <a:cubicBezTo>
                  <a:pt x="91" y="601"/>
                  <a:pt x="91" y="601"/>
                  <a:pt x="91" y="601"/>
                </a:cubicBezTo>
                <a:cubicBezTo>
                  <a:pt x="92" y="601"/>
                  <a:pt x="92" y="601"/>
                  <a:pt x="94" y="602"/>
                </a:cubicBezTo>
                <a:cubicBezTo>
                  <a:pt x="94" y="602"/>
                  <a:pt x="92" y="604"/>
                  <a:pt x="94" y="604"/>
                </a:cubicBezTo>
                <a:cubicBezTo>
                  <a:pt x="94" y="604"/>
                  <a:pt x="99" y="604"/>
                  <a:pt x="96" y="601"/>
                </a:cubicBezTo>
                <a:cubicBezTo>
                  <a:pt x="96" y="601"/>
                  <a:pt x="96" y="601"/>
                  <a:pt x="96" y="601"/>
                </a:cubicBezTo>
                <a:moveTo>
                  <a:pt x="82" y="593"/>
                </a:moveTo>
                <a:cubicBezTo>
                  <a:pt x="82" y="593"/>
                  <a:pt x="80" y="593"/>
                  <a:pt x="80" y="594"/>
                </a:cubicBezTo>
                <a:cubicBezTo>
                  <a:pt x="80" y="594"/>
                  <a:pt x="79" y="593"/>
                  <a:pt x="79" y="594"/>
                </a:cubicBezTo>
                <a:cubicBezTo>
                  <a:pt x="80" y="599"/>
                  <a:pt x="82" y="596"/>
                  <a:pt x="82" y="596"/>
                </a:cubicBezTo>
                <a:cubicBezTo>
                  <a:pt x="82" y="596"/>
                  <a:pt x="82" y="596"/>
                  <a:pt x="82" y="596"/>
                </a:cubicBezTo>
                <a:cubicBezTo>
                  <a:pt x="83" y="597"/>
                  <a:pt x="83" y="597"/>
                  <a:pt x="83" y="597"/>
                </a:cubicBezTo>
                <a:cubicBezTo>
                  <a:pt x="83" y="596"/>
                  <a:pt x="83" y="596"/>
                  <a:pt x="83" y="596"/>
                </a:cubicBezTo>
                <a:cubicBezTo>
                  <a:pt x="83" y="596"/>
                  <a:pt x="83" y="596"/>
                  <a:pt x="83" y="596"/>
                </a:cubicBezTo>
                <a:cubicBezTo>
                  <a:pt x="83" y="596"/>
                  <a:pt x="83" y="596"/>
                  <a:pt x="83" y="596"/>
                </a:cubicBezTo>
                <a:cubicBezTo>
                  <a:pt x="83" y="594"/>
                  <a:pt x="83" y="596"/>
                  <a:pt x="83" y="596"/>
                </a:cubicBezTo>
                <a:cubicBezTo>
                  <a:pt x="82" y="594"/>
                  <a:pt x="82" y="593"/>
                  <a:pt x="82" y="593"/>
                </a:cubicBezTo>
                <a:moveTo>
                  <a:pt x="71" y="590"/>
                </a:moveTo>
                <a:cubicBezTo>
                  <a:pt x="71" y="585"/>
                  <a:pt x="67" y="588"/>
                  <a:pt x="67" y="590"/>
                </a:cubicBezTo>
                <a:cubicBezTo>
                  <a:pt x="67" y="590"/>
                  <a:pt x="71" y="591"/>
                  <a:pt x="71" y="590"/>
                </a:cubicBezTo>
                <a:moveTo>
                  <a:pt x="89" y="601"/>
                </a:moveTo>
                <a:cubicBezTo>
                  <a:pt x="89" y="602"/>
                  <a:pt x="89" y="604"/>
                  <a:pt x="91" y="602"/>
                </a:cubicBezTo>
                <a:cubicBezTo>
                  <a:pt x="91" y="601"/>
                  <a:pt x="91" y="601"/>
                  <a:pt x="91" y="601"/>
                </a:cubicBezTo>
                <a:cubicBezTo>
                  <a:pt x="89" y="601"/>
                  <a:pt x="88" y="601"/>
                  <a:pt x="89" y="601"/>
                </a:cubicBezTo>
                <a:moveTo>
                  <a:pt x="92" y="604"/>
                </a:moveTo>
                <a:cubicBezTo>
                  <a:pt x="94" y="604"/>
                  <a:pt x="92" y="605"/>
                  <a:pt x="91" y="604"/>
                </a:cubicBezTo>
                <a:cubicBezTo>
                  <a:pt x="92" y="604"/>
                  <a:pt x="92" y="604"/>
                  <a:pt x="92" y="604"/>
                </a:cubicBezTo>
                <a:moveTo>
                  <a:pt x="89" y="597"/>
                </a:moveTo>
                <a:cubicBezTo>
                  <a:pt x="88" y="597"/>
                  <a:pt x="88" y="597"/>
                  <a:pt x="86" y="597"/>
                </a:cubicBezTo>
                <a:cubicBezTo>
                  <a:pt x="86" y="599"/>
                  <a:pt x="86" y="599"/>
                  <a:pt x="86" y="599"/>
                </a:cubicBezTo>
                <a:cubicBezTo>
                  <a:pt x="88" y="599"/>
                  <a:pt x="88" y="599"/>
                  <a:pt x="88" y="599"/>
                </a:cubicBezTo>
                <a:cubicBezTo>
                  <a:pt x="89" y="599"/>
                  <a:pt x="89" y="599"/>
                  <a:pt x="89" y="599"/>
                </a:cubicBezTo>
                <a:cubicBezTo>
                  <a:pt x="91" y="599"/>
                  <a:pt x="91" y="597"/>
                  <a:pt x="91" y="597"/>
                </a:cubicBezTo>
                <a:cubicBezTo>
                  <a:pt x="89" y="597"/>
                  <a:pt x="89" y="597"/>
                  <a:pt x="89" y="597"/>
                </a:cubicBezTo>
                <a:cubicBezTo>
                  <a:pt x="89" y="597"/>
                  <a:pt x="89" y="597"/>
                  <a:pt x="89" y="597"/>
                </a:cubicBezTo>
                <a:moveTo>
                  <a:pt x="65" y="590"/>
                </a:moveTo>
                <a:cubicBezTo>
                  <a:pt x="65" y="590"/>
                  <a:pt x="62" y="591"/>
                  <a:pt x="64" y="591"/>
                </a:cubicBezTo>
                <a:cubicBezTo>
                  <a:pt x="65" y="590"/>
                  <a:pt x="65" y="590"/>
                  <a:pt x="65" y="59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7" name="Freeform 290"/>
          <p:cNvSpPr>
            <a:spLocks/>
          </p:cNvSpPr>
          <p:nvPr/>
        </p:nvSpPr>
        <p:spPr bwMode="auto">
          <a:xfrm>
            <a:off x="3321553" y="4520386"/>
            <a:ext cx="809329" cy="1108730"/>
          </a:xfrm>
          <a:custGeom>
            <a:avLst/>
            <a:gdLst/>
            <a:ahLst/>
            <a:cxnLst>
              <a:cxn ang="0">
                <a:pos x="169" y="380"/>
              </a:cxn>
              <a:cxn ang="0">
                <a:pos x="157" y="368"/>
              </a:cxn>
              <a:cxn ang="0">
                <a:pos x="145" y="357"/>
              </a:cxn>
              <a:cxn ang="0">
                <a:pos x="140" y="350"/>
              </a:cxn>
              <a:cxn ang="0">
                <a:pos x="163" y="325"/>
              </a:cxn>
              <a:cxn ang="0">
                <a:pos x="159" y="307"/>
              </a:cxn>
              <a:cxn ang="0">
                <a:pos x="154" y="291"/>
              </a:cxn>
              <a:cxn ang="0">
                <a:pos x="143" y="273"/>
              </a:cxn>
              <a:cxn ang="0">
                <a:pos x="134" y="263"/>
              </a:cxn>
              <a:cxn ang="0">
                <a:pos x="133" y="248"/>
              </a:cxn>
              <a:cxn ang="0">
                <a:pos x="133" y="224"/>
              </a:cxn>
              <a:cxn ang="0">
                <a:pos x="118" y="213"/>
              </a:cxn>
              <a:cxn ang="0">
                <a:pos x="101" y="184"/>
              </a:cxn>
              <a:cxn ang="0">
                <a:pos x="80" y="171"/>
              </a:cxn>
              <a:cxn ang="0">
                <a:pos x="58" y="154"/>
              </a:cxn>
              <a:cxn ang="0">
                <a:pos x="34" y="161"/>
              </a:cxn>
              <a:cxn ang="0">
                <a:pos x="20" y="148"/>
              </a:cxn>
              <a:cxn ang="0">
                <a:pos x="10" y="118"/>
              </a:cxn>
              <a:cxn ang="0">
                <a:pos x="31" y="94"/>
              </a:cxn>
              <a:cxn ang="0">
                <a:pos x="41" y="70"/>
              </a:cxn>
              <a:cxn ang="0">
                <a:pos x="37" y="48"/>
              </a:cxn>
              <a:cxn ang="0">
                <a:pos x="45" y="47"/>
              </a:cxn>
              <a:cxn ang="0">
                <a:pos x="38" y="42"/>
              </a:cxn>
              <a:cxn ang="0">
                <a:pos x="52" y="36"/>
              </a:cxn>
              <a:cxn ang="0">
                <a:pos x="58" y="31"/>
              </a:cxn>
              <a:cxn ang="0">
                <a:pos x="72" y="45"/>
              </a:cxn>
              <a:cxn ang="0">
                <a:pos x="87" y="33"/>
              </a:cxn>
              <a:cxn ang="0">
                <a:pos x="81" y="14"/>
              </a:cxn>
              <a:cxn ang="0">
                <a:pos x="98" y="13"/>
              </a:cxn>
              <a:cxn ang="0">
                <a:pos x="115" y="2"/>
              </a:cxn>
              <a:cxn ang="0">
                <a:pos x="119" y="16"/>
              </a:cxn>
              <a:cxn ang="0">
                <a:pos x="119" y="33"/>
              </a:cxn>
              <a:cxn ang="0">
                <a:pos x="131" y="38"/>
              </a:cxn>
              <a:cxn ang="0">
                <a:pos x="145" y="34"/>
              </a:cxn>
              <a:cxn ang="0">
                <a:pos x="151" y="30"/>
              </a:cxn>
              <a:cxn ang="0">
                <a:pos x="160" y="30"/>
              </a:cxn>
              <a:cxn ang="0">
                <a:pos x="169" y="30"/>
              </a:cxn>
              <a:cxn ang="0">
                <a:pos x="179" y="20"/>
              </a:cxn>
              <a:cxn ang="0">
                <a:pos x="185" y="10"/>
              </a:cxn>
              <a:cxn ang="0">
                <a:pos x="188" y="16"/>
              </a:cxn>
              <a:cxn ang="0">
                <a:pos x="189" y="28"/>
              </a:cxn>
              <a:cxn ang="0">
                <a:pos x="192" y="33"/>
              </a:cxn>
              <a:cxn ang="0">
                <a:pos x="197" y="44"/>
              </a:cxn>
              <a:cxn ang="0">
                <a:pos x="185" y="59"/>
              </a:cxn>
              <a:cxn ang="0">
                <a:pos x="191" y="64"/>
              </a:cxn>
              <a:cxn ang="0">
                <a:pos x="206" y="55"/>
              </a:cxn>
              <a:cxn ang="0">
                <a:pos x="217" y="59"/>
              </a:cxn>
              <a:cxn ang="0">
                <a:pos x="235" y="67"/>
              </a:cxn>
              <a:cxn ang="0">
                <a:pos x="239" y="83"/>
              </a:cxn>
              <a:cxn ang="0">
                <a:pos x="270" y="80"/>
              </a:cxn>
              <a:cxn ang="0">
                <a:pos x="297" y="100"/>
              </a:cxn>
              <a:cxn ang="0">
                <a:pos x="317" y="123"/>
              </a:cxn>
              <a:cxn ang="0">
                <a:pos x="296" y="168"/>
              </a:cxn>
              <a:cxn ang="0">
                <a:pos x="284" y="198"/>
              </a:cxn>
              <a:cxn ang="0">
                <a:pos x="281" y="232"/>
              </a:cxn>
              <a:cxn ang="0">
                <a:pos x="268" y="268"/>
              </a:cxn>
              <a:cxn ang="0">
                <a:pos x="250" y="282"/>
              </a:cxn>
              <a:cxn ang="0">
                <a:pos x="223" y="294"/>
              </a:cxn>
              <a:cxn ang="0">
                <a:pos x="207" y="336"/>
              </a:cxn>
              <a:cxn ang="0">
                <a:pos x="186" y="371"/>
              </a:cxn>
              <a:cxn ang="0">
                <a:pos x="168" y="392"/>
              </a:cxn>
            </a:cxnLst>
            <a:rect l="0" t="0" r="r" b="b"/>
            <a:pathLst>
              <a:path w="319" h="392">
                <a:moveTo>
                  <a:pt x="168" y="392"/>
                </a:moveTo>
                <a:cubicBezTo>
                  <a:pt x="166" y="385"/>
                  <a:pt x="174" y="386"/>
                  <a:pt x="169" y="380"/>
                </a:cubicBezTo>
                <a:cubicBezTo>
                  <a:pt x="166" y="375"/>
                  <a:pt x="168" y="375"/>
                  <a:pt x="163" y="374"/>
                </a:cubicBezTo>
                <a:cubicBezTo>
                  <a:pt x="160" y="371"/>
                  <a:pt x="162" y="371"/>
                  <a:pt x="157" y="368"/>
                </a:cubicBezTo>
                <a:cubicBezTo>
                  <a:pt x="153" y="366"/>
                  <a:pt x="154" y="361"/>
                  <a:pt x="151" y="364"/>
                </a:cubicBezTo>
                <a:cubicBezTo>
                  <a:pt x="146" y="366"/>
                  <a:pt x="150" y="361"/>
                  <a:pt x="145" y="357"/>
                </a:cubicBezTo>
                <a:cubicBezTo>
                  <a:pt x="139" y="352"/>
                  <a:pt x="139" y="360"/>
                  <a:pt x="136" y="355"/>
                </a:cubicBezTo>
                <a:cubicBezTo>
                  <a:pt x="137" y="354"/>
                  <a:pt x="137" y="352"/>
                  <a:pt x="140" y="350"/>
                </a:cubicBezTo>
                <a:cubicBezTo>
                  <a:pt x="142" y="350"/>
                  <a:pt x="142" y="347"/>
                  <a:pt x="148" y="340"/>
                </a:cubicBezTo>
                <a:cubicBezTo>
                  <a:pt x="153" y="332"/>
                  <a:pt x="159" y="329"/>
                  <a:pt x="163" y="325"/>
                </a:cubicBezTo>
                <a:cubicBezTo>
                  <a:pt x="168" y="322"/>
                  <a:pt x="168" y="316"/>
                  <a:pt x="166" y="310"/>
                </a:cubicBezTo>
                <a:cubicBezTo>
                  <a:pt x="163" y="302"/>
                  <a:pt x="162" y="308"/>
                  <a:pt x="159" y="307"/>
                </a:cubicBezTo>
                <a:cubicBezTo>
                  <a:pt x="162" y="305"/>
                  <a:pt x="163" y="293"/>
                  <a:pt x="160" y="290"/>
                </a:cubicBezTo>
                <a:cubicBezTo>
                  <a:pt x="159" y="288"/>
                  <a:pt x="157" y="291"/>
                  <a:pt x="154" y="291"/>
                </a:cubicBezTo>
                <a:cubicBezTo>
                  <a:pt x="151" y="291"/>
                  <a:pt x="154" y="288"/>
                  <a:pt x="151" y="276"/>
                </a:cubicBezTo>
                <a:cubicBezTo>
                  <a:pt x="150" y="273"/>
                  <a:pt x="145" y="271"/>
                  <a:pt x="143" y="273"/>
                </a:cubicBezTo>
                <a:cubicBezTo>
                  <a:pt x="143" y="274"/>
                  <a:pt x="133" y="273"/>
                  <a:pt x="133" y="271"/>
                </a:cubicBezTo>
                <a:cubicBezTo>
                  <a:pt x="134" y="268"/>
                  <a:pt x="133" y="268"/>
                  <a:pt x="134" y="263"/>
                </a:cubicBezTo>
                <a:cubicBezTo>
                  <a:pt x="136" y="260"/>
                  <a:pt x="131" y="255"/>
                  <a:pt x="131" y="252"/>
                </a:cubicBezTo>
                <a:cubicBezTo>
                  <a:pt x="134" y="251"/>
                  <a:pt x="134" y="251"/>
                  <a:pt x="133" y="248"/>
                </a:cubicBezTo>
                <a:cubicBezTo>
                  <a:pt x="133" y="246"/>
                  <a:pt x="136" y="243"/>
                  <a:pt x="134" y="240"/>
                </a:cubicBezTo>
                <a:cubicBezTo>
                  <a:pt x="134" y="238"/>
                  <a:pt x="140" y="227"/>
                  <a:pt x="133" y="224"/>
                </a:cubicBezTo>
                <a:cubicBezTo>
                  <a:pt x="128" y="223"/>
                  <a:pt x="128" y="218"/>
                  <a:pt x="130" y="215"/>
                </a:cubicBezTo>
                <a:cubicBezTo>
                  <a:pt x="131" y="212"/>
                  <a:pt x="122" y="213"/>
                  <a:pt x="118" y="213"/>
                </a:cubicBezTo>
                <a:cubicBezTo>
                  <a:pt x="113" y="212"/>
                  <a:pt x="116" y="192"/>
                  <a:pt x="111" y="187"/>
                </a:cubicBezTo>
                <a:cubicBezTo>
                  <a:pt x="107" y="182"/>
                  <a:pt x="105" y="189"/>
                  <a:pt x="101" y="184"/>
                </a:cubicBezTo>
                <a:cubicBezTo>
                  <a:pt x="98" y="181"/>
                  <a:pt x="99" y="184"/>
                  <a:pt x="95" y="179"/>
                </a:cubicBezTo>
                <a:cubicBezTo>
                  <a:pt x="89" y="175"/>
                  <a:pt x="86" y="178"/>
                  <a:pt x="80" y="171"/>
                </a:cubicBezTo>
                <a:cubicBezTo>
                  <a:pt x="73" y="165"/>
                  <a:pt x="73" y="159"/>
                  <a:pt x="75" y="151"/>
                </a:cubicBezTo>
                <a:cubicBezTo>
                  <a:pt x="78" y="145"/>
                  <a:pt x="66" y="148"/>
                  <a:pt x="58" y="154"/>
                </a:cubicBezTo>
                <a:cubicBezTo>
                  <a:pt x="49" y="162"/>
                  <a:pt x="51" y="164"/>
                  <a:pt x="41" y="161"/>
                </a:cubicBezTo>
                <a:cubicBezTo>
                  <a:pt x="37" y="159"/>
                  <a:pt x="37" y="162"/>
                  <a:pt x="34" y="161"/>
                </a:cubicBezTo>
                <a:cubicBezTo>
                  <a:pt x="31" y="161"/>
                  <a:pt x="34" y="143"/>
                  <a:pt x="31" y="148"/>
                </a:cubicBezTo>
                <a:cubicBezTo>
                  <a:pt x="29" y="151"/>
                  <a:pt x="19" y="156"/>
                  <a:pt x="20" y="148"/>
                </a:cubicBezTo>
                <a:cubicBezTo>
                  <a:pt x="20" y="142"/>
                  <a:pt x="11" y="148"/>
                  <a:pt x="13" y="143"/>
                </a:cubicBezTo>
                <a:cubicBezTo>
                  <a:pt x="14" y="139"/>
                  <a:pt x="0" y="126"/>
                  <a:pt x="10" y="118"/>
                </a:cubicBezTo>
                <a:cubicBezTo>
                  <a:pt x="16" y="115"/>
                  <a:pt x="13" y="108"/>
                  <a:pt x="17" y="101"/>
                </a:cubicBezTo>
                <a:cubicBezTo>
                  <a:pt x="23" y="97"/>
                  <a:pt x="25" y="98"/>
                  <a:pt x="31" y="94"/>
                </a:cubicBezTo>
                <a:cubicBezTo>
                  <a:pt x="37" y="90"/>
                  <a:pt x="34" y="97"/>
                  <a:pt x="38" y="94"/>
                </a:cubicBezTo>
                <a:cubicBezTo>
                  <a:pt x="38" y="92"/>
                  <a:pt x="40" y="76"/>
                  <a:pt x="41" y="70"/>
                </a:cubicBezTo>
                <a:cubicBezTo>
                  <a:pt x="43" y="62"/>
                  <a:pt x="40" y="62"/>
                  <a:pt x="41" y="59"/>
                </a:cubicBezTo>
                <a:cubicBezTo>
                  <a:pt x="41" y="56"/>
                  <a:pt x="38" y="61"/>
                  <a:pt x="37" y="48"/>
                </a:cubicBezTo>
                <a:cubicBezTo>
                  <a:pt x="37" y="45"/>
                  <a:pt x="40" y="47"/>
                  <a:pt x="41" y="45"/>
                </a:cubicBezTo>
                <a:cubicBezTo>
                  <a:pt x="41" y="45"/>
                  <a:pt x="43" y="47"/>
                  <a:pt x="45" y="47"/>
                </a:cubicBezTo>
                <a:cubicBezTo>
                  <a:pt x="45" y="48"/>
                  <a:pt x="45" y="42"/>
                  <a:pt x="43" y="42"/>
                </a:cubicBezTo>
                <a:cubicBezTo>
                  <a:pt x="40" y="42"/>
                  <a:pt x="38" y="42"/>
                  <a:pt x="38" y="42"/>
                </a:cubicBezTo>
                <a:cubicBezTo>
                  <a:pt x="38" y="36"/>
                  <a:pt x="38" y="36"/>
                  <a:pt x="38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1" y="34"/>
                  <a:pt x="51" y="31"/>
                  <a:pt x="54" y="34"/>
                </a:cubicBezTo>
                <a:cubicBezTo>
                  <a:pt x="55" y="38"/>
                  <a:pt x="57" y="31"/>
                  <a:pt x="58" y="31"/>
                </a:cubicBezTo>
                <a:cubicBezTo>
                  <a:pt x="63" y="38"/>
                  <a:pt x="58" y="42"/>
                  <a:pt x="63" y="41"/>
                </a:cubicBezTo>
                <a:cubicBezTo>
                  <a:pt x="66" y="47"/>
                  <a:pt x="69" y="44"/>
                  <a:pt x="72" y="45"/>
                </a:cubicBezTo>
                <a:cubicBezTo>
                  <a:pt x="76" y="47"/>
                  <a:pt x="75" y="41"/>
                  <a:pt x="81" y="39"/>
                </a:cubicBezTo>
                <a:cubicBezTo>
                  <a:pt x="87" y="39"/>
                  <a:pt x="83" y="34"/>
                  <a:pt x="87" y="33"/>
                </a:cubicBezTo>
                <a:cubicBezTo>
                  <a:pt x="92" y="30"/>
                  <a:pt x="90" y="27"/>
                  <a:pt x="87" y="28"/>
                </a:cubicBezTo>
                <a:cubicBezTo>
                  <a:pt x="84" y="30"/>
                  <a:pt x="84" y="19"/>
                  <a:pt x="81" y="14"/>
                </a:cubicBezTo>
                <a:cubicBezTo>
                  <a:pt x="78" y="10"/>
                  <a:pt x="86" y="13"/>
                  <a:pt x="92" y="16"/>
                </a:cubicBezTo>
                <a:cubicBezTo>
                  <a:pt x="99" y="20"/>
                  <a:pt x="93" y="11"/>
                  <a:pt x="98" y="13"/>
                </a:cubicBezTo>
                <a:cubicBezTo>
                  <a:pt x="102" y="13"/>
                  <a:pt x="113" y="8"/>
                  <a:pt x="111" y="2"/>
                </a:cubicBezTo>
                <a:cubicBezTo>
                  <a:pt x="111" y="2"/>
                  <a:pt x="113" y="2"/>
                  <a:pt x="115" y="2"/>
                </a:cubicBezTo>
                <a:cubicBezTo>
                  <a:pt x="116" y="0"/>
                  <a:pt x="118" y="3"/>
                  <a:pt x="116" y="6"/>
                </a:cubicBezTo>
                <a:cubicBezTo>
                  <a:pt x="115" y="11"/>
                  <a:pt x="122" y="10"/>
                  <a:pt x="119" y="16"/>
                </a:cubicBezTo>
                <a:cubicBezTo>
                  <a:pt x="119" y="19"/>
                  <a:pt x="119" y="19"/>
                  <a:pt x="118" y="25"/>
                </a:cubicBezTo>
                <a:cubicBezTo>
                  <a:pt x="116" y="31"/>
                  <a:pt x="119" y="28"/>
                  <a:pt x="119" y="33"/>
                </a:cubicBezTo>
                <a:cubicBezTo>
                  <a:pt x="119" y="38"/>
                  <a:pt x="125" y="42"/>
                  <a:pt x="127" y="41"/>
                </a:cubicBezTo>
                <a:cubicBezTo>
                  <a:pt x="130" y="39"/>
                  <a:pt x="128" y="38"/>
                  <a:pt x="131" y="38"/>
                </a:cubicBezTo>
                <a:cubicBezTo>
                  <a:pt x="134" y="39"/>
                  <a:pt x="136" y="34"/>
                  <a:pt x="139" y="33"/>
                </a:cubicBezTo>
                <a:cubicBezTo>
                  <a:pt x="142" y="33"/>
                  <a:pt x="140" y="34"/>
                  <a:pt x="145" y="34"/>
                </a:cubicBezTo>
                <a:cubicBezTo>
                  <a:pt x="146" y="33"/>
                  <a:pt x="151" y="38"/>
                  <a:pt x="150" y="33"/>
                </a:cubicBezTo>
                <a:cubicBezTo>
                  <a:pt x="148" y="30"/>
                  <a:pt x="148" y="28"/>
                  <a:pt x="151" y="30"/>
                </a:cubicBezTo>
                <a:cubicBezTo>
                  <a:pt x="153" y="31"/>
                  <a:pt x="157" y="25"/>
                  <a:pt x="157" y="28"/>
                </a:cubicBezTo>
                <a:cubicBezTo>
                  <a:pt x="157" y="30"/>
                  <a:pt x="159" y="28"/>
                  <a:pt x="160" y="30"/>
                </a:cubicBezTo>
                <a:cubicBezTo>
                  <a:pt x="162" y="33"/>
                  <a:pt x="163" y="33"/>
                  <a:pt x="165" y="31"/>
                </a:cubicBezTo>
                <a:cubicBezTo>
                  <a:pt x="166" y="28"/>
                  <a:pt x="166" y="33"/>
                  <a:pt x="169" y="30"/>
                </a:cubicBezTo>
                <a:cubicBezTo>
                  <a:pt x="171" y="28"/>
                  <a:pt x="169" y="31"/>
                  <a:pt x="172" y="31"/>
                </a:cubicBezTo>
                <a:cubicBezTo>
                  <a:pt x="175" y="31"/>
                  <a:pt x="177" y="24"/>
                  <a:pt x="179" y="20"/>
                </a:cubicBezTo>
                <a:cubicBezTo>
                  <a:pt x="182" y="16"/>
                  <a:pt x="182" y="16"/>
                  <a:pt x="183" y="14"/>
                </a:cubicBezTo>
                <a:cubicBezTo>
                  <a:pt x="185" y="11"/>
                  <a:pt x="183" y="11"/>
                  <a:pt x="185" y="10"/>
                </a:cubicBezTo>
                <a:cubicBezTo>
                  <a:pt x="185" y="10"/>
                  <a:pt x="186" y="13"/>
                  <a:pt x="186" y="14"/>
                </a:cubicBezTo>
                <a:cubicBezTo>
                  <a:pt x="188" y="16"/>
                  <a:pt x="188" y="14"/>
                  <a:pt x="188" y="16"/>
                </a:cubicBezTo>
                <a:cubicBezTo>
                  <a:pt x="188" y="19"/>
                  <a:pt x="188" y="24"/>
                  <a:pt x="189" y="25"/>
                </a:cubicBezTo>
                <a:cubicBezTo>
                  <a:pt x="189" y="25"/>
                  <a:pt x="189" y="27"/>
                  <a:pt x="189" y="28"/>
                </a:cubicBezTo>
                <a:cubicBezTo>
                  <a:pt x="189" y="30"/>
                  <a:pt x="191" y="30"/>
                  <a:pt x="191" y="31"/>
                </a:cubicBezTo>
                <a:cubicBezTo>
                  <a:pt x="191" y="33"/>
                  <a:pt x="191" y="31"/>
                  <a:pt x="192" y="33"/>
                </a:cubicBezTo>
                <a:cubicBezTo>
                  <a:pt x="192" y="34"/>
                  <a:pt x="192" y="36"/>
                  <a:pt x="194" y="36"/>
                </a:cubicBezTo>
                <a:cubicBezTo>
                  <a:pt x="197" y="34"/>
                  <a:pt x="198" y="42"/>
                  <a:pt x="197" y="44"/>
                </a:cubicBezTo>
                <a:cubicBezTo>
                  <a:pt x="192" y="44"/>
                  <a:pt x="192" y="52"/>
                  <a:pt x="188" y="53"/>
                </a:cubicBezTo>
                <a:cubicBezTo>
                  <a:pt x="183" y="55"/>
                  <a:pt x="186" y="56"/>
                  <a:pt x="185" y="59"/>
                </a:cubicBezTo>
                <a:cubicBezTo>
                  <a:pt x="182" y="62"/>
                  <a:pt x="189" y="56"/>
                  <a:pt x="188" y="62"/>
                </a:cubicBezTo>
                <a:cubicBezTo>
                  <a:pt x="185" y="67"/>
                  <a:pt x="189" y="59"/>
                  <a:pt x="191" y="64"/>
                </a:cubicBezTo>
                <a:cubicBezTo>
                  <a:pt x="191" y="69"/>
                  <a:pt x="188" y="53"/>
                  <a:pt x="195" y="55"/>
                </a:cubicBezTo>
                <a:cubicBezTo>
                  <a:pt x="203" y="56"/>
                  <a:pt x="200" y="53"/>
                  <a:pt x="206" y="55"/>
                </a:cubicBezTo>
                <a:cubicBezTo>
                  <a:pt x="214" y="58"/>
                  <a:pt x="204" y="62"/>
                  <a:pt x="206" y="67"/>
                </a:cubicBezTo>
                <a:cubicBezTo>
                  <a:pt x="207" y="70"/>
                  <a:pt x="209" y="59"/>
                  <a:pt x="217" y="59"/>
                </a:cubicBezTo>
                <a:cubicBezTo>
                  <a:pt x="223" y="59"/>
                  <a:pt x="223" y="62"/>
                  <a:pt x="226" y="62"/>
                </a:cubicBezTo>
                <a:cubicBezTo>
                  <a:pt x="229" y="62"/>
                  <a:pt x="229" y="66"/>
                  <a:pt x="235" y="67"/>
                </a:cubicBezTo>
                <a:cubicBezTo>
                  <a:pt x="241" y="69"/>
                  <a:pt x="238" y="70"/>
                  <a:pt x="241" y="73"/>
                </a:cubicBezTo>
                <a:cubicBezTo>
                  <a:pt x="242" y="75"/>
                  <a:pt x="238" y="81"/>
                  <a:pt x="239" y="83"/>
                </a:cubicBezTo>
                <a:cubicBezTo>
                  <a:pt x="241" y="84"/>
                  <a:pt x="245" y="75"/>
                  <a:pt x="250" y="76"/>
                </a:cubicBezTo>
                <a:cubicBezTo>
                  <a:pt x="255" y="78"/>
                  <a:pt x="261" y="81"/>
                  <a:pt x="270" y="80"/>
                </a:cubicBezTo>
                <a:cubicBezTo>
                  <a:pt x="277" y="78"/>
                  <a:pt x="281" y="83"/>
                  <a:pt x="287" y="87"/>
                </a:cubicBezTo>
                <a:cubicBezTo>
                  <a:pt x="293" y="94"/>
                  <a:pt x="288" y="94"/>
                  <a:pt x="297" y="100"/>
                </a:cubicBezTo>
                <a:cubicBezTo>
                  <a:pt x="306" y="106"/>
                  <a:pt x="306" y="100"/>
                  <a:pt x="311" y="104"/>
                </a:cubicBezTo>
                <a:cubicBezTo>
                  <a:pt x="316" y="108"/>
                  <a:pt x="316" y="114"/>
                  <a:pt x="317" y="123"/>
                </a:cubicBezTo>
                <a:cubicBezTo>
                  <a:pt x="319" y="133"/>
                  <a:pt x="316" y="137"/>
                  <a:pt x="308" y="148"/>
                </a:cubicBezTo>
                <a:cubicBezTo>
                  <a:pt x="302" y="161"/>
                  <a:pt x="300" y="156"/>
                  <a:pt x="296" y="168"/>
                </a:cubicBezTo>
                <a:cubicBezTo>
                  <a:pt x="291" y="179"/>
                  <a:pt x="290" y="184"/>
                  <a:pt x="287" y="178"/>
                </a:cubicBezTo>
                <a:cubicBezTo>
                  <a:pt x="284" y="171"/>
                  <a:pt x="284" y="192"/>
                  <a:pt x="284" y="198"/>
                </a:cubicBezTo>
                <a:cubicBezTo>
                  <a:pt x="282" y="204"/>
                  <a:pt x="287" y="206"/>
                  <a:pt x="284" y="213"/>
                </a:cubicBezTo>
                <a:cubicBezTo>
                  <a:pt x="281" y="221"/>
                  <a:pt x="284" y="229"/>
                  <a:pt x="281" y="232"/>
                </a:cubicBezTo>
                <a:cubicBezTo>
                  <a:pt x="276" y="234"/>
                  <a:pt x="281" y="240"/>
                  <a:pt x="276" y="249"/>
                </a:cubicBezTo>
                <a:cubicBezTo>
                  <a:pt x="271" y="259"/>
                  <a:pt x="265" y="262"/>
                  <a:pt x="268" y="268"/>
                </a:cubicBezTo>
                <a:cubicBezTo>
                  <a:pt x="270" y="273"/>
                  <a:pt x="259" y="276"/>
                  <a:pt x="261" y="279"/>
                </a:cubicBezTo>
                <a:cubicBezTo>
                  <a:pt x="262" y="282"/>
                  <a:pt x="256" y="280"/>
                  <a:pt x="250" y="282"/>
                </a:cubicBezTo>
                <a:cubicBezTo>
                  <a:pt x="242" y="283"/>
                  <a:pt x="247" y="280"/>
                  <a:pt x="241" y="282"/>
                </a:cubicBezTo>
                <a:cubicBezTo>
                  <a:pt x="236" y="283"/>
                  <a:pt x="238" y="288"/>
                  <a:pt x="223" y="294"/>
                </a:cubicBezTo>
                <a:cubicBezTo>
                  <a:pt x="218" y="296"/>
                  <a:pt x="209" y="304"/>
                  <a:pt x="209" y="311"/>
                </a:cubicBezTo>
                <a:cubicBezTo>
                  <a:pt x="207" y="321"/>
                  <a:pt x="210" y="329"/>
                  <a:pt x="207" y="336"/>
                </a:cubicBezTo>
                <a:cubicBezTo>
                  <a:pt x="203" y="343"/>
                  <a:pt x="203" y="338"/>
                  <a:pt x="198" y="349"/>
                </a:cubicBezTo>
                <a:cubicBezTo>
                  <a:pt x="194" y="358"/>
                  <a:pt x="192" y="366"/>
                  <a:pt x="186" y="371"/>
                </a:cubicBezTo>
                <a:cubicBezTo>
                  <a:pt x="179" y="377"/>
                  <a:pt x="179" y="377"/>
                  <a:pt x="175" y="385"/>
                </a:cubicBezTo>
                <a:cubicBezTo>
                  <a:pt x="175" y="389"/>
                  <a:pt x="171" y="388"/>
                  <a:pt x="168" y="39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8" name="Freeform 291"/>
          <p:cNvSpPr>
            <a:spLocks/>
          </p:cNvSpPr>
          <p:nvPr/>
        </p:nvSpPr>
        <p:spPr bwMode="auto">
          <a:xfrm>
            <a:off x="3811857" y="4607918"/>
            <a:ext cx="6537" cy="875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3"/>
              </a:cxn>
              <a:cxn ang="0">
                <a:pos x="0" y="0"/>
              </a:cxn>
            </a:cxnLst>
            <a:rect l="0" t="0" r="r" b="b"/>
            <a:pathLst>
              <a:path w="3" h="3">
                <a:moveTo>
                  <a:pt x="0" y="0"/>
                </a:moveTo>
                <a:cubicBezTo>
                  <a:pt x="1" y="0"/>
                  <a:pt x="3" y="3"/>
                  <a:pt x="1" y="3"/>
                </a:cubicBezTo>
                <a:cubicBezTo>
                  <a:pt x="1" y="3"/>
                  <a:pt x="0" y="2"/>
                  <a:pt x="0" y="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9" name="Freeform 292"/>
          <p:cNvSpPr>
            <a:spLocks/>
          </p:cNvSpPr>
          <p:nvPr/>
        </p:nvSpPr>
        <p:spPr bwMode="auto">
          <a:xfrm>
            <a:off x="3811857" y="4650225"/>
            <a:ext cx="9152" cy="11671"/>
          </a:xfrm>
          <a:custGeom>
            <a:avLst/>
            <a:gdLst/>
            <a:ahLst/>
            <a:cxnLst>
              <a:cxn ang="0">
                <a:pos x="3" y="1"/>
              </a:cxn>
              <a:cxn ang="0">
                <a:pos x="3" y="4"/>
              </a:cxn>
              <a:cxn ang="0">
                <a:pos x="3" y="1"/>
              </a:cxn>
            </a:cxnLst>
            <a:rect l="0" t="0" r="r" b="b"/>
            <a:pathLst>
              <a:path w="4" h="4">
                <a:moveTo>
                  <a:pt x="3" y="1"/>
                </a:moveTo>
                <a:cubicBezTo>
                  <a:pt x="4" y="0"/>
                  <a:pt x="3" y="3"/>
                  <a:pt x="3" y="4"/>
                </a:cubicBezTo>
                <a:cubicBezTo>
                  <a:pt x="1" y="4"/>
                  <a:pt x="0" y="3"/>
                  <a:pt x="3" y="1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0" name="Freeform 293"/>
          <p:cNvSpPr>
            <a:spLocks/>
          </p:cNvSpPr>
          <p:nvPr/>
        </p:nvSpPr>
        <p:spPr bwMode="auto">
          <a:xfrm>
            <a:off x="3806628" y="4653142"/>
            <a:ext cx="6537" cy="13129"/>
          </a:xfrm>
          <a:custGeom>
            <a:avLst/>
            <a:gdLst/>
            <a:ahLst/>
            <a:cxnLst>
              <a:cxn ang="0">
                <a:pos x="3" y="5"/>
              </a:cxn>
              <a:cxn ang="0">
                <a:pos x="2" y="2"/>
              </a:cxn>
              <a:cxn ang="0">
                <a:pos x="3" y="2"/>
              </a:cxn>
              <a:cxn ang="0">
                <a:pos x="3" y="5"/>
              </a:cxn>
            </a:cxnLst>
            <a:rect l="0" t="0" r="r" b="b"/>
            <a:pathLst>
              <a:path w="3" h="5">
                <a:moveTo>
                  <a:pt x="3" y="5"/>
                </a:moveTo>
                <a:cubicBezTo>
                  <a:pt x="0" y="5"/>
                  <a:pt x="2" y="3"/>
                  <a:pt x="2" y="2"/>
                </a:cubicBezTo>
                <a:cubicBezTo>
                  <a:pt x="2" y="2"/>
                  <a:pt x="2" y="0"/>
                  <a:pt x="3" y="2"/>
                </a:cubicBezTo>
                <a:cubicBezTo>
                  <a:pt x="3" y="3"/>
                  <a:pt x="3" y="5"/>
                  <a:pt x="3" y="5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1" name="Freeform 294"/>
          <p:cNvSpPr>
            <a:spLocks/>
          </p:cNvSpPr>
          <p:nvPr/>
        </p:nvSpPr>
        <p:spPr bwMode="auto">
          <a:xfrm>
            <a:off x="3790937" y="4675025"/>
            <a:ext cx="7845" cy="8753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2" y="0"/>
              </a:cxn>
              <a:cxn ang="0">
                <a:pos x="2" y="3"/>
              </a:cxn>
            </a:cxnLst>
            <a:rect l="0" t="0" r="r" b="b"/>
            <a:pathLst>
              <a:path w="3" h="3">
                <a:moveTo>
                  <a:pt x="2" y="3"/>
                </a:moveTo>
                <a:cubicBezTo>
                  <a:pt x="0" y="3"/>
                  <a:pt x="2" y="0"/>
                  <a:pt x="2" y="0"/>
                </a:cubicBezTo>
                <a:cubicBezTo>
                  <a:pt x="3" y="0"/>
                  <a:pt x="2" y="3"/>
                  <a:pt x="2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2" name="Freeform 295"/>
          <p:cNvSpPr>
            <a:spLocks/>
          </p:cNvSpPr>
          <p:nvPr/>
        </p:nvSpPr>
        <p:spPr bwMode="auto">
          <a:xfrm>
            <a:off x="3796168" y="4683778"/>
            <a:ext cx="7845" cy="8753"/>
          </a:xfrm>
          <a:custGeom>
            <a:avLst/>
            <a:gdLst/>
            <a:ahLst/>
            <a:cxnLst>
              <a:cxn ang="0">
                <a:pos x="1" y="3"/>
              </a:cxn>
              <a:cxn ang="0">
                <a:pos x="3" y="1"/>
              </a:cxn>
              <a:cxn ang="0">
                <a:pos x="1" y="3"/>
              </a:cxn>
            </a:cxnLst>
            <a:rect l="0" t="0" r="r" b="b"/>
            <a:pathLst>
              <a:path w="3" h="3">
                <a:moveTo>
                  <a:pt x="1" y="3"/>
                </a:moveTo>
                <a:cubicBezTo>
                  <a:pt x="0" y="3"/>
                  <a:pt x="3" y="0"/>
                  <a:pt x="3" y="1"/>
                </a:cubicBezTo>
                <a:cubicBezTo>
                  <a:pt x="3" y="1"/>
                  <a:pt x="3" y="3"/>
                  <a:pt x="1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3" name="Freeform 296"/>
          <p:cNvSpPr>
            <a:spLocks/>
          </p:cNvSpPr>
          <p:nvPr/>
        </p:nvSpPr>
        <p:spPr bwMode="auto">
          <a:xfrm>
            <a:off x="3796168" y="4677943"/>
            <a:ext cx="7845" cy="5835"/>
          </a:xfrm>
          <a:custGeom>
            <a:avLst/>
            <a:gdLst/>
            <a:ahLst/>
            <a:cxnLst>
              <a:cxn ang="0">
                <a:pos x="1" y="2"/>
              </a:cxn>
              <a:cxn ang="0">
                <a:pos x="3" y="0"/>
              </a:cxn>
              <a:cxn ang="0">
                <a:pos x="1" y="2"/>
              </a:cxn>
            </a:cxnLst>
            <a:rect l="0" t="0" r="r" b="b"/>
            <a:pathLst>
              <a:path w="3" h="2">
                <a:moveTo>
                  <a:pt x="1" y="2"/>
                </a:moveTo>
                <a:cubicBezTo>
                  <a:pt x="0" y="2"/>
                  <a:pt x="1" y="0"/>
                  <a:pt x="3" y="0"/>
                </a:cubicBezTo>
                <a:cubicBezTo>
                  <a:pt x="1" y="2"/>
                  <a:pt x="1" y="2"/>
                  <a:pt x="1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4" name="Freeform 297"/>
          <p:cNvSpPr>
            <a:spLocks/>
          </p:cNvSpPr>
          <p:nvPr/>
        </p:nvSpPr>
        <p:spPr bwMode="auto">
          <a:xfrm>
            <a:off x="3813165" y="4644389"/>
            <a:ext cx="7845" cy="8753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2"/>
              </a:cxn>
              <a:cxn ang="0">
                <a:pos x="0" y="2"/>
              </a:cxn>
            </a:cxnLst>
            <a:rect l="0" t="0" r="r" b="b"/>
            <a:pathLst>
              <a:path w="3" h="3">
                <a:moveTo>
                  <a:pt x="0" y="2"/>
                </a:moveTo>
                <a:cubicBezTo>
                  <a:pt x="0" y="2"/>
                  <a:pt x="2" y="0"/>
                  <a:pt x="3" y="2"/>
                </a:cubicBezTo>
                <a:cubicBezTo>
                  <a:pt x="3" y="2"/>
                  <a:pt x="0" y="3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5" name="Freeform 298"/>
          <p:cNvSpPr>
            <a:spLocks/>
          </p:cNvSpPr>
          <p:nvPr/>
        </p:nvSpPr>
        <p:spPr bwMode="auto">
          <a:xfrm>
            <a:off x="3151580" y="4400760"/>
            <a:ext cx="124211" cy="71485"/>
          </a:xfrm>
          <a:custGeom>
            <a:avLst/>
            <a:gdLst/>
            <a:ahLst/>
            <a:cxnLst>
              <a:cxn ang="0">
                <a:pos x="46" y="10"/>
              </a:cxn>
              <a:cxn ang="0">
                <a:pos x="36" y="2"/>
              </a:cxn>
              <a:cxn ang="0">
                <a:pos x="31" y="0"/>
              </a:cxn>
              <a:cxn ang="0">
                <a:pos x="25" y="3"/>
              </a:cxn>
              <a:cxn ang="0">
                <a:pos x="16" y="10"/>
              </a:cxn>
              <a:cxn ang="0">
                <a:pos x="13" y="6"/>
              </a:cxn>
              <a:cxn ang="0">
                <a:pos x="11" y="5"/>
              </a:cxn>
              <a:cxn ang="0">
                <a:pos x="10" y="6"/>
              </a:cxn>
              <a:cxn ang="0">
                <a:pos x="8" y="6"/>
              </a:cxn>
              <a:cxn ang="0">
                <a:pos x="8" y="5"/>
              </a:cxn>
              <a:cxn ang="0">
                <a:pos x="7" y="3"/>
              </a:cxn>
              <a:cxn ang="0">
                <a:pos x="5" y="2"/>
              </a:cxn>
              <a:cxn ang="0">
                <a:pos x="4" y="0"/>
              </a:cxn>
              <a:cxn ang="0">
                <a:pos x="2" y="6"/>
              </a:cxn>
              <a:cxn ang="0">
                <a:pos x="4" y="8"/>
              </a:cxn>
              <a:cxn ang="0">
                <a:pos x="2" y="11"/>
              </a:cxn>
              <a:cxn ang="0">
                <a:pos x="2" y="16"/>
              </a:cxn>
              <a:cxn ang="0">
                <a:pos x="4" y="14"/>
              </a:cxn>
              <a:cxn ang="0">
                <a:pos x="11" y="16"/>
              </a:cxn>
              <a:cxn ang="0">
                <a:pos x="13" y="17"/>
              </a:cxn>
              <a:cxn ang="0">
                <a:pos x="14" y="19"/>
              </a:cxn>
              <a:cxn ang="0">
                <a:pos x="16" y="19"/>
              </a:cxn>
              <a:cxn ang="0">
                <a:pos x="17" y="19"/>
              </a:cxn>
              <a:cxn ang="0">
                <a:pos x="19" y="24"/>
              </a:cxn>
              <a:cxn ang="0">
                <a:pos x="22" y="24"/>
              </a:cxn>
              <a:cxn ang="0">
                <a:pos x="23" y="22"/>
              </a:cxn>
              <a:cxn ang="0">
                <a:pos x="25" y="19"/>
              </a:cxn>
              <a:cxn ang="0">
                <a:pos x="22" y="16"/>
              </a:cxn>
              <a:cxn ang="0">
                <a:pos x="22" y="14"/>
              </a:cxn>
              <a:cxn ang="0">
                <a:pos x="28" y="10"/>
              </a:cxn>
              <a:cxn ang="0">
                <a:pos x="28" y="8"/>
              </a:cxn>
              <a:cxn ang="0">
                <a:pos x="31" y="6"/>
              </a:cxn>
              <a:cxn ang="0">
                <a:pos x="37" y="11"/>
              </a:cxn>
              <a:cxn ang="0">
                <a:pos x="39" y="13"/>
              </a:cxn>
              <a:cxn ang="0">
                <a:pos x="40" y="13"/>
              </a:cxn>
              <a:cxn ang="0">
                <a:pos x="39" y="17"/>
              </a:cxn>
              <a:cxn ang="0">
                <a:pos x="42" y="24"/>
              </a:cxn>
              <a:cxn ang="0">
                <a:pos x="43" y="19"/>
              </a:cxn>
              <a:cxn ang="0">
                <a:pos x="46" y="20"/>
              </a:cxn>
              <a:cxn ang="0">
                <a:pos x="48" y="17"/>
              </a:cxn>
              <a:cxn ang="0">
                <a:pos x="46" y="10"/>
              </a:cxn>
            </a:cxnLst>
            <a:rect l="0" t="0" r="r" b="b"/>
            <a:pathLst>
              <a:path w="49" h="25">
                <a:moveTo>
                  <a:pt x="46" y="10"/>
                </a:moveTo>
                <a:cubicBezTo>
                  <a:pt x="43" y="6"/>
                  <a:pt x="40" y="2"/>
                  <a:pt x="36" y="2"/>
                </a:cubicBezTo>
                <a:cubicBezTo>
                  <a:pt x="31" y="3"/>
                  <a:pt x="36" y="2"/>
                  <a:pt x="31" y="0"/>
                </a:cubicBezTo>
                <a:cubicBezTo>
                  <a:pt x="26" y="0"/>
                  <a:pt x="29" y="2"/>
                  <a:pt x="25" y="3"/>
                </a:cubicBezTo>
                <a:cubicBezTo>
                  <a:pt x="16" y="8"/>
                  <a:pt x="23" y="6"/>
                  <a:pt x="16" y="10"/>
                </a:cubicBezTo>
                <a:cubicBezTo>
                  <a:pt x="14" y="10"/>
                  <a:pt x="13" y="8"/>
                  <a:pt x="13" y="6"/>
                </a:cubicBezTo>
                <a:cubicBezTo>
                  <a:pt x="11" y="5"/>
                  <a:pt x="11" y="6"/>
                  <a:pt x="11" y="5"/>
                </a:cubicBezTo>
                <a:cubicBezTo>
                  <a:pt x="11" y="5"/>
                  <a:pt x="10" y="5"/>
                  <a:pt x="10" y="6"/>
                </a:cubicBezTo>
                <a:cubicBezTo>
                  <a:pt x="10" y="8"/>
                  <a:pt x="8" y="6"/>
                  <a:pt x="8" y="6"/>
                </a:cubicBezTo>
                <a:cubicBezTo>
                  <a:pt x="8" y="5"/>
                  <a:pt x="8" y="5"/>
                  <a:pt x="8" y="5"/>
                </a:cubicBezTo>
                <a:cubicBezTo>
                  <a:pt x="8" y="3"/>
                  <a:pt x="7" y="5"/>
                  <a:pt x="7" y="3"/>
                </a:cubicBezTo>
                <a:cubicBezTo>
                  <a:pt x="7" y="2"/>
                  <a:pt x="7" y="2"/>
                  <a:pt x="5" y="2"/>
                </a:cubicBezTo>
                <a:cubicBezTo>
                  <a:pt x="4" y="2"/>
                  <a:pt x="4" y="0"/>
                  <a:pt x="4" y="0"/>
                </a:cubicBezTo>
                <a:cubicBezTo>
                  <a:pt x="2" y="0"/>
                  <a:pt x="2" y="3"/>
                  <a:pt x="2" y="6"/>
                </a:cubicBezTo>
                <a:cubicBezTo>
                  <a:pt x="2" y="6"/>
                  <a:pt x="5" y="6"/>
                  <a:pt x="4" y="8"/>
                </a:cubicBezTo>
                <a:cubicBezTo>
                  <a:pt x="2" y="10"/>
                  <a:pt x="4" y="10"/>
                  <a:pt x="2" y="11"/>
                </a:cubicBezTo>
                <a:cubicBezTo>
                  <a:pt x="2" y="13"/>
                  <a:pt x="0" y="13"/>
                  <a:pt x="2" y="16"/>
                </a:cubicBezTo>
                <a:cubicBezTo>
                  <a:pt x="2" y="14"/>
                  <a:pt x="4" y="13"/>
                  <a:pt x="4" y="14"/>
                </a:cubicBezTo>
                <a:cubicBezTo>
                  <a:pt x="8" y="14"/>
                  <a:pt x="11" y="16"/>
                  <a:pt x="11" y="16"/>
                </a:cubicBezTo>
                <a:cubicBezTo>
                  <a:pt x="13" y="14"/>
                  <a:pt x="11" y="16"/>
                  <a:pt x="13" y="17"/>
                </a:cubicBezTo>
                <a:cubicBezTo>
                  <a:pt x="13" y="17"/>
                  <a:pt x="13" y="19"/>
                  <a:pt x="14" y="19"/>
                </a:cubicBezTo>
                <a:cubicBezTo>
                  <a:pt x="16" y="20"/>
                  <a:pt x="16" y="20"/>
                  <a:pt x="16" y="19"/>
                </a:cubicBezTo>
                <a:cubicBezTo>
                  <a:pt x="16" y="17"/>
                  <a:pt x="17" y="17"/>
                  <a:pt x="17" y="19"/>
                </a:cubicBezTo>
                <a:cubicBezTo>
                  <a:pt x="17" y="19"/>
                  <a:pt x="19" y="22"/>
                  <a:pt x="19" y="24"/>
                </a:cubicBezTo>
                <a:cubicBezTo>
                  <a:pt x="17" y="25"/>
                  <a:pt x="20" y="24"/>
                  <a:pt x="22" y="24"/>
                </a:cubicBezTo>
                <a:cubicBezTo>
                  <a:pt x="23" y="24"/>
                  <a:pt x="22" y="22"/>
                  <a:pt x="23" y="22"/>
                </a:cubicBezTo>
                <a:cubicBezTo>
                  <a:pt x="25" y="22"/>
                  <a:pt x="26" y="22"/>
                  <a:pt x="25" y="19"/>
                </a:cubicBezTo>
                <a:cubicBezTo>
                  <a:pt x="22" y="16"/>
                  <a:pt x="23" y="16"/>
                  <a:pt x="22" y="16"/>
                </a:cubicBezTo>
                <a:cubicBezTo>
                  <a:pt x="22" y="16"/>
                  <a:pt x="20" y="14"/>
                  <a:pt x="22" y="14"/>
                </a:cubicBezTo>
                <a:cubicBezTo>
                  <a:pt x="26" y="13"/>
                  <a:pt x="26" y="11"/>
                  <a:pt x="28" y="10"/>
                </a:cubicBezTo>
                <a:cubicBezTo>
                  <a:pt x="28" y="10"/>
                  <a:pt x="26" y="8"/>
                  <a:pt x="28" y="8"/>
                </a:cubicBezTo>
                <a:cubicBezTo>
                  <a:pt x="29" y="8"/>
                  <a:pt x="29" y="6"/>
                  <a:pt x="31" y="6"/>
                </a:cubicBezTo>
                <a:cubicBezTo>
                  <a:pt x="34" y="6"/>
                  <a:pt x="37" y="10"/>
                  <a:pt x="37" y="11"/>
                </a:cubicBezTo>
                <a:cubicBezTo>
                  <a:pt x="37" y="11"/>
                  <a:pt x="37" y="13"/>
                  <a:pt x="39" y="13"/>
                </a:cubicBezTo>
                <a:cubicBezTo>
                  <a:pt x="39" y="11"/>
                  <a:pt x="39" y="13"/>
                  <a:pt x="40" y="13"/>
                </a:cubicBezTo>
                <a:cubicBezTo>
                  <a:pt x="40" y="11"/>
                  <a:pt x="37" y="16"/>
                  <a:pt x="39" y="17"/>
                </a:cubicBezTo>
                <a:cubicBezTo>
                  <a:pt x="40" y="19"/>
                  <a:pt x="40" y="22"/>
                  <a:pt x="42" y="24"/>
                </a:cubicBezTo>
                <a:cubicBezTo>
                  <a:pt x="43" y="20"/>
                  <a:pt x="42" y="22"/>
                  <a:pt x="43" y="19"/>
                </a:cubicBezTo>
                <a:cubicBezTo>
                  <a:pt x="43" y="19"/>
                  <a:pt x="45" y="22"/>
                  <a:pt x="46" y="20"/>
                </a:cubicBezTo>
                <a:cubicBezTo>
                  <a:pt x="48" y="19"/>
                  <a:pt x="46" y="17"/>
                  <a:pt x="48" y="17"/>
                </a:cubicBezTo>
                <a:cubicBezTo>
                  <a:pt x="49" y="17"/>
                  <a:pt x="45" y="13"/>
                  <a:pt x="46" y="10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6" name="Freeform 299"/>
          <p:cNvSpPr>
            <a:spLocks/>
          </p:cNvSpPr>
          <p:nvPr/>
        </p:nvSpPr>
        <p:spPr bwMode="auto">
          <a:xfrm>
            <a:off x="3180345" y="4454738"/>
            <a:ext cx="6537" cy="14589"/>
          </a:xfrm>
          <a:custGeom>
            <a:avLst/>
            <a:gdLst/>
            <a:ahLst/>
            <a:cxnLst>
              <a:cxn ang="0">
                <a:pos x="2" y="3"/>
              </a:cxn>
              <a:cxn ang="0">
                <a:pos x="0" y="2"/>
              </a:cxn>
              <a:cxn ang="0">
                <a:pos x="2" y="3"/>
              </a:cxn>
              <a:cxn ang="0">
                <a:pos x="2" y="3"/>
              </a:cxn>
            </a:cxnLst>
            <a:rect l="0" t="0" r="r" b="b"/>
            <a:pathLst>
              <a:path w="3" h="5">
                <a:moveTo>
                  <a:pt x="2" y="3"/>
                </a:moveTo>
                <a:cubicBezTo>
                  <a:pt x="0" y="3"/>
                  <a:pt x="0" y="2"/>
                  <a:pt x="0" y="2"/>
                </a:cubicBezTo>
                <a:cubicBezTo>
                  <a:pt x="2" y="0"/>
                  <a:pt x="2" y="2"/>
                  <a:pt x="2" y="3"/>
                </a:cubicBezTo>
                <a:cubicBezTo>
                  <a:pt x="3" y="3"/>
                  <a:pt x="3" y="5"/>
                  <a:pt x="2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7" name="Freeform 300"/>
          <p:cNvSpPr>
            <a:spLocks/>
          </p:cNvSpPr>
          <p:nvPr/>
        </p:nvSpPr>
        <p:spPr bwMode="auto">
          <a:xfrm>
            <a:off x="3237874" y="4431396"/>
            <a:ext cx="5230" cy="8753"/>
          </a:xfrm>
          <a:custGeom>
            <a:avLst/>
            <a:gdLst/>
            <a:ahLst/>
            <a:cxnLst>
              <a:cxn ang="0">
                <a:pos x="0" y="3"/>
              </a:cxn>
              <a:cxn ang="0">
                <a:pos x="2" y="0"/>
              </a:cxn>
              <a:cxn ang="0">
                <a:pos x="0" y="3"/>
              </a:cxn>
            </a:cxnLst>
            <a:rect l="0" t="0" r="r" b="b"/>
            <a:pathLst>
              <a:path w="2" h="3">
                <a:moveTo>
                  <a:pt x="0" y="3"/>
                </a:moveTo>
                <a:cubicBezTo>
                  <a:pt x="0" y="2"/>
                  <a:pt x="0" y="0"/>
                  <a:pt x="2" y="0"/>
                </a:cubicBezTo>
                <a:cubicBezTo>
                  <a:pt x="2" y="2"/>
                  <a:pt x="2" y="3"/>
                  <a:pt x="0" y="3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8" name="Freeform 270"/>
          <p:cNvSpPr>
            <a:spLocks/>
          </p:cNvSpPr>
          <p:nvPr/>
        </p:nvSpPr>
        <p:spPr bwMode="auto">
          <a:xfrm>
            <a:off x="3394756" y="3734710"/>
            <a:ext cx="38891" cy="20249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6" y="2"/>
              </a:cxn>
              <a:cxn ang="0">
                <a:pos x="0" y="2"/>
              </a:cxn>
            </a:cxnLst>
            <a:rect l="0" t="0" r="r" b="b"/>
            <a:pathLst>
              <a:path w="8" h="4">
                <a:moveTo>
                  <a:pt x="0" y="2"/>
                </a:moveTo>
                <a:cubicBezTo>
                  <a:pt x="2" y="0"/>
                  <a:pt x="8" y="2"/>
                  <a:pt x="6" y="2"/>
                </a:cubicBezTo>
                <a:cubicBezTo>
                  <a:pt x="5" y="4"/>
                  <a:pt x="0" y="4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79" name="Freeform 271"/>
          <p:cNvSpPr>
            <a:spLocks/>
          </p:cNvSpPr>
          <p:nvPr/>
        </p:nvSpPr>
        <p:spPr bwMode="auto">
          <a:xfrm>
            <a:off x="3335124" y="3682637"/>
            <a:ext cx="23334" cy="17356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3" y="2"/>
              </a:cxn>
              <a:cxn ang="0">
                <a:pos x="0" y="2"/>
              </a:cxn>
            </a:cxnLst>
            <a:rect l="0" t="0" r="r" b="b"/>
            <a:pathLst>
              <a:path w="5" h="3">
                <a:moveTo>
                  <a:pt x="0" y="2"/>
                </a:moveTo>
                <a:cubicBezTo>
                  <a:pt x="0" y="0"/>
                  <a:pt x="5" y="0"/>
                  <a:pt x="3" y="2"/>
                </a:cubicBezTo>
                <a:cubicBezTo>
                  <a:pt x="3" y="3"/>
                  <a:pt x="0" y="2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80" name="Freeform 272"/>
          <p:cNvSpPr>
            <a:spLocks/>
          </p:cNvSpPr>
          <p:nvPr/>
        </p:nvSpPr>
        <p:spPr bwMode="auto">
          <a:xfrm>
            <a:off x="3288454" y="3688421"/>
            <a:ext cx="31112" cy="23144"/>
          </a:xfrm>
          <a:custGeom>
            <a:avLst/>
            <a:gdLst/>
            <a:ahLst/>
            <a:cxnLst>
              <a:cxn ang="0">
                <a:pos x="0" y="2"/>
              </a:cxn>
              <a:cxn ang="0">
                <a:pos x="4" y="4"/>
              </a:cxn>
              <a:cxn ang="0">
                <a:pos x="0" y="2"/>
              </a:cxn>
            </a:cxnLst>
            <a:rect l="0" t="0" r="r" b="b"/>
            <a:pathLst>
              <a:path w="6" h="4">
                <a:moveTo>
                  <a:pt x="0" y="2"/>
                </a:moveTo>
                <a:cubicBezTo>
                  <a:pt x="1" y="0"/>
                  <a:pt x="6" y="4"/>
                  <a:pt x="4" y="4"/>
                </a:cubicBezTo>
                <a:cubicBezTo>
                  <a:pt x="1" y="4"/>
                  <a:pt x="0" y="4"/>
                  <a:pt x="0" y="2"/>
                </a:cubicBezTo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81" name="Freeform 232"/>
          <p:cNvSpPr>
            <a:spLocks noEditPoints="1"/>
          </p:cNvSpPr>
          <p:nvPr/>
        </p:nvSpPr>
        <p:spPr bwMode="auto">
          <a:xfrm>
            <a:off x="3299326" y="5153530"/>
            <a:ext cx="179124" cy="1199178"/>
          </a:xfrm>
          <a:custGeom>
            <a:avLst/>
            <a:gdLst/>
            <a:ahLst/>
            <a:cxnLst>
              <a:cxn ang="0">
                <a:pos x="69" y="59"/>
              </a:cxn>
              <a:cxn ang="0">
                <a:pos x="46" y="158"/>
              </a:cxn>
              <a:cxn ang="0">
                <a:pos x="33" y="251"/>
              </a:cxn>
              <a:cxn ang="0">
                <a:pos x="33" y="313"/>
              </a:cxn>
              <a:cxn ang="0">
                <a:pos x="46" y="375"/>
              </a:cxn>
              <a:cxn ang="0">
                <a:pos x="31" y="391"/>
              </a:cxn>
              <a:cxn ang="0">
                <a:pos x="25" y="389"/>
              </a:cxn>
              <a:cxn ang="0">
                <a:pos x="20" y="386"/>
              </a:cxn>
              <a:cxn ang="0">
                <a:pos x="28" y="374"/>
              </a:cxn>
              <a:cxn ang="0">
                <a:pos x="17" y="369"/>
              </a:cxn>
              <a:cxn ang="0">
                <a:pos x="14" y="357"/>
              </a:cxn>
              <a:cxn ang="0">
                <a:pos x="14" y="341"/>
              </a:cxn>
              <a:cxn ang="0">
                <a:pos x="19" y="327"/>
              </a:cxn>
              <a:cxn ang="0">
                <a:pos x="3" y="313"/>
              </a:cxn>
              <a:cxn ang="0">
                <a:pos x="22" y="293"/>
              </a:cxn>
              <a:cxn ang="0">
                <a:pos x="22" y="256"/>
              </a:cxn>
              <a:cxn ang="0">
                <a:pos x="34" y="165"/>
              </a:cxn>
              <a:cxn ang="0">
                <a:pos x="43" y="58"/>
              </a:cxn>
              <a:cxn ang="0">
                <a:pos x="59" y="383"/>
              </a:cxn>
              <a:cxn ang="0">
                <a:pos x="46" y="399"/>
              </a:cxn>
              <a:cxn ang="0">
                <a:pos x="34" y="406"/>
              </a:cxn>
              <a:cxn ang="0">
                <a:pos x="48" y="411"/>
              </a:cxn>
              <a:cxn ang="0">
                <a:pos x="22" y="287"/>
              </a:cxn>
              <a:cxn ang="0">
                <a:pos x="45" y="403"/>
              </a:cxn>
              <a:cxn ang="0">
                <a:pos x="13" y="271"/>
              </a:cxn>
              <a:cxn ang="0">
                <a:pos x="14" y="259"/>
              </a:cxn>
              <a:cxn ang="0">
                <a:pos x="16" y="296"/>
              </a:cxn>
              <a:cxn ang="0">
                <a:pos x="14" y="290"/>
              </a:cxn>
              <a:cxn ang="0">
                <a:pos x="17" y="299"/>
              </a:cxn>
              <a:cxn ang="0">
                <a:pos x="14" y="301"/>
              </a:cxn>
              <a:cxn ang="0">
                <a:pos x="6" y="305"/>
              </a:cxn>
              <a:cxn ang="0">
                <a:pos x="16" y="284"/>
              </a:cxn>
              <a:cxn ang="0">
                <a:pos x="10" y="302"/>
              </a:cxn>
              <a:cxn ang="0">
                <a:pos x="53" y="417"/>
              </a:cxn>
              <a:cxn ang="0">
                <a:pos x="59" y="416"/>
              </a:cxn>
              <a:cxn ang="0">
                <a:pos x="48" y="413"/>
              </a:cxn>
              <a:cxn ang="0">
                <a:pos x="39" y="411"/>
              </a:cxn>
              <a:cxn ang="0">
                <a:pos x="66" y="421"/>
              </a:cxn>
              <a:cxn ang="0">
                <a:pos x="33" y="403"/>
              </a:cxn>
              <a:cxn ang="0">
                <a:pos x="25" y="396"/>
              </a:cxn>
              <a:cxn ang="0">
                <a:pos x="23" y="402"/>
              </a:cxn>
              <a:cxn ang="0">
                <a:pos x="17" y="383"/>
              </a:cxn>
              <a:cxn ang="0">
                <a:pos x="19" y="389"/>
              </a:cxn>
              <a:cxn ang="0">
                <a:pos x="16" y="374"/>
              </a:cxn>
              <a:cxn ang="0">
                <a:pos x="11" y="372"/>
              </a:cxn>
              <a:cxn ang="0">
                <a:pos x="13" y="378"/>
              </a:cxn>
              <a:cxn ang="0">
                <a:pos x="10" y="380"/>
              </a:cxn>
              <a:cxn ang="0">
                <a:pos x="16" y="368"/>
              </a:cxn>
              <a:cxn ang="0">
                <a:pos x="13" y="366"/>
              </a:cxn>
              <a:cxn ang="0">
                <a:pos x="6" y="343"/>
              </a:cxn>
              <a:cxn ang="0">
                <a:pos x="5" y="360"/>
              </a:cxn>
              <a:cxn ang="0">
                <a:pos x="13" y="361"/>
              </a:cxn>
              <a:cxn ang="0">
                <a:pos x="8" y="355"/>
              </a:cxn>
              <a:cxn ang="0">
                <a:pos x="10" y="363"/>
              </a:cxn>
              <a:cxn ang="0">
                <a:pos x="8" y="341"/>
              </a:cxn>
              <a:cxn ang="0">
                <a:pos x="10" y="336"/>
              </a:cxn>
              <a:cxn ang="0">
                <a:pos x="6" y="333"/>
              </a:cxn>
              <a:cxn ang="0">
                <a:pos x="8" y="329"/>
              </a:cxn>
              <a:cxn ang="0">
                <a:pos x="3" y="336"/>
              </a:cxn>
              <a:cxn ang="0">
                <a:pos x="6" y="326"/>
              </a:cxn>
              <a:cxn ang="0">
                <a:pos x="5" y="338"/>
              </a:cxn>
            </a:cxnLst>
            <a:rect l="0" t="0" r="r" b="b"/>
            <a:pathLst>
              <a:path w="71" h="424">
                <a:moveTo>
                  <a:pt x="51" y="0"/>
                </a:moveTo>
                <a:cubicBezTo>
                  <a:pt x="53" y="7"/>
                  <a:pt x="54" y="7"/>
                  <a:pt x="54" y="8"/>
                </a:cubicBezTo>
                <a:cubicBezTo>
                  <a:pt x="54" y="10"/>
                  <a:pt x="56" y="17"/>
                  <a:pt x="57" y="17"/>
                </a:cubicBezTo>
                <a:cubicBezTo>
                  <a:pt x="59" y="21"/>
                  <a:pt x="60" y="21"/>
                  <a:pt x="59" y="22"/>
                </a:cubicBezTo>
                <a:cubicBezTo>
                  <a:pt x="56" y="25"/>
                  <a:pt x="60" y="25"/>
                  <a:pt x="59" y="27"/>
                </a:cubicBezTo>
                <a:cubicBezTo>
                  <a:pt x="57" y="30"/>
                  <a:pt x="57" y="31"/>
                  <a:pt x="59" y="31"/>
                </a:cubicBezTo>
                <a:cubicBezTo>
                  <a:pt x="60" y="33"/>
                  <a:pt x="57" y="36"/>
                  <a:pt x="60" y="36"/>
                </a:cubicBezTo>
                <a:cubicBezTo>
                  <a:pt x="62" y="36"/>
                  <a:pt x="63" y="46"/>
                  <a:pt x="63" y="52"/>
                </a:cubicBezTo>
                <a:cubicBezTo>
                  <a:pt x="65" y="56"/>
                  <a:pt x="66" y="56"/>
                  <a:pt x="69" y="55"/>
                </a:cubicBezTo>
                <a:cubicBezTo>
                  <a:pt x="71" y="56"/>
                  <a:pt x="71" y="58"/>
                  <a:pt x="69" y="59"/>
                </a:cubicBezTo>
                <a:cubicBezTo>
                  <a:pt x="69" y="63"/>
                  <a:pt x="69" y="67"/>
                  <a:pt x="66" y="69"/>
                </a:cubicBezTo>
                <a:cubicBezTo>
                  <a:pt x="65" y="69"/>
                  <a:pt x="57" y="72"/>
                  <a:pt x="59" y="77"/>
                </a:cubicBezTo>
                <a:cubicBezTo>
                  <a:pt x="60" y="78"/>
                  <a:pt x="57" y="91"/>
                  <a:pt x="60" y="95"/>
                </a:cubicBezTo>
                <a:cubicBezTo>
                  <a:pt x="63" y="103"/>
                  <a:pt x="57" y="95"/>
                  <a:pt x="56" y="103"/>
                </a:cubicBezTo>
                <a:cubicBezTo>
                  <a:pt x="53" y="111"/>
                  <a:pt x="54" y="109"/>
                  <a:pt x="51" y="111"/>
                </a:cubicBezTo>
                <a:cubicBezTo>
                  <a:pt x="49" y="112"/>
                  <a:pt x="49" y="119"/>
                  <a:pt x="48" y="120"/>
                </a:cubicBezTo>
                <a:cubicBezTo>
                  <a:pt x="45" y="123"/>
                  <a:pt x="49" y="129"/>
                  <a:pt x="48" y="133"/>
                </a:cubicBezTo>
                <a:cubicBezTo>
                  <a:pt x="46" y="134"/>
                  <a:pt x="46" y="131"/>
                  <a:pt x="45" y="136"/>
                </a:cubicBezTo>
                <a:cubicBezTo>
                  <a:pt x="43" y="140"/>
                  <a:pt x="42" y="145"/>
                  <a:pt x="43" y="147"/>
                </a:cubicBezTo>
                <a:cubicBezTo>
                  <a:pt x="45" y="150"/>
                  <a:pt x="45" y="153"/>
                  <a:pt x="46" y="158"/>
                </a:cubicBezTo>
                <a:cubicBezTo>
                  <a:pt x="48" y="162"/>
                  <a:pt x="45" y="164"/>
                  <a:pt x="48" y="164"/>
                </a:cubicBezTo>
                <a:cubicBezTo>
                  <a:pt x="51" y="164"/>
                  <a:pt x="48" y="167"/>
                  <a:pt x="48" y="171"/>
                </a:cubicBezTo>
                <a:cubicBezTo>
                  <a:pt x="49" y="176"/>
                  <a:pt x="45" y="173"/>
                  <a:pt x="45" y="181"/>
                </a:cubicBezTo>
                <a:cubicBezTo>
                  <a:pt x="43" y="190"/>
                  <a:pt x="45" y="192"/>
                  <a:pt x="43" y="195"/>
                </a:cubicBezTo>
                <a:cubicBezTo>
                  <a:pt x="40" y="200"/>
                  <a:pt x="39" y="196"/>
                  <a:pt x="39" y="200"/>
                </a:cubicBezTo>
                <a:cubicBezTo>
                  <a:pt x="37" y="203"/>
                  <a:pt x="39" y="207"/>
                  <a:pt x="37" y="210"/>
                </a:cubicBezTo>
                <a:cubicBezTo>
                  <a:pt x="37" y="214"/>
                  <a:pt x="42" y="221"/>
                  <a:pt x="39" y="223"/>
                </a:cubicBezTo>
                <a:cubicBezTo>
                  <a:pt x="33" y="228"/>
                  <a:pt x="37" y="231"/>
                  <a:pt x="34" y="232"/>
                </a:cubicBezTo>
                <a:cubicBezTo>
                  <a:pt x="31" y="235"/>
                  <a:pt x="36" y="240"/>
                  <a:pt x="33" y="243"/>
                </a:cubicBezTo>
                <a:cubicBezTo>
                  <a:pt x="29" y="246"/>
                  <a:pt x="33" y="245"/>
                  <a:pt x="33" y="251"/>
                </a:cubicBezTo>
                <a:cubicBezTo>
                  <a:pt x="31" y="257"/>
                  <a:pt x="34" y="259"/>
                  <a:pt x="33" y="260"/>
                </a:cubicBezTo>
                <a:cubicBezTo>
                  <a:pt x="33" y="263"/>
                  <a:pt x="31" y="259"/>
                  <a:pt x="29" y="265"/>
                </a:cubicBezTo>
                <a:cubicBezTo>
                  <a:pt x="29" y="271"/>
                  <a:pt x="33" y="271"/>
                  <a:pt x="33" y="273"/>
                </a:cubicBezTo>
                <a:cubicBezTo>
                  <a:pt x="34" y="274"/>
                  <a:pt x="31" y="279"/>
                  <a:pt x="34" y="281"/>
                </a:cubicBezTo>
                <a:cubicBezTo>
                  <a:pt x="36" y="282"/>
                  <a:pt x="29" y="288"/>
                  <a:pt x="34" y="287"/>
                </a:cubicBezTo>
                <a:cubicBezTo>
                  <a:pt x="40" y="285"/>
                  <a:pt x="39" y="291"/>
                  <a:pt x="34" y="291"/>
                </a:cubicBezTo>
                <a:cubicBezTo>
                  <a:pt x="29" y="290"/>
                  <a:pt x="29" y="291"/>
                  <a:pt x="33" y="293"/>
                </a:cubicBezTo>
                <a:cubicBezTo>
                  <a:pt x="37" y="293"/>
                  <a:pt x="37" y="298"/>
                  <a:pt x="34" y="299"/>
                </a:cubicBezTo>
                <a:cubicBezTo>
                  <a:pt x="29" y="301"/>
                  <a:pt x="36" y="304"/>
                  <a:pt x="33" y="305"/>
                </a:cubicBezTo>
                <a:cubicBezTo>
                  <a:pt x="31" y="307"/>
                  <a:pt x="36" y="312"/>
                  <a:pt x="33" y="313"/>
                </a:cubicBezTo>
                <a:cubicBezTo>
                  <a:pt x="28" y="316"/>
                  <a:pt x="36" y="316"/>
                  <a:pt x="31" y="319"/>
                </a:cubicBezTo>
                <a:cubicBezTo>
                  <a:pt x="26" y="324"/>
                  <a:pt x="29" y="324"/>
                  <a:pt x="28" y="326"/>
                </a:cubicBezTo>
                <a:cubicBezTo>
                  <a:pt x="25" y="329"/>
                  <a:pt x="31" y="330"/>
                  <a:pt x="28" y="333"/>
                </a:cubicBezTo>
                <a:cubicBezTo>
                  <a:pt x="25" y="335"/>
                  <a:pt x="23" y="344"/>
                  <a:pt x="20" y="344"/>
                </a:cubicBezTo>
                <a:cubicBezTo>
                  <a:pt x="17" y="343"/>
                  <a:pt x="20" y="347"/>
                  <a:pt x="19" y="351"/>
                </a:cubicBezTo>
                <a:cubicBezTo>
                  <a:pt x="17" y="355"/>
                  <a:pt x="20" y="352"/>
                  <a:pt x="22" y="358"/>
                </a:cubicBezTo>
                <a:cubicBezTo>
                  <a:pt x="22" y="363"/>
                  <a:pt x="23" y="358"/>
                  <a:pt x="26" y="358"/>
                </a:cubicBezTo>
                <a:cubicBezTo>
                  <a:pt x="29" y="358"/>
                  <a:pt x="26" y="371"/>
                  <a:pt x="29" y="372"/>
                </a:cubicBezTo>
                <a:cubicBezTo>
                  <a:pt x="33" y="374"/>
                  <a:pt x="29" y="375"/>
                  <a:pt x="34" y="375"/>
                </a:cubicBezTo>
                <a:cubicBezTo>
                  <a:pt x="39" y="375"/>
                  <a:pt x="46" y="375"/>
                  <a:pt x="46" y="375"/>
                </a:cubicBezTo>
                <a:cubicBezTo>
                  <a:pt x="51" y="378"/>
                  <a:pt x="59" y="377"/>
                  <a:pt x="60" y="380"/>
                </a:cubicBezTo>
                <a:cubicBezTo>
                  <a:pt x="59" y="380"/>
                  <a:pt x="57" y="380"/>
                  <a:pt x="56" y="378"/>
                </a:cubicBezTo>
                <a:cubicBezTo>
                  <a:pt x="53" y="378"/>
                  <a:pt x="53" y="378"/>
                  <a:pt x="51" y="382"/>
                </a:cubicBezTo>
                <a:cubicBezTo>
                  <a:pt x="48" y="383"/>
                  <a:pt x="49" y="380"/>
                  <a:pt x="46" y="383"/>
                </a:cubicBezTo>
                <a:cubicBezTo>
                  <a:pt x="43" y="385"/>
                  <a:pt x="42" y="383"/>
                  <a:pt x="40" y="386"/>
                </a:cubicBezTo>
                <a:cubicBezTo>
                  <a:pt x="40" y="391"/>
                  <a:pt x="40" y="388"/>
                  <a:pt x="39" y="394"/>
                </a:cubicBezTo>
                <a:cubicBezTo>
                  <a:pt x="39" y="399"/>
                  <a:pt x="40" y="399"/>
                  <a:pt x="37" y="399"/>
                </a:cubicBezTo>
                <a:cubicBezTo>
                  <a:pt x="34" y="399"/>
                  <a:pt x="33" y="397"/>
                  <a:pt x="33" y="397"/>
                </a:cubicBezTo>
                <a:cubicBezTo>
                  <a:pt x="31" y="397"/>
                  <a:pt x="28" y="394"/>
                  <a:pt x="28" y="393"/>
                </a:cubicBezTo>
                <a:cubicBezTo>
                  <a:pt x="28" y="391"/>
                  <a:pt x="29" y="391"/>
                  <a:pt x="31" y="391"/>
                </a:cubicBezTo>
                <a:cubicBezTo>
                  <a:pt x="31" y="393"/>
                  <a:pt x="31" y="391"/>
                  <a:pt x="33" y="391"/>
                </a:cubicBezTo>
                <a:cubicBezTo>
                  <a:pt x="34" y="393"/>
                  <a:pt x="33" y="391"/>
                  <a:pt x="34" y="389"/>
                </a:cubicBezTo>
                <a:cubicBezTo>
                  <a:pt x="37" y="389"/>
                  <a:pt x="39" y="386"/>
                  <a:pt x="37" y="386"/>
                </a:cubicBezTo>
                <a:cubicBezTo>
                  <a:pt x="36" y="385"/>
                  <a:pt x="36" y="386"/>
                  <a:pt x="33" y="388"/>
                </a:cubicBezTo>
                <a:cubicBezTo>
                  <a:pt x="31" y="388"/>
                  <a:pt x="33" y="389"/>
                  <a:pt x="29" y="389"/>
                </a:cubicBezTo>
                <a:cubicBezTo>
                  <a:pt x="25" y="388"/>
                  <a:pt x="31" y="389"/>
                  <a:pt x="29" y="391"/>
                </a:cubicBezTo>
                <a:cubicBezTo>
                  <a:pt x="28" y="391"/>
                  <a:pt x="26" y="391"/>
                  <a:pt x="26" y="394"/>
                </a:cubicBezTo>
                <a:cubicBezTo>
                  <a:pt x="28" y="396"/>
                  <a:pt x="26" y="394"/>
                  <a:pt x="25" y="393"/>
                </a:cubicBezTo>
                <a:cubicBezTo>
                  <a:pt x="22" y="393"/>
                  <a:pt x="20" y="389"/>
                  <a:pt x="22" y="389"/>
                </a:cubicBezTo>
                <a:cubicBezTo>
                  <a:pt x="23" y="389"/>
                  <a:pt x="25" y="391"/>
                  <a:pt x="25" y="389"/>
                </a:cubicBezTo>
                <a:cubicBezTo>
                  <a:pt x="23" y="389"/>
                  <a:pt x="25" y="389"/>
                  <a:pt x="23" y="388"/>
                </a:cubicBezTo>
                <a:cubicBezTo>
                  <a:pt x="23" y="386"/>
                  <a:pt x="25" y="385"/>
                  <a:pt x="26" y="386"/>
                </a:cubicBezTo>
                <a:cubicBezTo>
                  <a:pt x="28" y="388"/>
                  <a:pt x="28" y="383"/>
                  <a:pt x="31" y="383"/>
                </a:cubicBezTo>
                <a:cubicBezTo>
                  <a:pt x="33" y="385"/>
                  <a:pt x="34" y="385"/>
                  <a:pt x="36" y="383"/>
                </a:cubicBezTo>
                <a:cubicBezTo>
                  <a:pt x="36" y="383"/>
                  <a:pt x="29" y="382"/>
                  <a:pt x="28" y="383"/>
                </a:cubicBezTo>
                <a:cubicBezTo>
                  <a:pt x="26" y="385"/>
                  <a:pt x="28" y="382"/>
                  <a:pt x="25" y="382"/>
                </a:cubicBezTo>
                <a:cubicBezTo>
                  <a:pt x="23" y="383"/>
                  <a:pt x="25" y="383"/>
                  <a:pt x="25" y="383"/>
                </a:cubicBezTo>
                <a:cubicBezTo>
                  <a:pt x="26" y="385"/>
                  <a:pt x="23" y="385"/>
                  <a:pt x="23" y="386"/>
                </a:cubicBezTo>
                <a:cubicBezTo>
                  <a:pt x="23" y="388"/>
                  <a:pt x="23" y="389"/>
                  <a:pt x="20" y="389"/>
                </a:cubicBezTo>
                <a:cubicBezTo>
                  <a:pt x="17" y="388"/>
                  <a:pt x="22" y="388"/>
                  <a:pt x="20" y="386"/>
                </a:cubicBezTo>
                <a:cubicBezTo>
                  <a:pt x="20" y="386"/>
                  <a:pt x="19" y="385"/>
                  <a:pt x="20" y="386"/>
                </a:cubicBezTo>
                <a:cubicBezTo>
                  <a:pt x="22" y="386"/>
                  <a:pt x="20" y="382"/>
                  <a:pt x="19" y="385"/>
                </a:cubicBezTo>
                <a:cubicBezTo>
                  <a:pt x="17" y="386"/>
                  <a:pt x="17" y="385"/>
                  <a:pt x="19" y="382"/>
                </a:cubicBezTo>
                <a:cubicBezTo>
                  <a:pt x="20" y="380"/>
                  <a:pt x="17" y="382"/>
                  <a:pt x="19" y="380"/>
                </a:cubicBezTo>
                <a:cubicBezTo>
                  <a:pt x="19" y="377"/>
                  <a:pt x="16" y="375"/>
                  <a:pt x="17" y="377"/>
                </a:cubicBezTo>
                <a:cubicBezTo>
                  <a:pt x="19" y="377"/>
                  <a:pt x="20" y="380"/>
                  <a:pt x="22" y="378"/>
                </a:cubicBezTo>
                <a:cubicBezTo>
                  <a:pt x="22" y="377"/>
                  <a:pt x="23" y="377"/>
                  <a:pt x="23" y="377"/>
                </a:cubicBezTo>
                <a:cubicBezTo>
                  <a:pt x="23" y="378"/>
                  <a:pt x="23" y="378"/>
                  <a:pt x="23" y="375"/>
                </a:cubicBezTo>
                <a:cubicBezTo>
                  <a:pt x="25" y="374"/>
                  <a:pt x="28" y="378"/>
                  <a:pt x="26" y="377"/>
                </a:cubicBezTo>
                <a:cubicBezTo>
                  <a:pt x="25" y="375"/>
                  <a:pt x="26" y="375"/>
                  <a:pt x="28" y="374"/>
                </a:cubicBezTo>
                <a:cubicBezTo>
                  <a:pt x="28" y="371"/>
                  <a:pt x="26" y="371"/>
                  <a:pt x="23" y="369"/>
                </a:cubicBezTo>
                <a:cubicBezTo>
                  <a:pt x="20" y="368"/>
                  <a:pt x="20" y="369"/>
                  <a:pt x="23" y="371"/>
                </a:cubicBezTo>
                <a:cubicBezTo>
                  <a:pt x="26" y="372"/>
                  <a:pt x="28" y="374"/>
                  <a:pt x="25" y="374"/>
                </a:cubicBezTo>
                <a:cubicBezTo>
                  <a:pt x="22" y="372"/>
                  <a:pt x="23" y="374"/>
                  <a:pt x="23" y="374"/>
                </a:cubicBezTo>
                <a:cubicBezTo>
                  <a:pt x="22" y="374"/>
                  <a:pt x="22" y="375"/>
                  <a:pt x="22" y="377"/>
                </a:cubicBezTo>
                <a:cubicBezTo>
                  <a:pt x="20" y="378"/>
                  <a:pt x="17" y="374"/>
                  <a:pt x="19" y="374"/>
                </a:cubicBezTo>
                <a:cubicBezTo>
                  <a:pt x="20" y="375"/>
                  <a:pt x="19" y="375"/>
                  <a:pt x="19" y="372"/>
                </a:cubicBezTo>
                <a:cubicBezTo>
                  <a:pt x="19" y="371"/>
                  <a:pt x="17" y="374"/>
                  <a:pt x="16" y="372"/>
                </a:cubicBezTo>
                <a:cubicBezTo>
                  <a:pt x="16" y="371"/>
                  <a:pt x="17" y="371"/>
                  <a:pt x="16" y="369"/>
                </a:cubicBezTo>
                <a:cubicBezTo>
                  <a:pt x="16" y="368"/>
                  <a:pt x="16" y="368"/>
                  <a:pt x="17" y="369"/>
                </a:cubicBezTo>
                <a:cubicBezTo>
                  <a:pt x="17" y="371"/>
                  <a:pt x="19" y="371"/>
                  <a:pt x="17" y="368"/>
                </a:cubicBezTo>
                <a:cubicBezTo>
                  <a:pt x="17" y="366"/>
                  <a:pt x="17" y="366"/>
                  <a:pt x="16" y="366"/>
                </a:cubicBezTo>
                <a:cubicBezTo>
                  <a:pt x="14" y="366"/>
                  <a:pt x="14" y="368"/>
                  <a:pt x="14" y="364"/>
                </a:cubicBezTo>
                <a:cubicBezTo>
                  <a:pt x="14" y="363"/>
                  <a:pt x="14" y="364"/>
                  <a:pt x="14" y="363"/>
                </a:cubicBezTo>
                <a:cubicBezTo>
                  <a:pt x="13" y="363"/>
                  <a:pt x="14" y="361"/>
                  <a:pt x="16" y="363"/>
                </a:cubicBezTo>
                <a:cubicBezTo>
                  <a:pt x="16" y="363"/>
                  <a:pt x="17" y="361"/>
                  <a:pt x="17" y="360"/>
                </a:cubicBezTo>
                <a:cubicBezTo>
                  <a:pt x="19" y="357"/>
                  <a:pt x="17" y="357"/>
                  <a:pt x="17" y="358"/>
                </a:cubicBezTo>
                <a:cubicBezTo>
                  <a:pt x="16" y="361"/>
                  <a:pt x="16" y="361"/>
                  <a:pt x="14" y="360"/>
                </a:cubicBezTo>
                <a:cubicBezTo>
                  <a:pt x="13" y="358"/>
                  <a:pt x="13" y="358"/>
                  <a:pt x="14" y="358"/>
                </a:cubicBezTo>
                <a:cubicBezTo>
                  <a:pt x="16" y="358"/>
                  <a:pt x="16" y="358"/>
                  <a:pt x="14" y="357"/>
                </a:cubicBezTo>
                <a:cubicBezTo>
                  <a:pt x="13" y="357"/>
                  <a:pt x="14" y="357"/>
                  <a:pt x="13" y="357"/>
                </a:cubicBezTo>
                <a:cubicBezTo>
                  <a:pt x="11" y="355"/>
                  <a:pt x="11" y="355"/>
                  <a:pt x="10" y="354"/>
                </a:cubicBezTo>
                <a:cubicBezTo>
                  <a:pt x="8" y="354"/>
                  <a:pt x="11" y="352"/>
                  <a:pt x="13" y="354"/>
                </a:cubicBezTo>
                <a:cubicBezTo>
                  <a:pt x="14" y="355"/>
                  <a:pt x="16" y="355"/>
                  <a:pt x="14" y="354"/>
                </a:cubicBezTo>
                <a:cubicBezTo>
                  <a:pt x="13" y="352"/>
                  <a:pt x="11" y="351"/>
                  <a:pt x="14" y="352"/>
                </a:cubicBezTo>
                <a:cubicBezTo>
                  <a:pt x="17" y="352"/>
                  <a:pt x="16" y="352"/>
                  <a:pt x="13" y="351"/>
                </a:cubicBezTo>
                <a:cubicBezTo>
                  <a:pt x="11" y="349"/>
                  <a:pt x="14" y="349"/>
                  <a:pt x="13" y="347"/>
                </a:cubicBezTo>
                <a:cubicBezTo>
                  <a:pt x="13" y="347"/>
                  <a:pt x="14" y="346"/>
                  <a:pt x="16" y="347"/>
                </a:cubicBezTo>
                <a:cubicBezTo>
                  <a:pt x="17" y="349"/>
                  <a:pt x="16" y="346"/>
                  <a:pt x="14" y="344"/>
                </a:cubicBezTo>
                <a:cubicBezTo>
                  <a:pt x="14" y="343"/>
                  <a:pt x="16" y="341"/>
                  <a:pt x="14" y="341"/>
                </a:cubicBezTo>
                <a:cubicBezTo>
                  <a:pt x="13" y="343"/>
                  <a:pt x="14" y="346"/>
                  <a:pt x="13" y="346"/>
                </a:cubicBezTo>
                <a:cubicBezTo>
                  <a:pt x="11" y="346"/>
                  <a:pt x="13" y="343"/>
                  <a:pt x="11" y="340"/>
                </a:cubicBezTo>
                <a:cubicBezTo>
                  <a:pt x="11" y="336"/>
                  <a:pt x="13" y="336"/>
                  <a:pt x="13" y="335"/>
                </a:cubicBezTo>
                <a:cubicBezTo>
                  <a:pt x="13" y="332"/>
                  <a:pt x="16" y="335"/>
                  <a:pt x="16" y="335"/>
                </a:cubicBezTo>
                <a:cubicBezTo>
                  <a:pt x="14" y="333"/>
                  <a:pt x="16" y="333"/>
                  <a:pt x="14" y="333"/>
                </a:cubicBezTo>
                <a:cubicBezTo>
                  <a:pt x="14" y="332"/>
                  <a:pt x="13" y="332"/>
                  <a:pt x="11" y="330"/>
                </a:cubicBezTo>
                <a:cubicBezTo>
                  <a:pt x="11" y="329"/>
                  <a:pt x="11" y="330"/>
                  <a:pt x="10" y="329"/>
                </a:cubicBezTo>
                <a:cubicBezTo>
                  <a:pt x="10" y="327"/>
                  <a:pt x="11" y="329"/>
                  <a:pt x="14" y="329"/>
                </a:cubicBezTo>
                <a:cubicBezTo>
                  <a:pt x="16" y="329"/>
                  <a:pt x="17" y="329"/>
                  <a:pt x="19" y="330"/>
                </a:cubicBezTo>
                <a:cubicBezTo>
                  <a:pt x="22" y="332"/>
                  <a:pt x="17" y="327"/>
                  <a:pt x="19" y="327"/>
                </a:cubicBezTo>
                <a:cubicBezTo>
                  <a:pt x="20" y="327"/>
                  <a:pt x="17" y="324"/>
                  <a:pt x="17" y="326"/>
                </a:cubicBezTo>
                <a:cubicBezTo>
                  <a:pt x="17" y="327"/>
                  <a:pt x="16" y="324"/>
                  <a:pt x="13" y="326"/>
                </a:cubicBezTo>
                <a:cubicBezTo>
                  <a:pt x="10" y="326"/>
                  <a:pt x="10" y="326"/>
                  <a:pt x="10" y="324"/>
                </a:cubicBezTo>
                <a:cubicBezTo>
                  <a:pt x="11" y="322"/>
                  <a:pt x="11" y="324"/>
                  <a:pt x="13" y="324"/>
                </a:cubicBezTo>
                <a:cubicBezTo>
                  <a:pt x="14" y="324"/>
                  <a:pt x="10" y="322"/>
                  <a:pt x="11" y="321"/>
                </a:cubicBezTo>
                <a:cubicBezTo>
                  <a:pt x="13" y="318"/>
                  <a:pt x="16" y="319"/>
                  <a:pt x="16" y="318"/>
                </a:cubicBezTo>
                <a:cubicBezTo>
                  <a:pt x="16" y="315"/>
                  <a:pt x="14" y="316"/>
                  <a:pt x="14" y="315"/>
                </a:cubicBezTo>
                <a:cubicBezTo>
                  <a:pt x="13" y="313"/>
                  <a:pt x="11" y="313"/>
                  <a:pt x="11" y="315"/>
                </a:cubicBezTo>
                <a:cubicBezTo>
                  <a:pt x="11" y="316"/>
                  <a:pt x="8" y="315"/>
                  <a:pt x="6" y="313"/>
                </a:cubicBezTo>
                <a:cubicBezTo>
                  <a:pt x="6" y="310"/>
                  <a:pt x="3" y="312"/>
                  <a:pt x="3" y="313"/>
                </a:cubicBezTo>
                <a:cubicBezTo>
                  <a:pt x="3" y="316"/>
                  <a:pt x="3" y="316"/>
                  <a:pt x="2" y="315"/>
                </a:cubicBezTo>
                <a:cubicBezTo>
                  <a:pt x="0" y="312"/>
                  <a:pt x="3" y="310"/>
                  <a:pt x="6" y="307"/>
                </a:cubicBezTo>
                <a:cubicBezTo>
                  <a:pt x="11" y="305"/>
                  <a:pt x="8" y="302"/>
                  <a:pt x="11" y="304"/>
                </a:cubicBezTo>
                <a:cubicBezTo>
                  <a:pt x="13" y="304"/>
                  <a:pt x="10" y="302"/>
                  <a:pt x="13" y="302"/>
                </a:cubicBezTo>
                <a:cubicBezTo>
                  <a:pt x="16" y="302"/>
                  <a:pt x="13" y="305"/>
                  <a:pt x="16" y="307"/>
                </a:cubicBezTo>
                <a:cubicBezTo>
                  <a:pt x="19" y="308"/>
                  <a:pt x="14" y="313"/>
                  <a:pt x="17" y="312"/>
                </a:cubicBezTo>
                <a:cubicBezTo>
                  <a:pt x="19" y="310"/>
                  <a:pt x="17" y="310"/>
                  <a:pt x="19" y="305"/>
                </a:cubicBezTo>
                <a:cubicBezTo>
                  <a:pt x="19" y="301"/>
                  <a:pt x="19" y="302"/>
                  <a:pt x="19" y="299"/>
                </a:cubicBezTo>
                <a:cubicBezTo>
                  <a:pt x="19" y="298"/>
                  <a:pt x="22" y="298"/>
                  <a:pt x="20" y="296"/>
                </a:cubicBezTo>
                <a:cubicBezTo>
                  <a:pt x="20" y="294"/>
                  <a:pt x="19" y="294"/>
                  <a:pt x="22" y="293"/>
                </a:cubicBezTo>
                <a:cubicBezTo>
                  <a:pt x="23" y="293"/>
                  <a:pt x="25" y="291"/>
                  <a:pt x="25" y="290"/>
                </a:cubicBezTo>
                <a:cubicBezTo>
                  <a:pt x="26" y="288"/>
                  <a:pt x="26" y="285"/>
                  <a:pt x="23" y="285"/>
                </a:cubicBezTo>
                <a:cubicBezTo>
                  <a:pt x="22" y="285"/>
                  <a:pt x="20" y="284"/>
                  <a:pt x="22" y="284"/>
                </a:cubicBezTo>
                <a:cubicBezTo>
                  <a:pt x="23" y="282"/>
                  <a:pt x="23" y="279"/>
                  <a:pt x="22" y="276"/>
                </a:cubicBezTo>
                <a:cubicBezTo>
                  <a:pt x="22" y="273"/>
                  <a:pt x="26" y="273"/>
                  <a:pt x="25" y="268"/>
                </a:cubicBezTo>
                <a:cubicBezTo>
                  <a:pt x="23" y="265"/>
                  <a:pt x="25" y="266"/>
                  <a:pt x="25" y="263"/>
                </a:cubicBezTo>
                <a:cubicBezTo>
                  <a:pt x="25" y="262"/>
                  <a:pt x="25" y="262"/>
                  <a:pt x="26" y="263"/>
                </a:cubicBezTo>
                <a:cubicBezTo>
                  <a:pt x="28" y="265"/>
                  <a:pt x="29" y="260"/>
                  <a:pt x="25" y="260"/>
                </a:cubicBezTo>
                <a:cubicBezTo>
                  <a:pt x="22" y="259"/>
                  <a:pt x="28" y="257"/>
                  <a:pt x="26" y="256"/>
                </a:cubicBezTo>
                <a:cubicBezTo>
                  <a:pt x="23" y="256"/>
                  <a:pt x="23" y="251"/>
                  <a:pt x="22" y="256"/>
                </a:cubicBezTo>
                <a:cubicBezTo>
                  <a:pt x="22" y="257"/>
                  <a:pt x="19" y="259"/>
                  <a:pt x="16" y="252"/>
                </a:cubicBezTo>
                <a:cubicBezTo>
                  <a:pt x="14" y="248"/>
                  <a:pt x="16" y="248"/>
                  <a:pt x="17" y="238"/>
                </a:cubicBezTo>
                <a:cubicBezTo>
                  <a:pt x="17" y="232"/>
                  <a:pt x="19" y="240"/>
                  <a:pt x="20" y="231"/>
                </a:cubicBezTo>
                <a:cubicBezTo>
                  <a:pt x="22" y="223"/>
                  <a:pt x="19" y="224"/>
                  <a:pt x="19" y="218"/>
                </a:cubicBezTo>
                <a:cubicBezTo>
                  <a:pt x="20" y="210"/>
                  <a:pt x="17" y="215"/>
                  <a:pt x="17" y="207"/>
                </a:cubicBezTo>
                <a:cubicBezTo>
                  <a:pt x="19" y="203"/>
                  <a:pt x="22" y="210"/>
                  <a:pt x="22" y="203"/>
                </a:cubicBezTo>
                <a:cubicBezTo>
                  <a:pt x="22" y="196"/>
                  <a:pt x="23" y="206"/>
                  <a:pt x="23" y="196"/>
                </a:cubicBezTo>
                <a:cubicBezTo>
                  <a:pt x="25" y="190"/>
                  <a:pt x="26" y="195"/>
                  <a:pt x="26" y="190"/>
                </a:cubicBezTo>
                <a:cubicBezTo>
                  <a:pt x="26" y="187"/>
                  <a:pt x="31" y="184"/>
                  <a:pt x="31" y="175"/>
                </a:cubicBezTo>
                <a:cubicBezTo>
                  <a:pt x="31" y="167"/>
                  <a:pt x="36" y="171"/>
                  <a:pt x="34" y="165"/>
                </a:cubicBezTo>
                <a:cubicBezTo>
                  <a:pt x="33" y="161"/>
                  <a:pt x="37" y="158"/>
                  <a:pt x="36" y="154"/>
                </a:cubicBezTo>
                <a:cubicBezTo>
                  <a:pt x="34" y="151"/>
                  <a:pt x="36" y="150"/>
                  <a:pt x="34" y="142"/>
                </a:cubicBezTo>
                <a:cubicBezTo>
                  <a:pt x="33" y="134"/>
                  <a:pt x="34" y="133"/>
                  <a:pt x="36" y="131"/>
                </a:cubicBezTo>
                <a:cubicBezTo>
                  <a:pt x="37" y="129"/>
                  <a:pt x="37" y="125"/>
                  <a:pt x="36" y="120"/>
                </a:cubicBezTo>
                <a:cubicBezTo>
                  <a:pt x="33" y="116"/>
                  <a:pt x="37" y="117"/>
                  <a:pt x="39" y="111"/>
                </a:cubicBezTo>
                <a:cubicBezTo>
                  <a:pt x="39" y="103"/>
                  <a:pt x="40" y="106"/>
                  <a:pt x="40" y="101"/>
                </a:cubicBezTo>
                <a:cubicBezTo>
                  <a:pt x="39" y="98"/>
                  <a:pt x="43" y="91"/>
                  <a:pt x="42" y="88"/>
                </a:cubicBezTo>
                <a:cubicBezTo>
                  <a:pt x="40" y="84"/>
                  <a:pt x="45" y="83"/>
                  <a:pt x="43" y="77"/>
                </a:cubicBezTo>
                <a:cubicBezTo>
                  <a:pt x="40" y="69"/>
                  <a:pt x="45" y="63"/>
                  <a:pt x="43" y="63"/>
                </a:cubicBezTo>
                <a:cubicBezTo>
                  <a:pt x="40" y="61"/>
                  <a:pt x="43" y="58"/>
                  <a:pt x="43" y="58"/>
                </a:cubicBezTo>
                <a:cubicBezTo>
                  <a:pt x="45" y="58"/>
                  <a:pt x="45" y="56"/>
                  <a:pt x="46" y="47"/>
                </a:cubicBezTo>
                <a:cubicBezTo>
                  <a:pt x="48" y="38"/>
                  <a:pt x="45" y="36"/>
                  <a:pt x="46" y="30"/>
                </a:cubicBezTo>
                <a:cubicBezTo>
                  <a:pt x="46" y="24"/>
                  <a:pt x="45" y="24"/>
                  <a:pt x="45" y="19"/>
                </a:cubicBezTo>
                <a:cubicBezTo>
                  <a:pt x="45" y="16"/>
                  <a:pt x="43" y="21"/>
                  <a:pt x="43" y="10"/>
                </a:cubicBezTo>
                <a:cubicBezTo>
                  <a:pt x="53" y="7"/>
                  <a:pt x="46" y="4"/>
                  <a:pt x="48" y="4"/>
                </a:cubicBezTo>
                <a:cubicBezTo>
                  <a:pt x="51" y="4"/>
                  <a:pt x="51" y="0"/>
                  <a:pt x="51" y="0"/>
                </a:cubicBezTo>
                <a:close/>
                <a:moveTo>
                  <a:pt x="59" y="411"/>
                </a:moveTo>
                <a:cubicBezTo>
                  <a:pt x="59" y="383"/>
                  <a:pt x="59" y="383"/>
                  <a:pt x="59" y="383"/>
                </a:cubicBezTo>
                <a:moveTo>
                  <a:pt x="59" y="411"/>
                </a:moveTo>
                <a:cubicBezTo>
                  <a:pt x="59" y="383"/>
                  <a:pt x="59" y="383"/>
                  <a:pt x="59" y="383"/>
                </a:cubicBezTo>
                <a:cubicBezTo>
                  <a:pt x="57" y="382"/>
                  <a:pt x="56" y="385"/>
                  <a:pt x="54" y="385"/>
                </a:cubicBezTo>
                <a:cubicBezTo>
                  <a:pt x="53" y="385"/>
                  <a:pt x="53" y="382"/>
                  <a:pt x="51" y="382"/>
                </a:cubicBezTo>
                <a:cubicBezTo>
                  <a:pt x="49" y="382"/>
                  <a:pt x="49" y="385"/>
                  <a:pt x="48" y="386"/>
                </a:cubicBezTo>
                <a:cubicBezTo>
                  <a:pt x="46" y="386"/>
                  <a:pt x="45" y="385"/>
                  <a:pt x="45" y="385"/>
                </a:cubicBezTo>
                <a:cubicBezTo>
                  <a:pt x="43" y="385"/>
                  <a:pt x="45" y="385"/>
                  <a:pt x="45" y="386"/>
                </a:cubicBezTo>
                <a:cubicBezTo>
                  <a:pt x="45" y="388"/>
                  <a:pt x="46" y="386"/>
                  <a:pt x="46" y="388"/>
                </a:cubicBezTo>
                <a:cubicBezTo>
                  <a:pt x="45" y="389"/>
                  <a:pt x="45" y="389"/>
                  <a:pt x="45" y="388"/>
                </a:cubicBezTo>
                <a:cubicBezTo>
                  <a:pt x="43" y="386"/>
                  <a:pt x="43" y="389"/>
                  <a:pt x="45" y="393"/>
                </a:cubicBezTo>
                <a:cubicBezTo>
                  <a:pt x="45" y="396"/>
                  <a:pt x="51" y="391"/>
                  <a:pt x="53" y="393"/>
                </a:cubicBezTo>
                <a:cubicBezTo>
                  <a:pt x="54" y="396"/>
                  <a:pt x="45" y="396"/>
                  <a:pt x="46" y="399"/>
                </a:cubicBezTo>
                <a:cubicBezTo>
                  <a:pt x="46" y="403"/>
                  <a:pt x="56" y="405"/>
                  <a:pt x="56" y="406"/>
                </a:cubicBezTo>
                <a:cubicBezTo>
                  <a:pt x="49" y="405"/>
                  <a:pt x="51" y="403"/>
                  <a:pt x="51" y="405"/>
                </a:cubicBezTo>
                <a:cubicBezTo>
                  <a:pt x="49" y="406"/>
                  <a:pt x="48" y="403"/>
                  <a:pt x="46" y="403"/>
                </a:cubicBezTo>
                <a:cubicBezTo>
                  <a:pt x="45" y="405"/>
                  <a:pt x="48" y="406"/>
                  <a:pt x="45" y="405"/>
                </a:cubicBezTo>
                <a:cubicBezTo>
                  <a:pt x="42" y="402"/>
                  <a:pt x="39" y="400"/>
                  <a:pt x="40" y="402"/>
                </a:cubicBezTo>
                <a:cubicBezTo>
                  <a:pt x="40" y="405"/>
                  <a:pt x="45" y="403"/>
                  <a:pt x="42" y="405"/>
                </a:cubicBezTo>
                <a:cubicBezTo>
                  <a:pt x="39" y="405"/>
                  <a:pt x="40" y="406"/>
                  <a:pt x="39" y="406"/>
                </a:cubicBezTo>
                <a:cubicBezTo>
                  <a:pt x="36" y="405"/>
                  <a:pt x="36" y="405"/>
                  <a:pt x="36" y="405"/>
                </a:cubicBezTo>
                <a:cubicBezTo>
                  <a:pt x="36" y="406"/>
                  <a:pt x="34" y="405"/>
                  <a:pt x="33" y="405"/>
                </a:cubicBezTo>
                <a:cubicBezTo>
                  <a:pt x="31" y="405"/>
                  <a:pt x="34" y="406"/>
                  <a:pt x="34" y="406"/>
                </a:cubicBezTo>
                <a:cubicBezTo>
                  <a:pt x="33" y="408"/>
                  <a:pt x="31" y="405"/>
                  <a:pt x="31" y="406"/>
                </a:cubicBezTo>
                <a:cubicBezTo>
                  <a:pt x="31" y="408"/>
                  <a:pt x="31" y="408"/>
                  <a:pt x="31" y="408"/>
                </a:cubicBezTo>
                <a:cubicBezTo>
                  <a:pt x="33" y="410"/>
                  <a:pt x="34" y="408"/>
                  <a:pt x="36" y="408"/>
                </a:cubicBezTo>
                <a:cubicBezTo>
                  <a:pt x="36" y="410"/>
                  <a:pt x="36" y="406"/>
                  <a:pt x="37" y="406"/>
                </a:cubicBezTo>
                <a:cubicBezTo>
                  <a:pt x="37" y="406"/>
                  <a:pt x="36" y="408"/>
                  <a:pt x="37" y="408"/>
                </a:cubicBezTo>
                <a:cubicBezTo>
                  <a:pt x="37" y="410"/>
                  <a:pt x="40" y="406"/>
                  <a:pt x="39" y="408"/>
                </a:cubicBezTo>
                <a:cubicBezTo>
                  <a:pt x="39" y="411"/>
                  <a:pt x="39" y="410"/>
                  <a:pt x="40" y="410"/>
                </a:cubicBezTo>
                <a:cubicBezTo>
                  <a:pt x="40" y="410"/>
                  <a:pt x="40" y="411"/>
                  <a:pt x="42" y="410"/>
                </a:cubicBezTo>
                <a:cubicBezTo>
                  <a:pt x="43" y="410"/>
                  <a:pt x="45" y="411"/>
                  <a:pt x="45" y="411"/>
                </a:cubicBezTo>
                <a:cubicBezTo>
                  <a:pt x="46" y="410"/>
                  <a:pt x="46" y="411"/>
                  <a:pt x="48" y="411"/>
                </a:cubicBezTo>
                <a:cubicBezTo>
                  <a:pt x="48" y="410"/>
                  <a:pt x="49" y="411"/>
                  <a:pt x="49" y="410"/>
                </a:cubicBezTo>
                <a:cubicBezTo>
                  <a:pt x="49" y="408"/>
                  <a:pt x="49" y="411"/>
                  <a:pt x="51" y="411"/>
                </a:cubicBezTo>
                <a:cubicBezTo>
                  <a:pt x="56" y="411"/>
                  <a:pt x="57" y="413"/>
                  <a:pt x="57" y="411"/>
                </a:cubicBezTo>
                <a:cubicBezTo>
                  <a:pt x="57" y="410"/>
                  <a:pt x="57" y="411"/>
                  <a:pt x="59" y="411"/>
                </a:cubicBezTo>
                <a:close/>
                <a:moveTo>
                  <a:pt x="20" y="291"/>
                </a:moveTo>
                <a:cubicBezTo>
                  <a:pt x="20" y="291"/>
                  <a:pt x="19" y="291"/>
                  <a:pt x="20" y="293"/>
                </a:cubicBezTo>
                <a:cubicBezTo>
                  <a:pt x="22" y="293"/>
                  <a:pt x="23" y="291"/>
                  <a:pt x="23" y="291"/>
                </a:cubicBezTo>
                <a:cubicBezTo>
                  <a:pt x="25" y="290"/>
                  <a:pt x="23" y="290"/>
                  <a:pt x="23" y="290"/>
                </a:cubicBezTo>
                <a:cubicBezTo>
                  <a:pt x="25" y="290"/>
                  <a:pt x="26" y="288"/>
                  <a:pt x="23" y="287"/>
                </a:cubicBezTo>
                <a:cubicBezTo>
                  <a:pt x="22" y="285"/>
                  <a:pt x="23" y="287"/>
                  <a:pt x="22" y="287"/>
                </a:cubicBezTo>
                <a:cubicBezTo>
                  <a:pt x="22" y="287"/>
                  <a:pt x="20" y="287"/>
                  <a:pt x="20" y="288"/>
                </a:cubicBezTo>
                <a:cubicBezTo>
                  <a:pt x="22" y="290"/>
                  <a:pt x="20" y="288"/>
                  <a:pt x="19" y="290"/>
                </a:cubicBezTo>
                <a:cubicBezTo>
                  <a:pt x="19" y="290"/>
                  <a:pt x="19" y="290"/>
                  <a:pt x="20" y="291"/>
                </a:cubicBezTo>
                <a:close/>
                <a:moveTo>
                  <a:pt x="43" y="402"/>
                </a:moveTo>
                <a:cubicBezTo>
                  <a:pt x="42" y="400"/>
                  <a:pt x="42" y="400"/>
                  <a:pt x="43" y="400"/>
                </a:cubicBezTo>
                <a:cubicBezTo>
                  <a:pt x="45" y="402"/>
                  <a:pt x="45" y="402"/>
                  <a:pt x="43" y="400"/>
                </a:cubicBezTo>
                <a:cubicBezTo>
                  <a:pt x="43" y="399"/>
                  <a:pt x="43" y="397"/>
                  <a:pt x="43" y="396"/>
                </a:cubicBezTo>
                <a:cubicBezTo>
                  <a:pt x="43" y="394"/>
                  <a:pt x="42" y="396"/>
                  <a:pt x="42" y="397"/>
                </a:cubicBezTo>
                <a:cubicBezTo>
                  <a:pt x="42" y="399"/>
                  <a:pt x="40" y="397"/>
                  <a:pt x="40" y="399"/>
                </a:cubicBezTo>
                <a:cubicBezTo>
                  <a:pt x="40" y="400"/>
                  <a:pt x="42" y="402"/>
                  <a:pt x="45" y="403"/>
                </a:cubicBezTo>
                <a:cubicBezTo>
                  <a:pt x="46" y="405"/>
                  <a:pt x="45" y="403"/>
                  <a:pt x="43" y="402"/>
                </a:cubicBezTo>
                <a:close/>
                <a:moveTo>
                  <a:pt x="39" y="402"/>
                </a:moveTo>
                <a:cubicBezTo>
                  <a:pt x="39" y="400"/>
                  <a:pt x="37" y="402"/>
                  <a:pt x="37" y="400"/>
                </a:cubicBezTo>
                <a:cubicBezTo>
                  <a:pt x="36" y="399"/>
                  <a:pt x="34" y="399"/>
                  <a:pt x="34" y="400"/>
                </a:cubicBezTo>
                <a:cubicBezTo>
                  <a:pt x="34" y="402"/>
                  <a:pt x="33" y="403"/>
                  <a:pt x="34" y="403"/>
                </a:cubicBezTo>
                <a:cubicBezTo>
                  <a:pt x="36" y="403"/>
                  <a:pt x="34" y="402"/>
                  <a:pt x="36" y="403"/>
                </a:cubicBezTo>
                <a:cubicBezTo>
                  <a:pt x="37" y="403"/>
                  <a:pt x="36" y="403"/>
                  <a:pt x="37" y="405"/>
                </a:cubicBezTo>
                <a:cubicBezTo>
                  <a:pt x="39" y="405"/>
                  <a:pt x="39" y="403"/>
                  <a:pt x="39" y="402"/>
                </a:cubicBezTo>
                <a:close/>
                <a:moveTo>
                  <a:pt x="13" y="265"/>
                </a:moveTo>
                <a:cubicBezTo>
                  <a:pt x="13" y="266"/>
                  <a:pt x="14" y="266"/>
                  <a:pt x="13" y="271"/>
                </a:cubicBezTo>
                <a:cubicBezTo>
                  <a:pt x="11" y="276"/>
                  <a:pt x="13" y="274"/>
                  <a:pt x="16" y="276"/>
                </a:cubicBezTo>
                <a:cubicBezTo>
                  <a:pt x="20" y="276"/>
                  <a:pt x="16" y="273"/>
                  <a:pt x="17" y="273"/>
                </a:cubicBezTo>
                <a:cubicBezTo>
                  <a:pt x="20" y="273"/>
                  <a:pt x="17" y="270"/>
                  <a:pt x="19" y="270"/>
                </a:cubicBezTo>
                <a:cubicBezTo>
                  <a:pt x="20" y="270"/>
                  <a:pt x="20" y="270"/>
                  <a:pt x="17" y="266"/>
                </a:cubicBezTo>
                <a:cubicBezTo>
                  <a:pt x="16" y="265"/>
                  <a:pt x="19" y="266"/>
                  <a:pt x="17" y="265"/>
                </a:cubicBezTo>
                <a:cubicBezTo>
                  <a:pt x="17" y="263"/>
                  <a:pt x="17" y="263"/>
                  <a:pt x="19" y="263"/>
                </a:cubicBezTo>
                <a:cubicBezTo>
                  <a:pt x="22" y="263"/>
                  <a:pt x="20" y="262"/>
                  <a:pt x="19" y="260"/>
                </a:cubicBezTo>
                <a:cubicBezTo>
                  <a:pt x="19" y="259"/>
                  <a:pt x="19" y="257"/>
                  <a:pt x="17" y="259"/>
                </a:cubicBezTo>
                <a:cubicBezTo>
                  <a:pt x="14" y="259"/>
                  <a:pt x="17" y="257"/>
                  <a:pt x="16" y="257"/>
                </a:cubicBezTo>
                <a:cubicBezTo>
                  <a:pt x="14" y="257"/>
                  <a:pt x="14" y="257"/>
                  <a:pt x="14" y="259"/>
                </a:cubicBezTo>
                <a:cubicBezTo>
                  <a:pt x="16" y="262"/>
                  <a:pt x="14" y="262"/>
                  <a:pt x="13" y="265"/>
                </a:cubicBezTo>
                <a:close/>
                <a:moveTo>
                  <a:pt x="22" y="281"/>
                </a:moveTo>
                <a:cubicBezTo>
                  <a:pt x="22" y="281"/>
                  <a:pt x="22" y="282"/>
                  <a:pt x="20" y="282"/>
                </a:cubicBezTo>
                <a:cubicBezTo>
                  <a:pt x="20" y="282"/>
                  <a:pt x="20" y="281"/>
                  <a:pt x="22" y="281"/>
                </a:cubicBezTo>
                <a:close/>
                <a:moveTo>
                  <a:pt x="16" y="281"/>
                </a:moveTo>
                <a:cubicBezTo>
                  <a:pt x="17" y="281"/>
                  <a:pt x="17" y="281"/>
                  <a:pt x="17" y="281"/>
                </a:cubicBezTo>
                <a:cubicBezTo>
                  <a:pt x="16" y="279"/>
                  <a:pt x="16" y="281"/>
                  <a:pt x="14" y="281"/>
                </a:cubicBezTo>
                <a:cubicBezTo>
                  <a:pt x="14" y="279"/>
                  <a:pt x="13" y="281"/>
                  <a:pt x="14" y="281"/>
                </a:cubicBezTo>
                <a:cubicBezTo>
                  <a:pt x="16" y="282"/>
                  <a:pt x="16" y="282"/>
                  <a:pt x="16" y="281"/>
                </a:cubicBezTo>
                <a:close/>
                <a:moveTo>
                  <a:pt x="16" y="296"/>
                </a:moveTo>
                <a:cubicBezTo>
                  <a:pt x="16" y="296"/>
                  <a:pt x="16" y="296"/>
                  <a:pt x="17" y="296"/>
                </a:cubicBezTo>
                <a:cubicBezTo>
                  <a:pt x="17" y="298"/>
                  <a:pt x="17" y="296"/>
                  <a:pt x="17" y="294"/>
                </a:cubicBezTo>
                <a:cubicBezTo>
                  <a:pt x="16" y="293"/>
                  <a:pt x="16" y="294"/>
                  <a:pt x="14" y="294"/>
                </a:cubicBezTo>
                <a:cubicBezTo>
                  <a:pt x="13" y="293"/>
                  <a:pt x="13" y="294"/>
                  <a:pt x="14" y="296"/>
                </a:cubicBezTo>
                <a:cubicBezTo>
                  <a:pt x="14" y="296"/>
                  <a:pt x="14" y="296"/>
                  <a:pt x="16" y="296"/>
                </a:cubicBezTo>
                <a:close/>
                <a:moveTo>
                  <a:pt x="16" y="293"/>
                </a:moveTo>
                <a:cubicBezTo>
                  <a:pt x="16" y="293"/>
                  <a:pt x="16" y="293"/>
                  <a:pt x="14" y="291"/>
                </a:cubicBezTo>
                <a:cubicBezTo>
                  <a:pt x="13" y="291"/>
                  <a:pt x="13" y="293"/>
                  <a:pt x="13" y="293"/>
                </a:cubicBezTo>
                <a:cubicBezTo>
                  <a:pt x="11" y="294"/>
                  <a:pt x="13" y="293"/>
                  <a:pt x="16" y="293"/>
                </a:cubicBezTo>
                <a:close/>
                <a:moveTo>
                  <a:pt x="14" y="290"/>
                </a:moveTo>
                <a:cubicBezTo>
                  <a:pt x="16" y="290"/>
                  <a:pt x="16" y="290"/>
                  <a:pt x="16" y="290"/>
                </a:cubicBezTo>
                <a:cubicBezTo>
                  <a:pt x="16" y="288"/>
                  <a:pt x="14" y="288"/>
                  <a:pt x="13" y="290"/>
                </a:cubicBezTo>
                <a:cubicBezTo>
                  <a:pt x="11" y="290"/>
                  <a:pt x="13" y="290"/>
                  <a:pt x="13" y="291"/>
                </a:cubicBezTo>
                <a:cubicBezTo>
                  <a:pt x="13" y="291"/>
                  <a:pt x="14" y="291"/>
                  <a:pt x="14" y="290"/>
                </a:cubicBezTo>
                <a:close/>
                <a:moveTo>
                  <a:pt x="17" y="290"/>
                </a:moveTo>
                <a:cubicBezTo>
                  <a:pt x="19" y="290"/>
                  <a:pt x="19" y="288"/>
                  <a:pt x="17" y="288"/>
                </a:cubicBezTo>
                <a:cubicBezTo>
                  <a:pt x="16" y="288"/>
                  <a:pt x="17" y="288"/>
                  <a:pt x="17" y="290"/>
                </a:cubicBezTo>
                <a:cubicBezTo>
                  <a:pt x="17" y="290"/>
                  <a:pt x="17" y="290"/>
                  <a:pt x="17" y="290"/>
                </a:cubicBezTo>
                <a:close/>
                <a:moveTo>
                  <a:pt x="19" y="301"/>
                </a:moveTo>
                <a:cubicBezTo>
                  <a:pt x="19" y="299"/>
                  <a:pt x="19" y="299"/>
                  <a:pt x="17" y="299"/>
                </a:cubicBezTo>
                <a:cubicBezTo>
                  <a:pt x="17" y="299"/>
                  <a:pt x="16" y="301"/>
                  <a:pt x="17" y="302"/>
                </a:cubicBezTo>
                <a:cubicBezTo>
                  <a:pt x="17" y="302"/>
                  <a:pt x="19" y="302"/>
                  <a:pt x="19" y="301"/>
                </a:cubicBezTo>
                <a:close/>
                <a:moveTo>
                  <a:pt x="13" y="301"/>
                </a:moveTo>
                <a:cubicBezTo>
                  <a:pt x="14" y="301"/>
                  <a:pt x="13" y="299"/>
                  <a:pt x="13" y="299"/>
                </a:cubicBezTo>
                <a:cubicBezTo>
                  <a:pt x="11" y="298"/>
                  <a:pt x="11" y="299"/>
                  <a:pt x="11" y="301"/>
                </a:cubicBezTo>
                <a:cubicBezTo>
                  <a:pt x="13" y="301"/>
                  <a:pt x="11" y="302"/>
                  <a:pt x="13" y="302"/>
                </a:cubicBezTo>
                <a:cubicBezTo>
                  <a:pt x="13" y="301"/>
                  <a:pt x="13" y="301"/>
                  <a:pt x="13" y="301"/>
                </a:cubicBezTo>
                <a:close/>
                <a:moveTo>
                  <a:pt x="14" y="301"/>
                </a:moveTo>
                <a:cubicBezTo>
                  <a:pt x="14" y="301"/>
                  <a:pt x="16" y="299"/>
                  <a:pt x="16" y="301"/>
                </a:cubicBezTo>
                <a:cubicBezTo>
                  <a:pt x="16" y="301"/>
                  <a:pt x="16" y="302"/>
                  <a:pt x="14" y="301"/>
                </a:cubicBezTo>
                <a:close/>
                <a:moveTo>
                  <a:pt x="17" y="304"/>
                </a:moveTo>
                <a:cubicBezTo>
                  <a:pt x="17" y="304"/>
                  <a:pt x="17" y="304"/>
                  <a:pt x="17" y="302"/>
                </a:cubicBezTo>
                <a:cubicBezTo>
                  <a:pt x="17" y="302"/>
                  <a:pt x="16" y="302"/>
                  <a:pt x="16" y="304"/>
                </a:cubicBezTo>
                <a:cubicBezTo>
                  <a:pt x="16" y="305"/>
                  <a:pt x="16" y="305"/>
                  <a:pt x="17" y="304"/>
                </a:cubicBezTo>
                <a:close/>
                <a:moveTo>
                  <a:pt x="6" y="305"/>
                </a:moveTo>
                <a:cubicBezTo>
                  <a:pt x="6" y="305"/>
                  <a:pt x="6" y="305"/>
                  <a:pt x="6" y="305"/>
                </a:cubicBezTo>
                <a:cubicBezTo>
                  <a:pt x="6" y="307"/>
                  <a:pt x="8" y="307"/>
                  <a:pt x="8" y="305"/>
                </a:cubicBezTo>
                <a:cubicBezTo>
                  <a:pt x="10" y="305"/>
                  <a:pt x="10" y="304"/>
                  <a:pt x="8" y="302"/>
                </a:cubicBezTo>
                <a:cubicBezTo>
                  <a:pt x="8" y="302"/>
                  <a:pt x="8" y="302"/>
                  <a:pt x="6" y="304"/>
                </a:cubicBezTo>
                <a:cubicBezTo>
                  <a:pt x="6" y="304"/>
                  <a:pt x="6" y="304"/>
                  <a:pt x="6" y="305"/>
                </a:cubicBezTo>
                <a:close/>
                <a:moveTo>
                  <a:pt x="13" y="287"/>
                </a:moveTo>
                <a:cubicBezTo>
                  <a:pt x="13" y="287"/>
                  <a:pt x="13" y="287"/>
                  <a:pt x="11" y="287"/>
                </a:cubicBezTo>
                <a:cubicBezTo>
                  <a:pt x="11" y="288"/>
                  <a:pt x="11" y="288"/>
                  <a:pt x="11" y="288"/>
                </a:cubicBezTo>
                <a:cubicBezTo>
                  <a:pt x="13" y="288"/>
                  <a:pt x="13" y="287"/>
                  <a:pt x="13" y="287"/>
                </a:cubicBezTo>
                <a:close/>
                <a:moveTo>
                  <a:pt x="14" y="288"/>
                </a:moveTo>
                <a:cubicBezTo>
                  <a:pt x="16" y="288"/>
                  <a:pt x="16" y="288"/>
                  <a:pt x="16" y="288"/>
                </a:cubicBezTo>
                <a:cubicBezTo>
                  <a:pt x="16" y="287"/>
                  <a:pt x="14" y="288"/>
                  <a:pt x="13" y="288"/>
                </a:cubicBezTo>
                <a:cubicBezTo>
                  <a:pt x="13" y="288"/>
                  <a:pt x="13" y="288"/>
                  <a:pt x="14" y="288"/>
                </a:cubicBezTo>
                <a:close/>
                <a:moveTo>
                  <a:pt x="14" y="285"/>
                </a:moveTo>
                <a:cubicBezTo>
                  <a:pt x="14" y="284"/>
                  <a:pt x="14" y="284"/>
                  <a:pt x="16" y="284"/>
                </a:cubicBezTo>
                <a:cubicBezTo>
                  <a:pt x="16" y="285"/>
                  <a:pt x="14" y="287"/>
                  <a:pt x="14" y="285"/>
                </a:cubicBezTo>
                <a:close/>
                <a:moveTo>
                  <a:pt x="19" y="284"/>
                </a:moveTo>
                <a:cubicBezTo>
                  <a:pt x="17" y="284"/>
                  <a:pt x="17" y="282"/>
                  <a:pt x="17" y="282"/>
                </a:cubicBezTo>
                <a:cubicBezTo>
                  <a:pt x="17" y="281"/>
                  <a:pt x="19" y="284"/>
                  <a:pt x="19" y="284"/>
                </a:cubicBezTo>
                <a:close/>
                <a:moveTo>
                  <a:pt x="8" y="277"/>
                </a:moveTo>
                <a:cubicBezTo>
                  <a:pt x="8" y="277"/>
                  <a:pt x="10" y="276"/>
                  <a:pt x="10" y="277"/>
                </a:cubicBezTo>
                <a:cubicBezTo>
                  <a:pt x="11" y="277"/>
                  <a:pt x="8" y="279"/>
                  <a:pt x="8" y="277"/>
                </a:cubicBezTo>
                <a:close/>
                <a:moveTo>
                  <a:pt x="10" y="302"/>
                </a:moveTo>
                <a:cubicBezTo>
                  <a:pt x="10" y="301"/>
                  <a:pt x="10" y="301"/>
                  <a:pt x="10" y="301"/>
                </a:cubicBezTo>
                <a:cubicBezTo>
                  <a:pt x="11" y="301"/>
                  <a:pt x="11" y="302"/>
                  <a:pt x="10" y="302"/>
                </a:cubicBezTo>
                <a:close/>
                <a:moveTo>
                  <a:pt x="16" y="299"/>
                </a:moveTo>
                <a:cubicBezTo>
                  <a:pt x="16" y="299"/>
                  <a:pt x="14" y="298"/>
                  <a:pt x="14" y="299"/>
                </a:cubicBezTo>
                <a:cubicBezTo>
                  <a:pt x="14" y="299"/>
                  <a:pt x="14" y="299"/>
                  <a:pt x="16" y="299"/>
                </a:cubicBezTo>
                <a:cubicBezTo>
                  <a:pt x="16" y="299"/>
                  <a:pt x="17" y="299"/>
                  <a:pt x="16" y="299"/>
                </a:cubicBezTo>
                <a:close/>
                <a:moveTo>
                  <a:pt x="17" y="293"/>
                </a:moveTo>
                <a:cubicBezTo>
                  <a:pt x="16" y="293"/>
                  <a:pt x="16" y="291"/>
                  <a:pt x="16" y="291"/>
                </a:cubicBezTo>
                <a:cubicBezTo>
                  <a:pt x="17" y="291"/>
                  <a:pt x="17" y="293"/>
                  <a:pt x="17" y="293"/>
                </a:cubicBezTo>
                <a:close/>
                <a:moveTo>
                  <a:pt x="51" y="417"/>
                </a:moveTo>
                <a:cubicBezTo>
                  <a:pt x="53" y="417"/>
                  <a:pt x="53" y="419"/>
                  <a:pt x="54" y="419"/>
                </a:cubicBezTo>
                <a:cubicBezTo>
                  <a:pt x="56" y="419"/>
                  <a:pt x="54" y="419"/>
                  <a:pt x="53" y="417"/>
                </a:cubicBezTo>
                <a:cubicBezTo>
                  <a:pt x="51" y="416"/>
                  <a:pt x="53" y="416"/>
                  <a:pt x="54" y="416"/>
                </a:cubicBezTo>
                <a:cubicBezTo>
                  <a:pt x="56" y="416"/>
                  <a:pt x="57" y="416"/>
                  <a:pt x="56" y="416"/>
                </a:cubicBezTo>
                <a:cubicBezTo>
                  <a:pt x="56" y="417"/>
                  <a:pt x="56" y="417"/>
                  <a:pt x="56" y="419"/>
                </a:cubicBezTo>
                <a:cubicBezTo>
                  <a:pt x="57" y="421"/>
                  <a:pt x="57" y="417"/>
                  <a:pt x="59" y="419"/>
                </a:cubicBezTo>
                <a:cubicBezTo>
                  <a:pt x="59" y="421"/>
                  <a:pt x="60" y="419"/>
                  <a:pt x="60" y="421"/>
                </a:cubicBezTo>
                <a:cubicBezTo>
                  <a:pt x="62" y="422"/>
                  <a:pt x="62" y="421"/>
                  <a:pt x="62" y="422"/>
                </a:cubicBezTo>
                <a:cubicBezTo>
                  <a:pt x="63" y="424"/>
                  <a:pt x="63" y="421"/>
                  <a:pt x="63" y="421"/>
                </a:cubicBezTo>
                <a:cubicBezTo>
                  <a:pt x="62" y="419"/>
                  <a:pt x="63" y="419"/>
                  <a:pt x="60" y="417"/>
                </a:cubicBezTo>
                <a:cubicBezTo>
                  <a:pt x="57" y="416"/>
                  <a:pt x="62" y="417"/>
                  <a:pt x="60" y="416"/>
                </a:cubicBezTo>
                <a:cubicBezTo>
                  <a:pt x="60" y="416"/>
                  <a:pt x="60" y="416"/>
                  <a:pt x="59" y="416"/>
                </a:cubicBezTo>
                <a:cubicBezTo>
                  <a:pt x="57" y="414"/>
                  <a:pt x="57" y="414"/>
                  <a:pt x="59" y="414"/>
                </a:cubicBezTo>
                <a:cubicBezTo>
                  <a:pt x="60" y="414"/>
                  <a:pt x="60" y="413"/>
                  <a:pt x="60" y="413"/>
                </a:cubicBezTo>
                <a:cubicBezTo>
                  <a:pt x="59" y="411"/>
                  <a:pt x="56" y="413"/>
                  <a:pt x="54" y="413"/>
                </a:cubicBezTo>
                <a:cubicBezTo>
                  <a:pt x="53" y="413"/>
                  <a:pt x="51" y="413"/>
                  <a:pt x="48" y="414"/>
                </a:cubicBezTo>
                <a:cubicBezTo>
                  <a:pt x="46" y="414"/>
                  <a:pt x="48" y="414"/>
                  <a:pt x="49" y="416"/>
                </a:cubicBezTo>
                <a:cubicBezTo>
                  <a:pt x="51" y="417"/>
                  <a:pt x="46" y="416"/>
                  <a:pt x="51" y="417"/>
                </a:cubicBezTo>
                <a:close/>
                <a:moveTo>
                  <a:pt x="51" y="413"/>
                </a:moveTo>
                <a:cubicBezTo>
                  <a:pt x="54" y="411"/>
                  <a:pt x="53" y="413"/>
                  <a:pt x="51" y="411"/>
                </a:cubicBezTo>
                <a:cubicBezTo>
                  <a:pt x="48" y="411"/>
                  <a:pt x="48" y="411"/>
                  <a:pt x="46" y="413"/>
                </a:cubicBezTo>
                <a:cubicBezTo>
                  <a:pt x="45" y="413"/>
                  <a:pt x="46" y="413"/>
                  <a:pt x="48" y="413"/>
                </a:cubicBezTo>
                <a:cubicBezTo>
                  <a:pt x="48" y="413"/>
                  <a:pt x="48" y="413"/>
                  <a:pt x="51" y="413"/>
                </a:cubicBezTo>
                <a:close/>
                <a:moveTo>
                  <a:pt x="43" y="413"/>
                </a:moveTo>
                <a:cubicBezTo>
                  <a:pt x="43" y="413"/>
                  <a:pt x="42" y="413"/>
                  <a:pt x="43" y="413"/>
                </a:cubicBezTo>
                <a:cubicBezTo>
                  <a:pt x="46" y="413"/>
                  <a:pt x="45" y="411"/>
                  <a:pt x="43" y="411"/>
                </a:cubicBezTo>
                <a:cubicBezTo>
                  <a:pt x="42" y="411"/>
                  <a:pt x="42" y="413"/>
                  <a:pt x="40" y="413"/>
                </a:cubicBezTo>
                <a:cubicBezTo>
                  <a:pt x="39" y="413"/>
                  <a:pt x="39" y="413"/>
                  <a:pt x="39" y="413"/>
                </a:cubicBezTo>
                <a:cubicBezTo>
                  <a:pt x="39" y="414"/>
                  <a:pt x="40" y="414"/>
                  <a:pt x="42" y="414"/>
                </a:cubicBezTo>
                <a:cubicBezTo>
                  <a:pt x="43" y="414"/>
                  <a:pt x="42" y="416"/>
                  <a:pt x="43" y="416"/>
                </a:cubicBezTo>
                <a:cubicBezTo>
                  <a:pt x="45" y="414"/>
                  <a:pt x="45" y="413"/>
                  <a:pt x="43" y="413"/>
                </a:cubicBezTo>
                <a:close/>
                <a:moveTo>
                  <a:pt x="39" y="411"/>
                </a:moveTo>
                <a:cubicBezTo>
                  <a:pt x="39" y="411"/>
                  <a:pt x="37" y="410"/>
                  <a:pt x="36" y="411"/>
                </a:cubicBezTo>
                <a:cubicBezTo>
                  <a:pt x="36" y="411"/>
                  <a:pt x="36" y="413"/>
                  <a:pt x="37" y="411"/>
                </a:cubicBezTo>
                <a:cubicBezTo>
                  <a:pt x="39" y="411"/>
                  <a:pt x="37" y="413"/>
                  <a:pt x="39" y="411"/>
                </a:cubicBezTo>
                <a:cubicBezTo>
                  <a:pt x="40" y="411"/>
                  <a:pt x="39" y="411"/>
                  <a:pt x="39" y="411"/>
                </a:cubicBezTo>
                <a:close/>
                <a:moveTo>
                  <a:pt x="65" y="424"/>
                </a:moveTo>
                <a:cubicBezTo>
                  <a:pt x="63" y="422"/>
                  <a:pt x="66" y="422"/>
                  <a:pt x="66" y="422"/>
                </a:cubicBezTo>
                <a:cubicBezTo>
                  <a:pt x="68" y="424"/>
                  <a:pt x="65" y="424"/>
                  <a:pt x="65" y="424"/>
                </a:cubicBezTo>
                <a:close/>
                <a:moveTo>
                  <a:pt x="68" y="421"/>
                </a:moveTo>
                <a:cubicBezTo>
                  <a:pt x="68" y="421"/>
                  <a:pt x="68" y="419"/>
                  <a:pt x="68" y="421"/>
                </a:cubicBezTo>
                <a:cubicBezTo>
                  <a:pt x="68" y="422"/>
                  <a:pt x="66" y="421"/>
                  <a:pt x="66" y="421"/>
                </a:cubicBezTo>
                <a:cubicBezTo>
                  <a:pt x="66" y="422"/>
                  <a:pt x="66" y="422"/>
                  <a:pt x="68" y="422"/>
                </a:cubicBezTo>
                <a:cubicBezTo>
                  <a:pt x="69" y="422"/>
                  <a:pt x="69" y="422"/>
                  <a:pt x="68" y="421"/>
                </a:cubicBezTo>
                <a:close/>
                <a:moveTo>
                  <a:pt x="33" y="403"/>
                </a:moveTo>
                <a:cubicBezTo>
                  <a:pt x="33" y="402"/>
                  <a:pt x="34" y="402"/>
                  <a:pt x="34" y="402"/>
                </a:cubicBezTo>
                <a:cubicBezTo>
                  <a:pt x="33" y="400"/>
                  <a:pt x="34" y="399"/>
                  <a:pt x="33" y="399"/>
                </a:cubicBezTo>
                <a:cubicBezTo>
                  <a:pt x="31" y="399"/>
                  <a:pt x="31" y="399"/>
                  <a:pt x="31" y="399"/>
                </a:cubicBezTo>
                <a:cubicBezTo>
                  <a:pt x="31" y="400"/>
                  <a:pt x="29" y="399"/>
                  <a:pt x="29" y="399"/>
                </a:cubicBezTo>
                <a:cubicBezTo>
                  <a:pt x="28" y="400"/>
                  <a:pt x="29" y="400"/>
                  <a:pt x="29" y="402"/>
                </a:cubicBezTo>
                <a:cubicBezTo>
                  <a:pt x="31" y="402"/>
                  <a:pt x="33" y="402"/>
                  <a:pt x="31" y="403"/>
                </a:cubicBezTo>
                <a:cubicBezTo>
                  <a:pt x="31" y="405"/>
                  <a:pt x="33" y="405"/>
                  <a:pt x="33" y="403"/>
                </a:cubicBezTo>
                <a:cubicBezTo>
                  <a:pt x="33" y="403"/>
                  <a:pt x="33" y="403"/>
                  <a:pt x="33" y="403"/>
                </a:cubicBezTo>
                <a:close/>
                <a:moveTo>
                  <a:pt x="22" y="377"/>
                </a:moveTo>
                <a:cubicBezTo>
                  <a:pt x="22" y="375"/>
                  <a:pt x="23" y="374"/>
                  <a:pt x="23" y="374"/>
                </a:cubicBezTo>
                <a:cubicBezTo>
                  <a:pt x="25" y="374"/>
                  <a:pt x="23" y="377"/>
                  <a:pt x="22" y="377"/>
                </a:cubicBezTo>
                <a:close/>
                <a:moveTo>
                  <a:pt x="28" y="400"/>
                </a:moveTo>
                <a:cubicBezTo>
                  <a:pt x="28" y="402"/>
                  <a:pt x="28" y="402"/>
                  <a:pt x="28" y="400"/>
                </a:cubicBezTo>
                <a:cubicBezTo>
                  <a:pt x="28" y="399"/>
                  <a:pt x="31" y="399"/>
                  <a:pt x="29" y="397"/>
                </a:cubicBezTo>
                <a:cubicBezTo>
                  <a:pt x="29" y="397"/>
                  <a:pt x="28" y="397"/>
                  <a:pt x="28" y="396"/>
                </a:cubicBezTo>
                <a:cubicBezTo>
                  <a:pt x="28" y="396"/>
                  <a:pt x="26" y="394"/>
                  <a:pt x="25" y="396"/>
                </a:cubicBezTo>
                <a:cubicBezTo>
                  <a:pt x="25" y="396"/>
                  <a:pt x="25" y="394"/>
                  <a:pt x="25" y="396"/>
                </a:cubicBezTo>
                <a:cubicBezTo>
                  <a:pt x="23" y="396"/>
                  <a:pt x="25" y="394"/>
                  <a:pt x="23" y="393"/>
                </a:cubicBezTo>
                <a:cubicBezTo>
                  <a:pt x="22" y="393"/>
                  <a:pt x="23" y="394"/>
                  <a:pt x="20" y="394"/>
                </a:cubicBezTo>
                <a:cubicBezTo>
                  <a:pt x="19" y="393"/>
                  <a:pt x="22" y="396"/>
                  <a:pt x="20" y="396"/>
                </a:cubicBezTo>
                <a:cubicBezTo>
                  <a:pt x="19" y="396"/>
                  <a:pt x="19" y="394"/>
                  <a:pt x="19" y="396"/>
                </a:cubicBezTo>
                <a:cubicBezTo>
                  <a:pt x="17" y="397"/>
                  <a:pt x="19" y="396"/>
                  <a:pt x="19" y="397"/>
                </a:cubicBezTo>
                <a:cubicBezTo>
                  <a:pt x="19" y="399"/>
                  <a:pt x="20" y="396"/>
                  <a:pt x="20" y="397"/>
                </a:cubicBezTo>
                <a:cubicBezTo>
                  <a:pt x="22" y="399"/>
                  <a:pt x="20" y="400"/>
                  <a:pt x="22" y="400"/>
                </a:cubicBezTo>
                <a:cubicBezTo>
                  <a:pt x="23" y="402"/>
                  <a:pt x="22" y="397"/>
                  <a:pt x="23" y="399"/>
                </a:cubicBezTo>
                <a:cubicBezTo>
                  <a:pt x="23" y="400"/>
                  <a:pt x="25" y="397"/>
                  <a:pt x="25" y="399"/>
                </a:cubicBezTo>
                <a:cubicBezTo>
                  <a:pt x="25" y="402"/>
                  <a:pt x="22" y="402"/>
                  <a:pt x="23" y="402"/>
                </a:cubicBezTo>
                <a:cubicBezTo>
                  <a:pt x="25" y="402"/>
                  <a:pt x="25" y="400"/>
                  <a:pt x="26" y="402"/>
                </a:cubicBezTo>
                <a:cubicBezTo>
                  <a:pt x="26" y="402"/>
                  <a:pt x="26" y="400"/>
                  <a:pt x="28" y="400"/>
                </a:cubicBezTo>
                <a:close/>
                <a:moveTo>
                  <a:pt x="29" y="403"/>
                </a:moveTo>
                <a:cubicBezTo>
                  <a:pt x="29" y="402"/>
                  <a:pt x="29" y="400"/>
                  <a:pt x="28" y="402"/>
                </a:cubicBezTo>
                <a:cubicBezTo>
                  <a:pt x="28" y="403"/>
                  <a:pt x="26" y="402"/>
                  <a:pt x="28" y="403"/>
                </a:cubicBezTo>
                <a:cubicBezTo>
                  <a:pt x="28" y="403"/>
                  <a:pt x="28" y="403"/>
                  <a:pt x="29" y="403"/>
                </a:cubicBezTo>
                <a:close/>
                <a:moveTo>
                  <a:pt x="14" y="391"/>
                </a:moveTo>
                <a:cubicBezTo>
                  <a:pt x="16" y="391"/>
                  <a:pt x="14" y="393"/>
                  <a:pt x="13" y="393"/>
                </a:cubicBezTo>
                <a:cubicBezTo>
                  <a:pt x="13" y="391"/>
                  <a:pt x="14" y="391"/>
                  <a:pt x="14" y="391"/>
                </a:cubicBezTo>
                <a:close/>
                <a:moveTo>
                  <a:pt x="17" y="383"/>
                </a:moveTo>
                <a:cubicBezTo>
                  <a:pt x="17" y="382"/>
                  <a:pt x="17" y="382"/>
                  <a:pt x="17" y="382"/>
                </a:cubicBezTo>
                <a:cubicBezTo>
                  <a:pt x="17" y="380"/>
                  <a:pt x="17" y="382"/>
                  <a:pt x="16" y="382"/>
                </a:cubicBezTo>
                <a:cubicBezTo>
                  <a:pt x="14" y="383"/>
                  <a:pt x="16" y="383"/>
                  <a:pt x="16" y="385"/>
                </a:cubicBezTo>
                <a:cubicBezTo>
                  <a:pt x="16" y="385"/>
                  <a:pt x="17" y="385"/>
                  <a:pt x="17" y="383"/>
                </a:cubicBezTo>
                <a:close/>
                <a:moveTo>
                  <a:pt x="16" y="391"/>
                </a:moveTo>
                <a:cubicBezTo>
                  <a:pt x="17" y="391"/>
                  <a:pt x="17" y="389"/>
                  <a:pt x="19" y="391"/>
                </a:cubicBezTo>
                <a:cubicBezTo>
                  <a:pt x="19" y="391"/>
                  <a:pt x="17" y="391"/>
                  <a:pt x="19" y="393"/>
                </a:cubicBezTo>
                <a:cubicBezTo>
                  <a:pt x="19" y="393"/>
                  <a:pt x="19" y="391"/>
                  <a:pt x="20" y="393"/>
                </a:cubicBezTo>
                <a:cubicBezTo>
                  <a:pt x="22" y="393"/>
                  <a:pt x="22" y="393"/>
                  <a:pt x="22" y="391"/>
                </a:cubicBezTo>
                <a:cubicBezTo>
                  <a:pt x="20" y="391"/>
                  <a:pt x="20" y="389"/>
                  <a:pt x="19" y="389"/>
                </a:cubicBezTo>
                <a:cubicBezTo>
                  <a:pt x="19" y="389"/>
                  <a:pt x="19" y="388"/>
                  <a:pt x="17" y="389"/>
                </a:cubicBezTo>
                <a:cubicBezTo>
                  <a:pt x="17" y="389"/>
                  <a:pt x="17" y="388"/>
                  <a:pt x="16" y="388"/>
                </a:cubicBezTo>
                <a:cubicBezTo>
                  <a:pt x="14" y="388"/>
                  <a:pt x="13" y="388"/>
                  <a:pt x="11" y="386"/>
                </a:cubicBezTo>
                <a:cubicBezTo>
                  <a:pt x="10" y="385"/>
                  <a:pt x="8" y="385"/>
                  <a:pt x="10" y="386"/>
                </a:cubicBezTo>
                <a:cubicBezTo>
                  <a:pt x="11" y="386"/>
                  <a:pt x="10" y="386"/>
                  <a:pt x="11" y="388"/>
                </a:cubicBezTo>
                <a:cubicBezTo>
                  <a:pt x="13" y="388"/>
                  <a:pt x="11" y="389"/>
                  <a:pt x="14" y="389"/>
                </a:cubicBezTo>
                <a:cubicBezTo>
                  <a:pt x="14" y="389"/>
                  <a:pt x="16" y="389"/>
                  <a:pt x="16" y="391"/>
                </a:cubicBezTo>
                <a:close/>
                <a:moveTo>
                  <a:pt x="14" y="371"/>
                </a:moveTo>
                <a:cubicBezTo>
                  <a:pt x="14" y="369"/>
                  <a:pt x="14" y="371"/>
                  <a:pt x="14" y="372"/>
                </a:cubicBezTo>
                <a:cubicBezTo>
                  <a:pt x="13" y="372"/>
                  <a:pt x="14" y="374"/>
                  <a:pt x="16" y="374"/>
                </a:cubicBezTo>
                <a:cubicBezTo>
                  <a:pt x="16" y="372"/>
                  <a:pt x="16" y="371"/>
                  <a:pt x="14" y="371"/>
                </a:cubicBezTo>
                <a:close/>
                <a:moveTo>
                  <a:pt x="8" y="375"/>
                </a:moveTo>
                <a:cubicBezTo>
                  <a:pt x="8" y="374"/>
                  <a:pt x="10" y="374"/>
                  <a:pt x="10" y="372"/>
                </a:cubicBezTo>
                <a:cubicBezTo>
                  <a:pt x="8" y="371"/>
                  <a:pt x="8" y="371"/>
                  <a:pt x="8" y="372"/>
                </a:cubicBezTo>
                <a:cubicBezTo>
                  <a:pt x="8" y="374"/>
                  <a:pt x="8" y="374"/>
                  <a:pt x="8" y="372"/>
                </a:cubicBezTo>
                <a:cubicBezTo>
                  <a:pt x="6" y="372"/>
                  <a:pt x="6" y="374"/>
                  <a:pt x="6" y="374"/>
                </a:cubicBezTo>
                <a:cubicBezTo>
                  <a:pt x="8" y="375"/>
                  <a:pt x="6" y="375"/>
                  <a:pt x="6" y="377"/>
                </a:cubicBezTo>
                <a:cubicBezTo>
                  <a:pt x="6" y="377"/>
                  <a:pt x="8" y="377"/>
                  <a:pt x="8" y="375"/>
                </a:cubicBezTo>
                <a:close/>
                <a:moveTo>
                  <a:pt x="13" y="374"/>
                </a:moveTo>
                <a:cubicBezTo>
                  <a:pt x="11" y="372"/>
                  <a:pt x="11" y="372"/>
                  <a:pt x="11" y="372"/>
                </a:cubicBezTo>
                <a:cubicBezTo>
                  <a:pt x="13" y="374"/>
                  <a:pt x="11" y="374"/>
                  <a:pt x="13" y="375"/>
                </a:cubicBezTo>
                <a:cubicBezTo>
                  <a:pt x="14" y="375"/>
                  <a:pt x="14" y="374"/>
                  <a:pt x="13" y="374"/>
                </a:cubicBezTo>
                <a:close/>
                <a:moveTo>
                  <a:pt x="16" y="377"/>
                </a:moveTo>
                <a:cubicBezTo>
                  <a:pt x="17" y="380"/>
                  <a:pt x="17" y="378"/>
                  <a:pt x="17" y="377"/>
                </a:cubicBezTo>
                <a:cubicBezTo>
                  <a:pt x="16" y="375"/>
                  <a:pt x="14" y="374"/>
                  <a:pt x="14" y="375"/>
                </a:cubicBezTo>
                <a:cubicBezTo>
                  <a:pt x="14" y="377"/>
                  <a:pt x="14" y="375"/>
                  <a:pt x="16" y="377"/>
                </a:cubicBezTo>
                <a:close/>
                <a:moveTo>
                  <a:pt x="16" y="380"/>
                </a:moveTo>
                <a:cubicBezTo>
                  <a:pt x="16" y="380"/>
                  <a:pt x="16" y="378"/>
                  <a:pt x="14" y="377"/>
                </a:cubicBezTo>
                <a:cubicBezTo>
                  <a:pt x="13" y="377"/>
                  <a:pt x="11" y="377"/>
                  <a:pt x="13" y="377"/>
                </a:cubicBezTo>
                <a:cubicBezTo>
                  <a:pt x="13" y="378"/>
                  <a:pt x="13" y="377"/>
                  <a:pt x="13" y="378"/>
                </a:cubicBezTo>
                <a:cubicBezTo>
                  <a:pt x="14" y="378"/>
                  <a:pt x="13" y="378"/>
                  <a:pt x="14" y="380"/>
                </a:cubicBezTo>
                <a:cubicBezTo>
                  <a:pt x="14" y="382"/>
                  <a:pt x="14" y="380"/>
                  <a:pt x="16" y="380"/>
                </a:cubicBezTo>
                <a:close/>
                <a:moveTo>
                  <a:pt x="10" y="375"/>
                </a:moveTo>
                <a:cubicBezTo>
                  <a:pt x="11" y="374"/>
                  <a:pt x="10" y="374"/>
                  <a:pt x="10" y="375"/>
                </a:cubicBezTo>
                <a:cubicBezTo>
                  <a:pt x="8" y="377"/>
                  <a:pt x="8" y="378"/>
                  <a:pt x="8" y="377"/>
                </a:cubicBezTo>
                <a:cubicBezTo>
                  <a:pt x="10" y="377"/>
                  <a:pt x="10" y="377"/>
                  <a:pt x="10" y="375"/>
                </a:cubicBezTo>
                <a:close/>
                <a:moveTo>
                  <a:pt x="10" y="380"/>
                </a:moveTo>
                <a:cubicBezTo>
                  <a:pt x="10" y="380"/>
                  <a:pt x="11" y="378"/>
                  <a:pt x="10" y="378"/>
                </a:cubicBezTo>
                <a:cubicBezTo>
                  <a:pt x="8" y="378"/>
                  <a:pt x="8" y="378"/>
                  <a:pt x="8" y="378"/>
                </a:cubicBezTo>
                <a:cubicBezTo>
                  <a:pt x="8" y="378"/>
                  <a:pt x="8" y="378"/>
                  <a:pt x="10" y="380"/>
                </a:cubicBezTo>
                <a:close/>
                <a:moveTo>
                  <a:pt x="6" y="369"/>
                </a:moveTo>
                <a:cubicBezTo>
                  <a:pt x="6" y="368"/>
                  <a:pt x="6" y="368"/>
                  <a:pt x="6" y="368"/>
                </a:cubicBezTo>
                <a:cubicBezTo>
                  <a:pt x="5" y="366"/>
                  <a:pt x="5" y="368"/>
                  <a:pt x="5" y="369"/>
                </a:cubicBezTo>
                <a:cubicBezTo>
                  <a:pt x="5" y="371"/>
                  <a:pt x="3" y="372"/>
                  <a:pt x="5" y="371"/>
                </a:cubicBezTo>
                <a:cubicBezTo>
                  <a:pt x="6" y="371"/>
                  <a:pt x="5" y="369"/>
                  <a:pt x="6" y="369"/>
                </a:cubicBezTo>
                <a:close/>
                <a:moveTo>
                  <a:pt x="14" y="369"/>
                </a:moveTo>
                <a:cubicBezTo>
                  <a:pt x="13" y="369"/>
                  <a:pt x="13" y="368"/>
                  <a:pt x="13" y="368"/>
                </a:cubicBezTo>
                <a:cubicBezTo>
                  <a:pt x="14" y="368"/>
                  <a:pt x="14" y="369"/>
                  <a:pt x="14" y="369"/>
                </a:cubicBezTo>
                <a:close/>
                <a:moveTo>
                  <a:pt x="14" y="368"/>
                </a:moveTo>
                <a:cubicBezTo>
                  <a:pt x="14" y="366"/>
                  <a:pt x="16" y="366"/>
                  <a:pt x="16" y="368"/>
                </a:cubicBezTo>
                <a:cubicBezTo>
                  <a:pt x="16" y="368"/>
                  <a:pt x="14" y="369"/>
                  <a:pt x="14" y="368"/>
                </a:cubicBezTo>
                <a:close/>
                <a:moveTo>
                  <a:pt x="10" y="368"/>
                </a:moveTo>
                <a:cubicBezTo>
                  <a:pt x="10" y="369"/>
                  <a:pt x="11" y="369"/>
                  <a:pt x="11" y="368"/>
                </a:cubicBezTo>
                <a:cubicBezTo>
                  <a:pt x="10" y="368"/>
                  <a:pt x="11" y="366"/>
                  <a:pt x="10" y="366"/>
                </a:cubicBezTo>
                <a:cubicBezTo>
                  <a:pt x="8" y="366"/>
                  <a:pt x="8" y="368"/>
                  <a:pt x="8" y="368"/>
                </a:cubicBezTo>
                <a:cubicBezTo>
                  <a:pt x="6" y="369"/>
                  <a:pt x="6" y="369"/>
                  <a:pt x="8" y="369"/>
                </a:cubicBezTo>
                <a:cubicBezTo>
                  <a:pt x="10" y="369"/>
                  <a:pt x="10" y="368"/>
                  <a:pt x="10" y="368"/>
                </a:cubicBezTo>
                <a:close/>
                <a:moveTo>
                  <a:pt x="13" y="366"/>
                </a:moveTo>
                <a:cubicBezTo>
                  <a:pt x="13" y="363"/>
                  <a:pt x="13" y="363"/>
                  <a:pt x="13" y="363"/>
                </a:cubicBezTo>
                <a:cubicBezTo>
                  <a:pt x="13" y="363"/>
                  <a:pt x="14" y="366"/>
                  <a:pt x="13" y="366"/>
                </a:cubicBezTo>
                <a:close/>
                <a:moveTo>
                  <a:pt x="11" y="349"/>
                </a:moveTo>
                <a:cubicBezTo>
                  <a:pt x="13" y="349"/>
                  <a:pt x="11" y="347"/>
                  <a:pt x="11" y="347"/>
                </a:cubicBezTo>
                <a:cubicBezTo>
                  <a:pt x="11" y="349"/>
                  <a:pt x="10" y="347"/>
                  <a:pt x="11" y="347"/>
                </a:cubicBezTo>
                <a:cubicBezTo>
                  <a:pt x="11" y="346"/>
                  <a:pt x="11" y="344"/>
                  <a:pt x="11" y="341"/>
                </a:cubicBezTo>
                <a:cubicBezTo>
                  <a:pt x="11" y="338"/>
                  <a:pt x="11" y="336"/>
                  <a:pt x="11" y="336"/>
                </a:cubicBezTo>
                <a:cubicBezTo>
                  <a:pt x="10" y="336"/>
                  <a:pt x="10" y="336"/>
                  <a:pt x="8" y="336"/>
                </a:cubicBezTo>
                <a:cubicBezTo>
                  <a:pt x="6" y="338"/>
                  <a:pt x="6" y="338"/>
                  <a:pt x="6" y="338"/>
                </a:cubicBezTo>
                <a:cubicBezTo>
                  <a:pt x="8" y="340"/>
                  <a:pt x="6" y="340"/>
                  <a:pt x="8" y="340"/>
                </a:cubicBezTo>
                <a:cubicBezTo>
                  <a:pt x="8" y="341"/>
                  <a:pt x="8" y="343"/>
                  <a:pt x="8" y="344"/>
                </a:cubicBezTo>
                <a:cubicBezTo>
                  <a:pt x="6" y="343"/>
                  <a:pt x="6" y="343"/>
                  <a:pt x="6" y="343"/>
                </a:cubicBezTo>
                <a:cubicBezTo>
                  <a:pt x="5" y="344"/>
                  <a:pt x="5" y="343"/>
                  <a:pt x="5" y="343"/>
                </a:cubicBezTo>
                <a:cubicBezTo>
                  <a:pt x="3" y="344"/>
                  <a:pt x="3" y="344"/>
                  <a:pt x="5" y="346"/>
                </a:cubicBezTo>
                <a:cubicBezTo>
                  <a:pt x="5" y="347"/>
                  <a:pt x="5" y="349"/>
                  <a:pt x="6" y="351"/>
                </a:cubicBezTo>
                <a:cubicBezTo>
                  <a:pt x="8" y="352"/>
                  <a:pt x="8" y="349"/>
                  <a:pt x="6" y="347"/>
                </a:cubicBezTo>
                <a:cubicBezTo>
                  <a:pt x="6" y="346"/>
                  <a:pt x="6" y="346"/>
                  <a:pt x="8" y="347"/>
                </a:cubicBezTo>
                <a:cubicBezTo>
                  <a:pt x="10" y="347"/>
                  <a:pt x="8" y="347"/>
                  <a:pt x="8" y="349"/>
                </a:cubicBezTo>
                <a:cubicBezTo>
                  <a:pt x="8" y="351"/>
                  <a:pt x="8" y="349"/>
                  <a:pt x="8" y="351"/>
                </a:cubicBezTo>
                <a:cubicBezTo>
                  <a:pt x="8" y="352"/>
                  <a:pt x="8" y="352"/>
                  <a:pt x="10" y="352"/>
                </a:cubicBezTo>
                <a:cubicBezTo>
                  <a:pt x="13" y="352"/>
                  <a:pt x="11" y="349"/>
                  <a:pt x="11" y="349"/>
                </a:cubicBezTo>
                <a:close/>
                <a:moveTo>
                  <a:pt x="5" y="360"/>
                </a:moveTo>
                <a:cubicBezTo>
                  <a:pt x="6" y="358"/>
                  <a:pt x="6" y="358"/>
                  <a:pt x="5" y="358"/>
                </a:cubicBezTo>
                <a:cubicBezTo>
                  <a:pt x="2" y="357"/>
                  <a:pt x="5" y="358"/>
                  <a:pt x="3" y="360"/>
                </a:cubicBezTo>
                <a:cubicBezTo>
                  <a:pt x="3" y="360"/>
                  <a:pt x="2" y="361"/>
                  <a:pt x="3" y="361"/>
                </a:cubicBezTo>
                <a:cubicBezTo>
                  <a:pt x="5" y="361"/>
                  <a:pt x="5" y="360"/>
                  <a:pt x="5" y="360"/>
                </a:cubicBezTo>
                <a:close/>
                <a:moveTo>
                  <a:pt x="13" y="361"/>
                </a:moveTo>
                <a:cubicBezTo>
                  <a:pt x="14" y="361"/>
                  <a:pt x="14" y="361"/>
                  <a:pt x="13" y="360"/>
                </a:cubicBezTo>
                <a:cubicBezTo>
                  <a:pt x="13" y="358"/>
                  <a:pt x="13" y="358"/>
                  <a:pt x="11" y="357"/>
                </a:cubicBezTo>
                <a:cubicBezTo>
                  <a:pt x="11" y="357"/>
                  <a:pt x="10" y="357"/>
                  <a:pt x="11" y="358"/>
                </a:cubicBezTo>
                <a:cubicBezTo>
                  <a:pt x="13" y="360"/>
                  <a:pt x="10" y="358"/>
                  <a:pt x="11" y="361"/>
                </a:cubicBezTo>
                <a:cubicBezTo>
                  <a:pt x="13" y="361"/>
                  <a:pt x="13" y="361"/>
                  <a:pt x="13" y="361"/>
                </a:cubicBezTo>
                <a:close/>
                <a:moveTo>
                  <a:pt x="3" y="349"/>
                </a:moveTo>
                <a:cubicBezTo>
                  <a:pt x="5" y="349"/>
                  <a:pt x="3" y="351"/>
                  <a:pt x="5" y="351"/>
                </a:cubicBezTo>
                <a:cubicBezTo>
                  <a:pt x="5" y="351"/>
                  <a:pt x="5" y="351"/>
                  <a:pt x="5" y="349"/>
                </a:cubicBezTo>
                <a:cubicBezTo>
                  <a:pt x="5" y="347"/>
                  <a:pt x="5" y="347"/>
                  <a:pt x="3" y="347"/>
                </a:cubicBezTo>
                <a:cubicBezTo>
                  <a:pt x="2" y="347"/>
                  <a:pt x="2" y="347"/>
                  <a:pt x="2" y="351"/>
                </a:cubicBezTo>
                <a:cubicBezTo>
                  <a:pt x="2" y="351"/>
                  <a:pt x="3" y="351"/>
                  <a:pt x="3" y="349"/>
                </a:cubicBezTo>
                <a:close/>
                <a:moveTo>
                  <a:pt x="5" y="357"/>
                </a:moveTo>
                <a:cubicBezTo>
                  <a:pt x="5" y="357"/>
                  <a:pt x="5" y="358"/>
                  <a:pt x="6" y="357"/>
                </a:cubicBezTo>
                <a:cubicBezTo>
                  <a:pt x="6" y="355"/>
                  <a:pt x="6" y="357"/>
                  <a:pt x="8" y="357"/>
                </a:cubicBezTo>
                <a:cubicBezTo>
                  <a:pt x="8" y="355"/>
                  <a:pt x="6" y="355"/>
                  <a:pt x="8" y="355"/>
                </a:cubicBezTo>
                <a:cubicBezTo>
                  <a:pt x="10" y="354"/>
                  <a:pt x="8" y="354"/>
                  <a:pt x="8" y="354"/>
                </a:cubicBezTo>
                <a:cubicBezTo>
                  <a:pt x="6" y="355"/>
                  <a:pt x="8" y="352"/>
                  <a:pt x="6" y="354"/>
                </a:cubicBezTo>
                <a:cubicBezTo>
                  <a:pt x="6" y="354"/>
                  <a:pt x="5" y="352"/>
                  <a:pt x="3" y="352"/>
                </a:cubicBezTo>
                <a:cubicBezTo>
                  <a:pt x="2" y="352"/>
                  <a:pt x="6" y="354"/>
                  <a:pt x="5" y="354"/>
                </a:cubicBezTo>
                <a:cubicBezTo>
                  <a:pt x="5" y="355"/>
                  <a:pt x="3" y="352"/>
                  <a:pt x="3" y="355"/>
                </a:cubicBezTo>
                <a:cubicBezTo>
                  <a:pt x="3" y="357"/>
                  <a:pt x="5" y="355"/>
                  <a:pt x="5" y="357"/>
                </a:cubicBezTo>
                <a:close/>
                <a:moveTo>
                  <a:pt x="11" y="364"/>
                </a:moveTo>
                <a:cubicBezTo>
                  <a:pt x="11" y="364"/>
                  <a:pt x="13" y="363"/>
                  <a:pt x="11" y="363"/>
                </a:cubicBezTo>
                <a:cubicBezTo>
                  <a:pt x="11" y="361"/>
                  <a:pt x="10" y="360"/>
                  <a:pt x="10" y="361"/>
                </a:cubicBezTo>
                <a:cubicBezTo>
                  <a:pt x="10" y="363"/>
                  <a:pt x="11" y="363"/>
                  <a:pt x="10" y="363"/>
                </a:cubicBezTo>
                <a:cubicBezTo>
                  <a:pt x="6" y="363"/>
                  <a:pt x="6" y="363"/>
                  <a:pt x="8" y="363"/>
                </a:cubicBezTo>
                <a:cubicBezTo>
                  <a:pt x="10" y="364"/>
                  <a:pt x="8" y="364"/>
                  <a:pt x="10" y="364"/>
                </a:cubicBezTo>
                <a:cubicBezTo>
                  <a:pt x="10" y="366"/>
                  <a:pt x="11" y="363"/>
                  <a:pt x="11" y="364"/>
                </a:cubicBezTo>
                <a:close/>
                <a:moveTo>
                  <a:pt x="10" y="363"/>
                </a:moveTo>
                <a:cubicBezTo>
                  <a:pt x="8" y="361"/>
                  <a:pt x="6" y="361"/>
                  <a:pt x="8" y="360"/>
                </a:cubicBezTo>
                <a:cubicBezTo>
                  <a:pt x="10" y="363"/>
                  <a:pt x="10" y="363"/>
                  <a:pt x="10" y="363"/>
                </a:cubicBezTo>
                <a:close/>
                <a:moveTo>
                  <a:pt x="11" y="366"/>
                </a:moveTo>
                <a:cubicBezTo>
                  <a:pt x="10" y="366"/>
                  <a:pt x="11" y="364"/>
                  <a:pt x="11" y="364"/>
                </a:cubicBezTo>
                <a:cubicBezTo>
                  <a:pt x="11" y="366"/>
                  <a:pt x="13" y="368"/>
                  <a:pt x="11" y="366"/>
                </a:cubicBezTo>
                <a:close/>
                <a:moveTo>
                  <a:pt x="8" y="341"/>
                </a:moveTo>
                <a:cubicBezTo>
                  <a:pt x="8" y="341"/>
                  <a:pt x="5" y="340"/>
                  <a:pt x="5" y="341"/>
                </a:cubicBezTo>
                <a:cubicBezTo>
                  <a:pt x="5" y="343"/>
                  <a:pt x="6" y="341"/>
                  <a:pt x="6" y="343"/>
                </a:cubicBezTo>
                <a:cubicBezTo>
                  <a:pt x="8" y="343"/>
                  <a:pt x="8" y="343"/>
                  <a:pt x="8" y="341"/>
                </a:cubicBezTo>
                <a:close/>
                <a:moveTo>
                  <a:pt x="11" y="335"/>
                </a:moveTo>
                <a:cubicBezTo>
                  <a:pt x="11" y="335"/>
                  <a:pt x="11" y="336"/>
                  <a:pt x="11" y="335"/>
                </a:cubicBezTo>
                <a:cubicBezTo>
                  <a:pt x="10" y="333"/>
                  <a:pt x="11" y="333"/>
                  <a:pt x="11" y="332"/>
                </a:cubicBezTo>
                <a:cubicBezTo>
                  <a:pt x="10" y="330"/>
                  <a:pt x="10" y="329"/>
                  <a:pt x="10" y="330"/>
                </a:cubicBezTo>
                <a:cubicBezTo>
                  <a:pt x="8" y="332"/>
                  <a:pt x="10" y="332"/>
                  <a:pt x="10" y="333"/>
                </a:cubicBezTo>
                <a:cubicBezTo>
                  <a:pt x="10" y="335"/>
                  <a:pt x="8" y="332"/>
                  <a:pt x="6" y="333"/>
                </a:cubicBezTo>
                <a:cubicBezTo>
                  <a:pt x="6" y="335"/>
                  <a:pt x="8" y="335"/>
                  <a:pt x="10" y="336"/>
                </a:cubicBezTo>
                <a:cubicBezTo>
                  <a:pt x="11" y="336"/>
                  <a:pt x="11" y="336"/>
                  <a:pt x="11" y="335"/>
                </a:cubicBezTo>
                <a:close/>
                <a:moveTo>
                  <a:pt x="16" y="327"/>
                </a:moveTo>
                <a:cubicBezTo>
                  <a:pt x="16" y="329"/>
                  <a:pt x="16" y="327"/>
                  <a:pt x="17" y="327"/>
                </a:cubicBezTo>
                <a:cubicBezTo>
                  <a:pt x="17" y="327"/>
                  <a:pt x="16" y="327"/>
                  <a:pt x="14" y="326"/>
                </a:cubicBezTo>
                <a:cubicBezTo>
                  <a:pt x="14" y="326"/>
                  <a:pt x="11" y="326"/>
                  <a:pt x="11" y="327"/>
                </a:cubicBezTo>
                <a:cubicBezTo>
                  <a:pt x="11" y="329"/>
                  <a:pt x="14" y="327"/>
                  <a:pt x="16" y="327"/>
                </a:cubicBezTo>
                <a:close/>
                <a:moveTo>
                  <a:pt x="8" y="333"/>
                </a:moveTo>
                <a:cubicBezTo>
                  <a:pt x="8" y="332"/>
                  <a:pt x="8" y="332"/>
                  <a:pt x="8" y="330"/>
                </a:cubicBezTo>
                <a:cubicBezTo>
                  <a:pt x="8" y="330"/>
                  <a:pt x="6" y="330"/>
                  <a:pt x="6" y="329"/>
                </a:cubicBezTo>
                <a:cubicBezTo>
                  <a:pt x="5" y="329"/>
                  <a:pt x="5" y="332"/>
                  <a:pt x="6" y="333"/>
                </a:cubicBezTo>
                <a:cubicBezTo>
                  <a:pt x="8" y="333"/>
                  <a:pt x="8" y="333"/>
                  <a:pt x="8" y="333"/>
                </a:cubicBezTo>
                <a:close/>
                <a:moveTo>
                  <a:pt x="3" y="343"/>
                </a:moveTo>
                <a:cubicBezTo>
                  <a:pt x="3" y="341"/>
                  <a:pt x="5" y="343"/>
                  <a:pt x="3" y="341"/>
                </a:cubicBezTo>
                <a:cubicBezTo>
                  <a:pt x="3" y="340"/>
                  <a:pt x="3" y="341"/>
                  <a:pt x="3" y="341"/>
                </a:cubicBezTo>
                <a:cubicBezTo>
                  <a:pt x="2" y="341"/>
                  <a:pt x="2" y="343"/>
                  <a:pt x="2" y="343"/>
                </a:cubicBezTo>
                <a:cubicBezTo>
                  <a:pt x="3" y="344"/>
                  <a:pt x="3" y="344"/>
                  <a:pt x="3" y="343"/>
                </a:cubicBezTo>
                <a:close/>
                <a:moveTo>
                  <a:pt x="8" y="326"/>
                </a:moveTo>
                <a:cubicBezTo>
                  <a:pt x="8" y="326"/>
                  <a:pt x="8" y="327"/>
                  <a:pt x="6" y="327"/>
                </a:cubicBezTo>
                <a:cubicBezTo>
                  <a:pt x="5" y="327"/>
                  <a:pt x="5" y="329"/>
                  <a:pt x="6" y="329"/>
                </a:cubicBezTo>
                <a:cubicBezTo>
                  <a:pt x="8" y="329"/>
                  <a:pt x="6" y="329"/>
                  <a:pt x="8" y="329"/>
                </a:cubicBezTo>
                <a:cubicBezTo>
                  <a:pt x="8" y="329"/>
                  <a:pt x="10" y="326"/>
                  <a:pt x="8" y="326"/>
                </a:cubicBezTo>
                <a:close/>
                <a:moveTo>
                  <a:pt x="6" y="335"/>
                </a:moveTo>
                <a:cubicBezTo>
                  <a:pt x="6" y="333"/>
                  <a:pt x="5" y="332"/>
                  <a:pt x="5" y="330"/>
                </a:cubicBezTo>
                <a:cubicBezTo>
                  <a:pt x="3" y="329"/>
                  <a:pt x="3" y="329"/>
                  <a:pt x="3" y="329"/>
                </a:cubicBezTo>
                <a:cubicBezTo>
                  <a:pt x="2" y="330"/>
                  <a:pt x="3" y="330"/>
                  <a:pt x="3" y="332"/>
                </a:cubicBezTo>
                <a:cubicBezTo>
                  <a:pt x="2" y="332"/>
                  <a:pt x="2" y="333"/>
                  <a:pt x="3" y="333"/>
                </a:cubicBezTo>
                <a:cubicBezTo>
                  <a:pt x="5" y="332"/>
                  <a:pt x="5" y="333"/>
                  <a:pt x="5" y="335"/>
                </a:cubicBezTo>
                <a:cubicBezTo>
                  <a:pt x="5" y="336"/>
                  <a:pt x="5" y="336"/>
                  <a:pt x="5" y="336"/>
                </a:cubicBezTo>
                <a:cubicBezTo>
                  <a:pt x="6" y="335"/>
                  <a:pt x="6" y="335"/>
                  <a:pt x="6" y="335"/>
                </a:cubicBezTo>
                <a:close/>
                <a:moveTo>
                  <a:pt x="3" y="336"/>
                </a:moveTo>
                <a:cubicBezTo>
                  <a:pt x="5" y="335"/>
                  <a:pt x="3" y="333"/>
                  <a:pt x="3" y="333"/>
                </a:cubicBezTo>
                <a:cubicBezTo>
                  <a:pt x="2" y="335"/>
                  <a:pt x="2" y="333"/>
                  <a:pt x="2" y="335"/>
                </a:cubicBezTo>
                <a:cubicBezTo>
                  <a:pt x="2" y="336"/>
                  <a:pt x="2" y="336"/>
                  <a:pt x="3" y="336"/>
                </a:cubicBezTo>
                <a:close/>
                <a:moveTo>
                  <a:pt x="3" y="340"/>
                </a:moveTo>
                <a:cubicBezTo>
                  <a:pt x="5" y="340"/>
                  <a:pt x="5" y="341"/>
                  <a:pt x="5" y="340"/>
                </a:cubicBezTo>
                <a:cubicBezTo>
                  <a:pt x="5" y="340"/>
                  <a:pt x="5" y="338"/>
                  <a:pt x="3" y="338"/>
                </a:cubicBezTo>
                <a:cubicBezTo>
                  <a:pt x="3" y="338"/>
                  <a:pt x="0" y="338"/>
                  <a:pt x="2" y="340"/>
                </a:cubicBezTo>
                <a:cubicBezTo>
                  <a:pt x="3" y="340"/>
                  <a:pt x="3" y="340"/>
                  <a:pt x="3" y="340"/>
                </a:cubicBezTo>
                <a:close/>
                <a:moveTo>
                  <a:pt x="5" y="326"/>
                </a:moveTo>
                <a:cubicBezTo>
                  <a:pt x="5" y="326"/>
                  <a:pt x="6" y="324"/>
                  <a:pt x="6" y="326"/>
                </a:cubicBezTo>
                <a:cubicBezTo>
                  <a:pt x="6" y="326"/>
                  <a:pt x="5" y="327"/>
                  <a:pt x="5" y="326"/>
                </a:cubicBezTo>
                <a:close/>
                <a:moveTo>
                  <a:pt x="13" y="318"/>
                </a:moveTo>
                <a:cubicBezTo>
                  <a:pt x="13" y="316"/>
                  <a:pt x="16" y="316"/>
                  <a:pt x="14" y="318"/>
                </a:cubicBezTo>
                <a:cubicBezTo>
                  <a:pt x="13" y="318"/>
                  <a:pt x="13" y="318"/>
                  <a:pt x="13" y="318"/>
                </a:cubicBezTo>
                <a:close/>
                <a:moveTo>
                  <a:pt x="3" y="336"/>
                </a:moveTo>
                <a:cubicBezTo>
                  <a:pt x="5" y="336"/>
                  <a:pt x="5" y="336"/>
                  <a:pt x="3" y="336"/>
                </a:cubicBezTo>
                <a:cubicBezTo>
                  <a:pt x="2" y="336"/>
                  <a:pt x="2" y="336"/>
                  <a:pt x="2" y="338"/>
                </a:cubicBezTo>
                <a:cubicBezTo>
                  <a:pt x="2" y="338"/>
                  <a:pt x="2" y="338"/>
                  <a:pt x="3" y="336"/>
                </a:cubicBezTo>
                <a:close/>
                <a:moveTo>
                  <a:pt x="6" y="340"/>
                </a:moveTo>
                <a:cubicBezTo>
                  <a:pt x="6" y="340"/>
                  <a:pt x="6" y="338"/>
                  <a:pt x="5" y="338"/>
                </a:cubicBezTo>
                <a:cubicBezTo>
                  <a:pt x="5" y="338"/>
                  <a:pt x="5" y="338"/>
                  <a:pt x="5" y="340"/>
                </a:cubicBezTo>
                <a:cubicBezTo>
                  <a:pt x="5" y="340"/>
                  <a:pt x="5" y="340"/>
                  <a:pt x="6" y="340"/>
                </a:cubicBezTo>
                <a:close/>
                <a:moveTo>
                  <a:pt x="14" y="333"/>
                </a:moveTo>
                <a:cubicBezTo>
                  <a:pt x="14" y="333"/>
                  <a:pt x="13" y="332"/>
                  <a:pt x="11" y="332"/>
                </a:cubicBezTo>
                <a:cubicBezTo>
                  <a:pt x="11" y="330"/>
                  <a:pt x="11" y="329"/>
                  <a:pt x="11" y="330"/>
                </a:cubicBezTo>
                <a:cubicBezTo>
                  <a:pt x="11" y="333"/>
                  <a:pt x="11" y="332"/>
                  <a:pt x="11" y="333"/>
                </a:cubicBezTo>
                <a:cubicBezTo>
                  <a:pt x="13" y="333"/>
                  <a:pt x="14" y="333"/>
                  <a:pt x="14" y="33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endParaRPr lang="en-GB" sz="1712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017429" y="1255355"/>
            <a:ext cx="4275788" cy="401497"/>
          </a:xfrm>
          <a:prstGeom prst="rect">
            <a:avLst/>
          </a:prstGeom>
          <a:solidFill>
            <a:schemeClr val="tx2"/>
          </a:solidFill>
        </p:spPr>
        <p:txBody>
          <a:bodyPr wrap="square" lIns="389283" rIns="97321" rtlCol="0" anchor="ctr">
            <a:noAutofit/>
          </a:bodyPr>
          <a:lstStyle/>
          <a:p>
            <a:pPr marL="164511" defTabSz="926737"/>
            <a:r>
              <a:rPr lang="ru-RU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бъем инвестиций российских банков в </a:t>
            </a:r>
            <a:r>
              <a:rPr lang="en-US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r>
              <a:rPr lang="ru-RU" sz="12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стартапы, млн. долл.</a:t>
            </a:r>
            <a:endParaRPr lang="ru-RU" sz="12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34" name="Chart 33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19254009"/>
              </p:ext>
            </p:extLst>
          </p:nvPr>
        </p:nvGraphicFramePr>
        <p:xfrm>
          <a:off x="1136650" y="2303463"/>
          <a:ext cx="3987800" cy="1316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cxnSp>
        <p:nvCxnSpPr>
          <p:cNvPr id="84" name="Straight Connector 83"/>
          <p:cNvCxnSpPr/>
          <p:nvPr>
            <p:custDataLst>
              <p:tags r:id="rId5"/>
            </p:custDataLst>
          </p:nvPr>
        </p:nvCxnSpPr>
        <p:spPr bwMode="auto">
          <a:xfrm flipV="1">
            <a:off x="1536700" y="1819275"/>
            <a:ext cx="3186113" cy="1074738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Placeholder 2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62075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E88561EB-AF6B-473B-8A7D-E07A18EBD07A}" type="datetime'''''''''''''''''''''20''''1''''''''''2'">
              <a:rPr lang="en-US" altLang="en-US" sz="1200">
                <a:solidFill>
                  <a:schemeClr val="tx2"/>
                </a:solidFill>
                <a:cs typeface="+mn-cs"/>
                <a:sym typeface="+mn-lt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2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87" name="Text Placeholder 28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00250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2C566408-7543-46CB-B477-2F195B03C62D}" type="datetime'''''''2''''''''''''0''''''''''''''''''''''''1''''''3'''''''">
              <a:rPr lang="en-US" altLang="en-US" sz="1200">
                <a:solidFill>
                  <a:schemeClr val="tx2"/>
                </a:solidFill>
                <a:cs typeface="+mn-cs"/>
                <a:sym typeface="+mn-lt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3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88" name="Text Placeholder 29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36838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49592CEB-B0B3-41E2-AE05-A2AC3DA367F0}" type="datetime'''''''''''''''''''''''20''''1''''''4'''''''''''''''''''''">
              <a:rPr lang="en-US" altLang="en-US" sz="1200">
                <a:solidFill>
                  <a:schemeClr val="tx2"/>
                </a:solidFill>
                <a:cs typeface="+mn-cs"/>
                <a:sym typeface="+mn-lt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4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85" name="Rectangle 8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963738" y="3168650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A64EB7-4A79-4C2F-A66A-99E7F203E999}" type="datetime'''''''''''2''''''''''''''''''''9'''',''''''''''''''1''7'''">
              <a:rPr lang="en-US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29,17</a:t>
            </a:fld>
            <a:endParaRPr lang="en-US" altLang="ru-RU" sz="1200" b="1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89" name="Text Placeholder 4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73425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B918EACE-CBC4-4B53-8903-D446678F6C19}" type="datetime'''2''0''1''''''5'''''''''''''''''''''''''''">
              <a:rPr lang="en-US" altLang="en-US" sz="1200">
                <a:solidFill>
                  <a:schemeClr val="tx2"/>
                </a:solidFill>
                <a:cs typeface="+mn-cs"/>
                <a:sym typeface="+mn-lt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5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90" name="Rectangle 8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1325563" y="3252788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CEA9E6F-08A8-41E3-B1E0-39DC208D06A6}" type="datetime'''''''''1''''''''''4'''''',''0''''''''''''''''0'">
              <a:rPr lang="en-US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14,00</a:t>
            </a:fld>
            <a:endParaRPr lang="en-US" altLang="ru-RU" sz="1200" b="1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91" name="Rectangle 90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600325" y="3009900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E4258FC-64EA-409D-B6FA-1C9A3FA9FF8F}" type="datetime'''''''58,''''''3''''''''3'''''">
              <a:rPr lang="en-US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58,33</a:t>
            </a:fld>
            <a:endParaRPr lang="en-US" altLang="ru-RU" sz="1200" b="1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92" name="Rectangle 91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194050" y="2562225"/>
            <a:ext cx="508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4D7510E-6323-4D18-BABA-689F576A0BD0}" type="datetime'''''''''140'''''''''''''''''',''0''''0'''''''''''''''''''">
              <a:rPr lang="en-US" altLang="en-US" sz="1200" b="1" smtClean="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140,00</a:t>
            </a:fld>
            <a:endParaRPr lang="en-US" altLang="ru-RU" sz="1200" b="1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27" name="Text Placeholder 4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911600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521E5AC8-9400-4C0A-A905-13CCF5398C71}" type="datetime'''2''''''0''''''''''''''''1''6'''''">
              <a:rPr lang="ru-RU" altLang="en-US" sz="1200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6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328" name="Text Placeholder 46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548188" y="3638550"/>
            <a:ext cx="349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000000"/>
              </a:buClr>
              <a:buNone/>
            </a:pPr>
            <a:fld id="{7958BC61-A501-4AC0-90AF-2F1DD1DB261C}" type="datetime'''''''''''''''''''''2''0''''''''''1''''7'''''">
              <a:rPr lang="ru-RU" altLang="en-US" sz="1200" smtClean="0">
                <a:solidFill>
                  <a:schemeClr val="tx2"/>
                </a:solidFill>
                <a:cs typeface="+mn-cs"/>
              </a:rPr>
              <a:pPr marL="0" indent="0" algn="ctr">
                <a:spcBef>
                  <a:spcPct val="0"/>
                </a:spcBef>
                <a:buClr>
                  <a:srgbClr val="000000"/>
                </a:buClr>
                <a:buNone/>
              </a:pPr>
              <a:t>2017</a:t>
            </a:fld>
            <a:endParaRPr lang="ru-RU" sz="1200" b="0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32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832225" y="2370138"/>
            <a:ext cx="508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70235A4-B3CF-4E69-9276-C3556826AC33}" type="datetime'''''''''''''''''''''''''1''''7''''''5,''''''''0''0'">
              <a:rPr lang="en-US" altLang="en-US" sz="12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75,00</a:t>
            </a:fld>
            <a:endParaRPr lang="en-US" sz="1200" dirty="0" smtClean="0">
              <a:sym typeface="+mn-lt"/>
            </a:endParaRPr>
          </a:p>
        </p:txBody>
      </p:sp>
      <p:sp>
        <p:nvSpPr>
          <p:cNvPr id="33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68813" y="2178050"/>
            <a:ext cx="5080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93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8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085827A-C704-4F89-A10E-D3F4D513BA4D}" type="datetime'2''''''1''''''''0'''''''''''''''',''''''''''0''0'">
              <a:rPr lang="en-US" altLang="en-US" sz="1200" smtClean="0"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0,00</a:t>
            </a:fld>
            <a:endParaRPr lang="en-US" sz="1200" dirty="0" smtClean="0">
              <a:sym typeface="+mn-lt"/>
            </a:endParaRPr>
          </a:p>
        </p:txBody>
      </p:sp>
      <p:sp>
        <p:nvSpPr>
          <p:cNvPr id="93" name="Text Placeholder 4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878138" y="2251075"/>
            <a:ext cx="503238" cy="209726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191296" indent="-191296" algn="l" defTabSz="1002175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776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  <a:lvl2pPr marL="477385" indent="-21668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–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2pPr>
            <a:lvl3pPr marL="661912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3pPr>
            <a:lvl4pPr marL="856585" indent="-174373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4pPr>
            <a:lvl5pPr marL="1019102" indent="-137119" algn="l" defTabSz="100217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-"/>
              <a:defRPr sz="1776">
                <a:solidFill>
                  <a:schemeClr val="tx1"/>
                </a:solidFill>
                <a:latin typeface="+mn-lt"/>
                <a:cs typeface="Arial" charset="0"/>
              </a:defRPr>
            </a:lvl5pPr>
            <a:lvl6pPr marL="1283187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6pPr>
            <a:lvl7pPr marL="1770733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7pPr>
            <a:lvl8pPr marL="2258276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8pPr>
            <a:lvl9pPr marL="2745820" indent="-138810" algn="l" defTabSz="954774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776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Clr>
                <a:srgbClr val="000000"/>
              </a:buClr>
              <a:buNone/>
            </a:pPr>
            <a:fld id="{41BB51AE-1093-4FBA-AE54-3BC0B3D45F67}" type="datetime'''''+''''''''''7''''''''''''''''2''%'''''''''''''''''">
              <a:rPr lang="en-US" altLang="en-US" sz="1082" b="1" smtClean="0">
                <a:solidFill>
                  <a:schemeClr val="tx2"/>
                </a:solidFill>
                <a:cs typeface="+mn-cs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Clr>
                  <a:srgbClr val="000000"/>
                </a:buClr>
                <a:buNone/>
              </a:pPr>
              <a:t>+72%</a:t>
            </a:fld>
            <a:endParaRPr lang="ru-RU" sz="1082" b="1" dirty="0">
              <a:solidFill>
                <a:schemeClr val="tx2"/>
              </a:solidFill>
              <a:cs typeface="+mn-cs"/>
              <a:sym typeface="+mn-lt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991673" y="4062413"/>
            <a:ext cx="4301544" cy="2012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64511" defTabSz="943048" fontAlgn="auto">
              <a:spcBef>
                <a:spcPts val="0"/>
              </a:spcBef>
              <a:spcAft>
                <a:spcPts val="721"/>
              </a:spcAft>
            </a:pP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нки в России значительно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величивают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вестиции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в </a:t>
            </a:r>
            <a:r>
              <a:rPr lang="en-US" sz="120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</a:t>
            </a:r>
            <a:endParaRPr lang="ru-RU" sz="1200" b="0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64511" defTabSz="943048" fontAlgn="auto">
              <a:spcBef>
                <a:spcPts val="0"/>
              </a:spcBef>
              <a:spcAft>
                <a:spcPts val="721"/>
              </a:spcAft>
            </a:pP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елью инвестирования является получение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нновационных идей и технологических решений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ля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азвития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корпоративного и розничного банковского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изнеса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200" b="1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держания позиций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рынке</a:t>
            </a:r>
          </a:p>
          <a:p>
            <a:pPr marL="164511" defTabSz="943048" fontAlgn="auto">
              <a:spcBef>
                <a:spcPts val="0"/>
              </a:spcBef>
              <a:spcAft>
                <a:spcPts val="721"/>
              </a:spcAft>
            </a:pP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Цикл разработки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технологических решений в банках занимает </a:t>
            </a:r>
            <a:r>
              <a:rPr lang="ru-RU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ольше времени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 сравнению с их разработкой </a:t>
            </a:r>
            <a:r>
              <a:rPr lang="en-US" sz="1200" b="0" dirty="0" smtClean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ech </a:t>
            </a:r>
            <a:r>
              <a:rPr lang="ru-RU" sz="1200" b="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артапами</a:t>
            </a:r>
          </a:p>
        </p:txBody>
      </p:sp>
      <p:sp>
        <p:nvSpPr>
          <p:cNvPr id="95" name="Oval 94"/>
          <p:cNvSpPr/>
          <p:nvPr/>
        </p:nvSpPr>
        <p:spPr>
          <a:xfrm>
            <a:off x="825600" y="1188142"/>
            <a:ext cx="548640" cy="54864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ru-RU" sz="1712" b="0" dirty="0">
              <a:solidFill>
                <a:srgbClr val="FFFFFF"/>
              </a:solidFill>
            </a:endParaRPr>
          </a:p>
        </p:txBody>
      </p:sp>
      <p:sp>
        <p:nvSpPr>
          <p:cNvPr id="97" name="Pentagon 96"/>
          <p:cNvSpPr/>
          <p:nvPr/>
        </p:nvSpPr>
        <p:spPr>
          <a:xfrm>
            <a:off x="864237" y="4179888"/>
            <a:ext cx="297945" cy="335641"/>
          </a:xfrm>
          <a:prstGeom prst="homePlate">
            <a:avLst>
              <a:gd name="adj" fmla="val 19762"/>
            </a:avLst>
          </a:prstGeom>
          <a:solidFill>
            <a:schemeClr val="tx2"/>
          </a:solidFill>
          <a:ln w="12700">
            <a:solidFill>
              <a:srgbClr val="FFFFFF"/>
            </a:solidFill>
          </a:ln>
        </p:spPr>
        <p:txBody>
          <a:bodyPr rot="0" spcFirstLastPara="0" vertOverflow="overflow" horzOverflow="overflow" vert="horz" wrap="square" lIns="82398" tIns="41199" rIns="82398" bIns="411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09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</p:txBody>
      </p:sp>
      <p:sp>
        <p:nvSpPr>
          <p:cNvPr id="98" name="Pentagon 97"/>
          <p:cNvSpPr/>
          <p:nvPr/>
        </p:nvSpPr>
        <p:spPr>
          <a:xfrm>
            <a:off x="864237" y="4821238"/>
            <a:ext cx="297945" cy="335641"/>
          </a:xfrm>
          <a:prstGeom prst="homePlate">
            <a:avLst>
              <a:gd name="adj" fmla="val 19762"/>
            </a:avLst>
          </a:prstGeom>
          <a:solidFill>
            <a:schemeClr val="tx2"/>
          </a:solidFill>
          <a:ln w="12700">
            <a:solidFill>
              <a:srgbClr val="FFFFFF"/>
            </a:solidFill>
          </a:ln>
        </p:spPr>
        <p:txBody>
          <a:bodyPr rot="0" spcFirstLastPara="0" vertOverflow="overflow" horzOverflow="overflow" vert="horz" wrap="square" lIns="82398" tIns="41199" rIns="82398" bIns="411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09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US" sz="1200" b="1" kern="0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9" name="Pentagon 98"/>
          <p:cNvSpPr/>
          <p:nvPr/>
        </p:nvSpPr>
        <p:spPr>
          <a:xfrm>
            <a:off x="864237" y="5550258"/>
            <a:ext cx="297945" cy="335641"/>
          </a:xfrm>
          <a:prstGeom prst="homePlate">
            <a:avLst>
              <a:gd name="adj" fmla="val 19762"/>
            </a:avLst>
          </a:prstGeom>
          <a:solidFill>
            <a:schemeClr val="tx2"/>
          </a:solidFill>
          <a:ln w="12700">
            <a:solidFill>
              <a:srgbClr val="FFFFFF"/>
            </a:solidFill>
          </a:ln>
        </p:spPr>
        <p:txBody>
          <a:bodyPr rot="0" spcFirstLastPara="0" vertOverflow="overflow" horzOverflow="overflow" vert="horz" wrap="square" lIns="82398" tIns="41199" rIns="82398" bIns="4119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6309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kern="0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lang="en-US" sz="1200" b="1" kern="0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00" name="Group 99"/>
          <p:cNvGrpSpPr>
            <a:grpSpLocks noChangeAspect="1"/>
          </p:cNvGrpSpPr>
          <p:nvPr/>
        </p:nvGrpSpPr>
        <p:grpSpPr>
          <a:xfrm>
            <a:off x="5499280" y="1252203"/>
            <a:ext cx="3905210" cy="4933796"/>
            <a:chOff x="5245460" y="1162050"/>
            <a:chExt cx="4184786" cy="5287009"/>
          </a:xfrm>
        </p:grpSpPr>
        <p:grpSp>
          <p:nvGrpSpPr>
            <p:cNvPr id="101" name="Group 100"/>
            <p:cNvGrpSpPr/>
            <p:nvPr/>
          </p:nvGrpSpPr>
          <p:grpSpPr>
            <a:xfrm rot="1087502">
              <a:off x="5950681" y="5194096"/>
              <a:ext cx="1102328" cy="1254963"/>
              <a:chOff x="3448030" y="6835979"/>
              <a:chExt cx="912629" cy="1177248"/>
            </a:xfrm>
            <a:solidFill>
              <a:schemeClr val="accent2"/>
            </a:solidFill>
          </p:grpSpPr>
          <p:grpSp>
            <p:nvGrpSpPr>
              <p:cNvPr id="311" name="Group 310"/>
              <p:cNvGrpSpPr>
                <a:grpSpLocks noChangeAspect="1"/>
              </p:cNvGrpSpPr>
              <p:nvPr/>
            </p:nvGrpSpPr>
            <p:grpSpPr>
              <a:xfrm>
                <a:off x="3458972" y="6900224"/>
                <a:ext cx="894647" cy="1113003"/>
                <a:chOff x="2925147" y="5869492"/>
                <a:chExt cx="1117446" cy="1390181"/>
              </a:xfrm>
              <a:grpFill/>
            </p:grpSpPr>
            <p:sp>
              <p:nvSpPr>
                <p:cNvPr id="313" name="Oval 312"/>
                <p:cNvSpPr/>
                <p:nvPr/>
              </p:nvSpPr>
              <p:spPr>
                <a:xfrm>
                  <a:off x="2926195" y="6311875"/>
                  <a:ext cx="1116398" cy="947798"/>
                </a:xfrm>
                <a:prstGeom prst="ellips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43048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ru-RU" sz="1712" b="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14" name="Rectangle 313"/>
                <p:cNvSpPr/>
                <p:nvPr/>
              </p:nvSpPr>
              <p:spPr>
                <a:xfrm>
                  <a:off x="2925147" y="5869492"/>
                  <a:ext cx="1117445" cy="910149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43048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ru-RU" sz="1712" b="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312" name="Oval 311"/>
              <p:cNvSpPr/>
              <p:nvPr/>
            </p:nvSpPr>
            <p:spPr>
              <a:xfrm>
                <a:off x="3448030" y="6835979"/>
                <a:ext cx="912629" cy="15267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43048"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sz="1712" b="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02" name="Freeform 6"/>
            <p:cNvSpPr>
              <a:spLocks/>
            </p:cNvSpPr>
            <p:nvPr/>
          </p:nvSpPr>
          <p:spPr bwMode="auto">
            <a:xfrm>
              <a:off x="5985216" y="3039582"/>
              <a:ext cx="367239" cy="27509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14" y="27"/>
                </a:cxn>
                <a:cxn ang="0">
                  <a:pos x="6" y="41"/>
                </a:cxn>
                <a:cxn ang="0">
                  <a:pos x="3" y="46"/>
                </a:cxn>
                <a:cxn ang="0">
                  <a:pos x="5" y="53"/>
                </a:cxn>
                <a:cxn ang="0">
                  <a:pos x="6" y="55"/>
                </a:cxn>
                <a:cxn ang="0">
                  <a:pos x="12" y="55"/>
                </a:cxn>
                <a:cxn ang="0">
                  <a:pos x="24" y="58"/>
                </a:cxn>
                <a:cxn ang="0">
                  <a:pos x="37" y="52"/>
                </a:cxn>
                <a:cxn ang="0">
                  <a:pos x="52" y="53"/>
                </a:cxn>
                <a:cxn ang="0">
                  <a:pos x="56" y="58"/>
                </a:cxn>
                <a:cxn ang="0">
                  <a:pos x="61" y="67"/>
                </a:cxn>
                <a:cxn ang="0">
                  <a:pos x="62" y="74"/>
                </a:cxn>
                <a:cxn ang="0">
                  <a:pos x="55" y="75"/>
                </a:cxn>
                <a:cxn ang="0">
                  <a:pos x="49" y="84"/>
                </a:cxn>
                <a:cxn ang="0">
                  <a:pos x="56" y="86"/>
                </a:cxn>
                <a:cxn ang="0">
                  <a:pos x="59" y="83"/>
                </a:cxn>
                <a:cxn ang="0">
                  <a:pos x="68" y="74"/>
                </a:cxn>
                <a:cxn ang="0">
                  <a:pos x="78" y="70"/>
                </a:cxn>
                <a:cxn ang="0">
                  <a:pos x="82" y="72"/>
                </a:cxn>
                <a:cxn ang="0">
                  <a:pos x="81" y="77"/>
                </a:cxn>
                <a:cxn ang="0">
                  <a:pos x="91" y="78"/>
                </a:cxn>
                <a:cxn ang="0">
                  <a:pos x="91" y="91"/>
                </a:cxn>
                <a:cxn ang="0">
                  <a:pos x="100" y="92"/>
                </a:cxn>
                <a:cxn ang="0">
                  <a:pos x="113" y="89"/>
                </a:cxn>
                <a:cxn ang="0">
                  <a:pos x="111" y="84"/>
                </a:cxn>
                <a:cxn ang="0">
                  <a:pos x="102" y="75"/>
                </a:cxn>
                <a:cxn ang="0">
                  <a:pos x="111" y="70"/>
                </a:cxn>
                <a:cxn ang="0">
                  <a:pos x="128" y="66"/>
                </a:cxn>
                <a:cxn ang="0">
                  <a:pos x="141" y="55"/>
                </a:cxn>
                <a:cxn ang="0">
                  <a:pos x="141" y="46"/>
                </a:cxn>
                <a:cxn ang="0">
                  <a:pos x="143" y="41"/>
                </a:cxn>
                <a:cxn ang="0">
                  <a:pos x="138" y="35"/>
                </a:cxn>
                <a:cxn ang="0">
                  <a:pos x="125" y="30"/>
                </a:cxn>
                <a:cxn ang="0">
                  <a:pos x="108" y="27"/>
                </a:cxn>
                <a:cxn ang="0">
                  <a:pos x="99" y="16"/>
                </a:cxn>
                <a:cxn ang="0">
                  <a:pos x="97" y="8"/>
                </a:cxn>
                <a:cxn ang="0">
                  <a:pos x="88" y="3"/>
                </a:cxn>
                <a:cxn ang="0">
                  <a:pos x="76" y="5"/>
                </a:cxn>
                <a:cxn ang="0">
                  <a:pos x="65" y="14"/>
                </a:cxn>
                <a:cxn ang="0">
                  <a:pos x="53" y="13"/>
                </a:cxn>
                <a:cxn ang="0">
                  <a:pos x="38" y="10"/>
                </a:cxn>
                <a:cxn ang="0">
                  <a:pos x="15" y="11"/>
                </a:cxn>
              </a:cxnLst>
              <a:rect l="0" t="0" r="r" b="b"/>
              <a:pathLst>
                <a:path w="144" h="98">
                  <a:moveTo>
                    <a:pt x="12" y="13"/>
                  </a:moveTo>
                  <a:cubicBezTo>
                    <a:pt x="14" y="16"/>
                    <a:pt x="11" y="14"/>
                    <a:pt x="14" y="19"/>
                  </a:cubicBezTo>
                  <a:cubicBezTo>
                    <a:pt x="20" y="24"/>
                    <a:pt x="14" y="21"/>
                    <a:pt x="15" y="22"/>
                  </a:cubicBezTo>
                  <a:cubicBezTo>
                    <a:pt x="17" y="24"/>
                    <a:pt x="18" y="25"/>
                    <a:pt x="14" y="27"/>
                  </a:cubicBezTo>
                  <a:cubicBezTo>
                    <a:pt x="12" y="27"/>
                    <a:pt x="8" y="32"/>
                    <a:pt x="6" y="35"/>
                  </a:cubicBezTo>
                  <a:cubicBezTo>
                    <a:pt x="3" y="38"/>
                    <a:pt x="6" y="39"/>
                    <a:pt x="6" y="41"/>
                  </a:cubicBezTo>
                  <a:cubicBezTo>
                    <a:pt x="5" y="42"/>
                    <a:pt x="9" y="44"/>
                    <a:pt x="3" y="42"/>
                  </a:cubicBezTo>
                  <a:cubicBezTo>
                    <a:pt x="5" y="44"/>
                    <a:pt x="3" y="44"/>
                    <a:pt x="3" y="46"/>
                  </a:cubicBezTo>
                  <a:cubicBezTo>
                    <a:pt x="3" y="47"/>
                    <a:pt x="2" y="46"/>
                    <a:pt x="0" y="50"/>
                  </a:cubicBezTo>
                  <a:cubicBezTo>
                    <a:pt x="5" y="52"/>
                    <a:pt x="3" y="55"/>
                    <a:pt x="5" y="53"/>
                  </a:cubicBezTo>
                  <a:cubicBezTo>
                    <a:pt x="6" y="53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8" y="55"/>
                    <a:pt x="8" y="56"/>
                    <a:pt x="8" y="55"/>
                  </a:cubicBezTo>
                  <a:cubicBezTo>
                    <a:pt x="9" y="53"/>
                    <a:pt x="9" y="55"/>
                    <a:pt x="12" y="55"/>
                  </a:cubicBezTo>
                  <a:cubicBezTo>
                    <a:pt x="17" y="55"/>
                    <a:pt x="17" y="56"/>
                    <a:pt x="18" y="56"/>
                  </a:cubicBezTo>
                  <a:cubicBezTo>
                    <a:pt x="21" y="55"/>
                    <a:pt x="21" y="60"/>
                    <a:pt x="24" y="58"/>
                  </a:cubicBezTo>
                  <a:cubicBezTo>
                    <a:pt x="26" y="56"/>
                    <a:pt x="24" y="56"/>
                    <a:pt x="29" y="56"/>
                  </a:cubicBezTo>
                  <a:cubicBezTo>
                    <a:pt x="34" y="55"/>
                    <a:pt x="32" y="53"/>
                    <a:pt x="37" y="52"/>
                  </a:cubicBezTo>
                  <a:cubicBezTo>
                    <a:pt x="38" y="50"/>
                    <a:pt x="41" y="50"/>
                    <a:pt x="43" y="50"/>
                  </a:cubicBezTo>
                  <a:cubicBezTo>
                    <a:pt x="44" y="49"/>
                    <a:pt x="50" y="53"/>
                    <a:pt x="52" y="53"/>
                  </a:cubicBezTo>
                  <a:cubicBezTo>
                    <a:pt x="53" y="52"/>
                    <a:pt x="53" y="56"/>
                    <a:pt x="56" y="55"/>
                  </a:cubicBezTo>
                  <a:cubicBezTo>
                    <a:pt x="58" y="55"/>
                    <a:pt x="58" y="56"/>
                    <a:pt x="56" y="58"/>
                  </a:cubicBezTo>
                  <a:cubicBezTo>
                    <a:pt x="55" y="61"/>
                    <a:pt x="58" y="63"/>
                    <a:pt x="59" y="63"/>
                  </a:cubicBezTo>
                  <a:cubicBezTo>
                    <a:pt x="61" y="63"/>
                    <a:pt x="58" y="66"/>
                    <a:pt x="61" y="67"/>
                  </a:cubicBezTo>
                  <a:cubicBezTo>
                    <a:pt x="64" y="69"/>
                    <a:pt x="61" y="72"/>
                    <a:pt x="62" y="74"/>
                  </a:cubicBezTo>
                  <a:cubicBezTo>
                    <a:pt x="65" y="74"/>
                    <a:pt x="62" y="75"/>
                    <a:pt x="62" y="74"/>
                  </a:cubicBezTo>
                  <a:cubicBezTo>
                    <a:pt x="61" y="74"/>
                    <a:pt x="58" y="75"/>
                    <a:pt x="56" y="74"/>
                  </a:cubicBezTo>
                  <a:cubicBezTo>
                    <a:pt x="55" y="72"/>
                    <a:pt x="53" y="74"/>
                    <a:pt x="55" y="75"/>
                  </a:cubicBezTo>
                  <a:cubicBezTo>
                    <a:pt x="56" y="78"/>
                    <a:pt x="50" y="81"/>
                    <a:pt x="52" y="83"/>
                  </a:cubicBezTo>
                  <a:cubicBezTo>
                    <a:pt x="52" y="84"/>
                    <a:pt x="50" y="84"/>
                    <a:pt x="49" y="84"/>
                  </a:cubicBezTo>
                  <a:cubicBezTo>
                    <a:pt x="52" y="88"/>
                    <a:pt x="53" y="88"/>
                    <a:pt x="53" y="88"/>
                  </a:cubicBezTo>
                  <a:cubicBezTo>
                    <a:pt x="53" y="86"/>
                    <a:pt x="55" y="88"/>
                    <a:pt x="56" y="86"/>
                  </a:cubicBezTo>
                  <a:cubicBezTo>
                    <a:pt x="56" y="84"/>
                    <a:pt x="59" y="84"/>
                    <a:pt x="61" y="88"/>
                  </a:cubicBezTo>
                  <a:cubicBezTo>
                    <a:pt x="61" y="84"/>
                    <a:pt x="61" y="86"/>
                    <a:pt x="59" y="83"/>
                  </a:cubicBezTo>
                  <a:cubicBezTo>
                    <a:pt x="59" y="80"/>
                    <a:pt x="61" y="83"/>
                    <a:pt x="64" y="81"/>
                  </a:cubicBezTo>
                  <a:cubicBezTo>
                    <a:pt x="67" y="78"/>
                    <a:pt x="68" y="77"/>
                    <a:pt x="68" y="74"/>
                  </a:cubicBezTo>
                  <a:cubicBezTo>
                    <a:pt x="68" y="70"/>
                    <a:pt x="73" y="72"/>
                    <a:pt x="75" y="70"/>
                  </a:cubicBezTo>
                  <a:cubicBezTo>
                    <a:pt x="76" y="70"/>
                    <a:pt x="78" y="72"/>
                    <a:pt x="78" y="70"/>
                  </a:cubicBezTo>
                  <a:cubicBezTo>
                    <a:pt x="78" y="67"/>
                    <a:pt x="78" y="64"/>
                    <a:pt x="79" y="67"/>
                  </a:cubicBezTo>
                  <a:cubicBezTo>
                    <a:pt x="79" y="70"/>
                    <a:pt x="78" y="72"/>
                    <a:pt x="82" y="72"/>
                  </a:cubicBezTo>
                  <a:cubicBezTo>
                    <a:pt x="79" y="74"/>
                    <a:pt x="76" y="70"/>
                    <a:pt x="76" y="72"/>
                  </a:cubicBezTo>
                  <a:cubicBezTo>
                    <a:pt x="75" y="74"/>
                    <a:pt x="81" y="75"/>
                    <a:pt x="81" y="77"/>
                  </a:cubicBezTo>
                  <a:cubicBezTo>
                    <a:pt x="81" y="78"/>
                    <a:pt x="87" y="77"/>
                    <a:pt x="88" y="77"/>
                  </a:cubicBezTo>
                  <a:cubicBezTo>
                    <a:pt x="90" y="78"/>
                    <a:pt x="91" y="75"/>
                    <a:pt x="91" y="78"/>
                  </a:cubicBezTo>
                  <a:cubicBezTo>
                    <a:pt x="93" y="81"/>
                    <a:pt x="82" y="83"/>
                    <a:pt x="82" y="86"/>
                  </a:cubicBezTo>
                  <a:cubicBezTo>
                    <a:pt x="84" y="88"/>
                    <a:pt x="91" y="86"/>
                    <a:pt x="91" y="91"/>
                  </a:cubicBezTo>
                  <a:cubicBezTo>
                    <a:pt x="91" y="95"/>
                    <a:pt x="88" y="92"/>
                    <a:pt x="91" y="95"/>
                  </a:cubicBezTo>
                  <a:cubicBezTo>
                    <a:pt x="94" y="98"/>
                    <a:pt x="97" y="94"/>
                    <a:pt x="100" y="92"/>
                  </a:cubicBezTo>
                  <a:cubicBezTo>
                    <a:pt x="103" y="91"/>
                    <a:pt x="102" y="94"/>
                    <a:pt x="105" y="91"/>
                  </a:cubicBezTo>
                  <a:cubicBezTo>
                    <a:pt x="108" y="86"/>
                    <a:pt x="108" y="91"/>
                    <a:pt x="113" y="89"/>
                  </a:cubicBezTo>
                  <a:cubicBezTo>
                    <a:pt x="117" y="88"/>
                    <a:pt x="113" y="89"/>
                    <a:pt x="114" y="86"/>
                  </a:cubicBezTo>
                  <a:cubicBezTo>
                    <a:pt x="116" y="84"/>
                    <a:pt x="114" y="83"/>
                    <a:pt x="111" y="84"/>
                  </a:cubicBezTo>
                  <a:cubicBezTo>
                    <a:pt x="106" y="86"/>
                    <a:pt x="106" y="89"/>
                    <a:pt x="103" y="83"/>
                  </a:cubicBezTo>
                  <a:cubicBezTo>
                    <a:pt x="99" y="77"/>
                    <a:pt x="100" y="77"/>
                    <a:pt x="102" y="75"/>
                  </a:cubicBezTo>
                  <a:cubicBezTo>
                    <a:pt x="106" y="74"/>
                    <a:pt x="102" y="78"/>
                    <a:pt x="105" y="77"/>
                  </a:cubicBezTo>
                  <a:cubicBezTo>
                    <a:pt x="106" y="75"/>
                    <a:pt x="110" y="70"/>
                    <a:pt x="111" y="70"/>
                  </a:cubicBezTo>
                  <a:cubicBezTo>
                    <a:pt x="116" y="72"/>
                    <a:pt x="123" y="66"/>
                    <a:pt x="125" y="66"/>
                  </a:cubicBezTo>
                  <a:cubicBezTo>
                    <a:pt x="128" y="66"/>
                    <a:pt x="126" y="67"/>
                    <a:pt x="128" y="66"/>
                  </a:cubicBezTo>
                  <a:cubicBezTo>
                    <a:pt x="126" y="56"/>
                    <a:pt x="132" y="61"/>
                    <a:pt x="132" y="58"/>
                  </a:cubicBezTo>
                  <a:cubicBezTo>
                    <a:pt x="134" y="55"/>
                    <a:pt x="140" y="58"/>
                    <a:pt x="141" y="55"/>
                  </a:cubicBezTo>
                  <a:cubicBezTo>
                    <a:pt x="143" y="53"/>
                    <a:pt x="141" y="50"/>
                    <a:pt x="140" y="49"/>
                  </a:cubicBezTo>
                  <a:cubicBezTo>
                    <a:pt x="138" y="47"/>
                    <a:pt x="140" y="46"/>
                    <a:pt x="141" y="46"/>
                  </a:cubicBezTo>
                  <a:cubicBezTo>
                    <a:pt x="144" y="46"/>
                    <a:pt x="143" y="44"/>
                    <a:pt x="141" y="44"/>
                  </a:cubicBezTo>
                  <a:cubicBezTo>
                    <a:pt x="140" y="44"/>
                    <a:pt x="140" y="42"/>
                    <a:pt x="143" y="41"/>
                  </a:cubicBezTo>
                  <a:cubicBezTo>
                    <a:pt x="144" y="39"/>
                    <a:pt x="143" y="39"/>
                    <a:pt x="143" y="36"/>
                  </a:cubicBezTo>
                  <a:cubicBezTo>
                    <a:pt x="143" y="35"/>
                    <a:pt x="140" y="38"/>
                    <a:pt x="138" y="35"/>
                  </a:cubicBezTo>
                  <a:cubicBezTo>
                    <a:pt x="137" y="32"/>
                    <a:pt x="134" y="35"/>
                    <a:pt x="132" y="33"/>
                  </a:cubicBezTo>
                  <a:cubicBezTo>
                    <a:pt x="129" y="28"/>
                    <a:pt x="128" y="33"/>
                    <a:pt x="125" y="30"/>
                  </a:cubicBezTo>
                  <a:cubicBezTo>
                    <a:pt x="122" y="28"/>
                    <a:pt x="123" y="24"/>
                    <a:pt x="119" y="27"/>
                  </a:cubicBezTo>
                  <a:cubicBezTo>
                    <a:pt x="113" y="30"/>
                    <a:pt x="113" y="25"/>
                    <a:pt x="108" y="27"/>
                  </a:cubicBezTo>
                  <a:cubicBezTo>
                    <a:pt x="105" y="28"/>
                    <a:pt x="108" y="22"/>
                    <a:pt x="105" y="19"/>
                  </a:cubicBezTo>
                  <a:cubicBezTo>
                    <a:pt x="102" y="14"/>
                    <a:pt x="102" y="17"/>
                    <a:pt x="99" y="16"/>
                  </a:cubicBezTo>
                  <a:cubicBezTo>
                    <a:pt x="96" y="16"/>
                    <a:pt x="99" y="16"/>
                    <a:pt x="96" y="13"/>
                  </a:cubicBezTo>
                  <a:cubicBezTo>
                    <a:pt x="94" y="11"/>
                    <a:pt x="100" y="10"/>
                    <a:pt x="97" y="8"/>
                  </a:cubicBezTo>
                  <a:cubicBezTo>
                    <a:pt x="93" y="7"/>
                    <a:pt x="96" y="0"/>
                    <a:pt x="93" y="3"/>
                  </a:cubicBezTo>
                  <a:cubicBezTo>
                    <a:pt x="90" y="5"/>
                    <a:pt x="91" y="0"/>
                    <a:pt x="88" y="3"/>
                  </a:cubicBezTo>
                  <a:cubicBezTo>
                    <a:pt x="85" y="5"/>
                    <a:pt x="82" y="2"/>
                    <a:pt x="82" y="5"/>
                  </a:cubicBezTo>
                  <a:cubicBezTo>
                    <a:pt x="81" y="8"/>
                    <a:pt x="78" y="7"/>
                    <a:pt x="76" y="5"/>
                  </a:cubicBezTo>
                  <a:cubicBezTo>
                    <a:pt x="70" y="5"/>
                    <a:pt x="68" y="8"/>
                    <a:pt x="68" y="13"/>
                  </a:cubicBezTo>
                  <a:cubicBezTo>
                    <a:pt x="68" y="17"/>
                    <a:pt x="67" y="17"/>
                    <a:pt x="65" y="14"/>
                  </a:cubicBezTo>
                  <a:cubicBezTo>
                    <a:pt x="64" y="14"/>
                    <a:pt x="61" y="14"/>
                    <a:pt x="59" y="14"/>
                  </a:cubicBezTo>
                  <a:cubicBezTo>
                    <a:pt x="56" y="16"/>
                    <a:pt x="58" y="10"/>
                    <a:pt x="53" y="13"/>
                  </a:cubicBezTo>
                  <a:cubicBezTo>
                    <a:pt x="50" y="16"/>
                    <a:pt x="55" y="11"/>
                    <a:pt x="46" y="11"/>
                  </a:cubicBezTo>
                  <a:cubicBezTo>
                    <a:pt x="40" y="11"/>
                    <a:pt x="43" y="10"/>
                    <a:pt x="38" y="10"/>
                  </a:cubicBezTo>
                  <a:cubicBezTo>
                    <a:pt x="35" y="11"/>
                    <a:pt x="34" y="7"/>
                    <a:pt x="23" y="8"/>
                  </a:cubicBezTo>
                  <a:cubicBezTo>
                    <a:pt x="14" y="10"/>
                    <a:pt x="18" y="13"/>
                    <a:pt x="15" y="11"/>
                  </a:cubicBezTo>
                  <a:cubicBezTo>
                    <a:pt x="14" y="11"/>
                    <a:pt x="12" y="13"/>
                    <a:pt x="12" y="1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 9"/>
            <p:cNvSpPr>
              <a:spLocks/>
            </p:cNvSpPr>
            <p:nvPr/>
          </p:nvSpPr>
          <p:spPr bwMode="auto">
            <a:xfrm>
              <a:off x="7315965" y="3054060"/>
              <a:ext cx="655503" cy="347490"/>
            </a:xfrm>
            <a:custGeom>
              <a:avLst/>
              <a:gdLst/>
              <a:ahLst/>
              <a:cxnLst>
                <a:cxn ang="0">
                  <a:pos x="230" y="28"/>
                </a:cxn>
                <a:cxn ang="0">
                  <a:pos x="222" y="48"/>
                </a:cxn>
                <a:cxn ang="0">
                  <a:pos x="225" y="53"/>
                </a:cxn>
                <a:cxn ang="0">
                  <a:pos x="234" y="53"/>
                </a:cxn>
                <a:cxn ang="0">
                  <a:pos x="240" y="50"/>
                </a:cxn>
                <a:cxn ang="0">
                  <a:pos x="251" y="56"/>
                </a:cxn>
                <a:cxn ang="0">
                  <a:pos x="255" y="65"/>
                </a:cxn>
                <a:cxn ang="0">
                  <a:pos x="246" y="65"/>
                </a:cxn>
                <a:cxn ang="0">
                  <a:pos x="239" y="65"/>
                </a:cxn>
                <a:cxn ang="0">
                  <a:pos x="228" y="70"/>
                </a:cxn>
                <a:cxn ang="0">
                  <a:pos x="225" y="76"/>
                </a:cxn>
                <a:cxn ang="0">
                  <a:pos x="216" y="80"/>
                </a:cxn>
                <a:cxn ang="0">
                  <a:pos x="207" y="87"/>
                </a:cxn>
                <a:cxn ang="0">
                  <a:pos x="192" y="84"/>
                </a:cxn>
                <a:cxn ang="0">
                  <a:pos x="189" y="92"/>
                </a:cxn>
                <a:cxn ang="0">
                  <a:pos x="192" y="100"/>
                </a:cxn>
                <a:cxn ang="0">
                  <a:pos x="181" y="107"/>
                </a:cxn>
                <a:cxn ang="0">
                  <a:pos x="173" y="114"/>
                </a:cxn>
                <a:cxn ang="0">
                  <a:pos x="169" y="114"/>
                </a:cxn>
                <a:cxn ang="0">
                  <a:pos x="160" y="114"/>
                </a:cxn>
                <a:cxn ang="0">
                  <a:pos x="154" y="115"/>
                </a:cxn>
                <a:cxn ang="0">
                  <a:pos x="138" y="123"/>
                </a:cxn>
                <a:cxn ang="0">
                  <a:pos x="134" y="123"/>
                </a:cxn>
                <a:cxn ang="0">
                  <a:pos x="131" y="120"/>
                </a:cxn>
                <a:cxn ang="0">
                  <a:pos x="117" y="117"/>
                </a:cxn>
                <a:cxn ang="0">
                  <a:pos x="100" y="111"/>
                </a:cxn>
                <a:cxn ang="0">
                  <a:pos x="75" y="111"/>
                </a:cxn>
                <a:cxn ang="0">
                  <a:pos x="69" y="109"/>
                </a:cxn>
                <a:cxn ang="0">
                  <a:pos x="64" y="100"/>
                </a:cxn>
                <a:cxn ang="0">
                  <a:pos x="55" y="92"/>
                </a:cxn>
                <a:cxn ang="0">
                  <a:pos x="38" y="84"/>
                </a:cxn>
                <a:cxn ang="0">
                  <a:pos x="27" y="83"/>
                </a:cxn>
                <a:cxn ang="0">
                  <a:pos x="24" y="76"/>
                </a:cxn>
                <a:cxn ang="0">
                  <a:pos x="26" y="67"/>
                </a:cxn>
                <a:cxn ang="0">
                  <a:pos x="18" y="52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2" y="36"/>
                </a:cxn>
                <a:cxn ang="0">
                  <a:pos x="12" y="31"/>
                </a:cxn>
                <a:cxn ang="0">
                  <a:pos x="21" y="24"/>
                </a:cxn>
                <a:cxn ang="0">
                  <a:pos x="41" y="19"/>
                </a:cxn>
                <a:cxn ang="0">
                  <a:pos x="53" y="22"/>
                </a:cxn>
                <a:cxn ang="0">
                  <a:pos x="84" y="24"/>
                </a:cxn>
                <a:cxn ang="0">
                  <a:pos x="82" y="10"/>
                </a:cxn>
                <a:cxn ang="0">
                  <a:pos x="99" y="5"/>
                </a:cxn>
                <a:cxn ang="0">
                  <a:pos x="116" y="13"/>
                </a:cxn>
                <a:cxn ang="0">
                  <a:pos x="131" y="24"/>
                </a:cxn>
                <a:cxn ang="0">
                  <a:pos x="152" y="25"/>
                </a:cxn>
                <a:cxn ang="0">
                  <a:pos x="170" y="35"/>
                </a:cxn>
                <a:cxn ang="0">
                  <a:pos x="195" y="33"/>
                </a:cxn>
                <a:cxn ang="0">
                  <a:pos x="214" y="24"/>
                </a:cxn>
                <a:cxn ang="0">
                  <a:pos x="230" y="28"/>
                </a:cxn>
              </a:cxnLst>
              <a:rect l="0" t="0" r="r" b="b"/>
              <a:pathLst>
                <a:path w="257" h="124">
                  <a:moveTo>
                    <a:pt x="230" y="28"/>
                  </a:moveTo>
                  <a:cubicBezTo>
                    <a:pt x="219" y="50"/>
                    <a:pt x="225" y="45"/>
                    <a:pt x="222" y="48"/>
                  </a:cubicBezTo>
                  <a:cubicBezTo>
                    <a:pt x="219" y="50"/>
                    <a:pt x="223" y="55"/>
                    <a:pt x="225" y="53"/>
                  </a:cubicBezTo>
                  <a:cubicBezTo>
                    <a:pt x="227" y="52"/>
                    <a:pt x="231" y="52"/>
                    <a:pt x="234" y="53"/>
                  </a:cubicBezTo>
                  <a:cubicBezTo>
                    <a:pt x="237" y="56"/>
                    <a:pt x="234" y="50"/>
                    <a:pt x="240" y="50"/>
                  </a:cubicBezTo>
                  <a:cubicBezTo>
                    <a:pt x="246" y="50"/>
                    <a:pt x="248" y="53"/>
                    <a:pt x="251" y="56"/>
                  </a:cubicBezTo>
                  <a:cubicBezTo>
                    <a:pt x="254" y="59"/>
                    <a:pt x="257" y="64"/>
                    <a:pt x="255" y="65"/>
                  </a:cubicBezTo>
                  <a:cubicBezTo>
                    <a:pt x="252" y="67"/>
                    <a:pt x="248" y="64"/>
                    <a:pt x="246" y="65"/>
                  </a:cubicBezTo>
                  <a:cubicBezTo>
                    <a:pt x="245" y="67"/>
                    <a:pt x="243" y="64"/>
                    <a:pt x="239" y="65"/>
                  </a:cubicBezTo>
                  <a:cubicBezTo>
                    <a:pt x="236" y="69"/>
                    <a:pt x="231" y="67"/>
                    <a:pt x="228" y="70"/>
                  </a:cubicBezTo>
                  <a:cubicBezTo>
                    <a:pt x="225" y="75"/>
                    <a:pt x="228" y="75"/>
                    <a:pt x="225" y="76"/>
                  </a:cubicBezTo>
                  <a:cubicBezTo>
                    <a:pt x="222" y="80"/>
                    <a:pt x="219" y="81"/>
                    <a:pt x="216" y="80"/>
                  </a:cubicBezTo>
                  <a:cubicBezTo>
                    <a:pt x="211" y="80"/>
                    <a:pt x="213" y="84"/>
                    <a:pt x="207" y="87"/>
                  </a:cubicBezTo>
                  <a:cubicBezTo>
                    <a:pt x="199" y="90"/>
                    <a:pt x="196" y="83"/>
                    <a:pt x="192" y="84"/>
                  </a:cubicBezTo>
                  <a:cubicBezTo>
                    <a:pt x="189" y="84"/>
                    <a:pt x="189" y="87"/>
                    <a:pt x="189" y="92"/>
                  </a:cubicBezTo>
                  <a:cubicBezTo>
                    <a:pt x="189" y="95"/>
                    <a:pt x="195" y="98"/>
                    <a:pt x="192" y="100"/>
                  </a:cubicBezTo>
                  <a:cubicBezTo>
                    <a:pt x="187" y="103"/>
                    <a:pt x="185" y="103"/>
                    <a:pt x="181" y="107"/>
                  </a:cubicBezTo>
                  <a:cubicBezTo>
                    <a:pt x="178" y="112"/>
                    <a:pt x="175" y="111"/>
                    <a:pt x="173" y="114"/>
                  </a:cubicBezTo>
                  <a:cubicBezTo>
                    <a:pt x="172" y="115"/>
                    <a:pt x="170" y="112"/>
                    <a:pt x="169" y="114"/>
                  </a:cubicBezTo>
                  <a:cubicBezTo>
                    <a:pt x="166" y="115"/>
                    <a:pt x="166" y="114"/>
                    <a:pt x="160" y="114"/>
                  </a:cubicBezTo>
                  <a:cubicBezTo>
                    <a:pt x="155" y="114"/>
                    <a:pt x="158" y="112"/>
                    <a:pt x="154" y="115"/>
                  </a:cubicBezTo>
                  <a:cubicBezTo>
                    <a:pt x="151" y="118"/>
                    <a:pt x="151" y="115"/>
                    <a:pt x="138" y="123"/>
                  </a:cubicBezTo>
                  <a:cubicBezTo>
                    <a:pt x="137" y="124"/>
                    <a:pt x="137" y="121"/>
                    <a:pt x="134" y="123"/>
                  </a:cubicBezTo>
                  <a:cubicBezTo>
                    <a:pt x="132" y="123"/>
                    <a:pt x="135" y="118"/>
                    <a:pt x="131" y="120"/>
                  </a:cubicBezTo>
                  <a:cubicBezTo>
                    <a:pt x="126" y="123"/>
                    <a:pt x="120" y="117"/>
                    <a:pt x="117" y="117"/>
                  </a:cubicBezTo>
                  <a:cubicBezTo>
                    <a:pt x="114" y="117"/>
                    <a:pt x="111" y="111"/>
                    <a:pt x="100" y="111"/>
                  </a:cubicBezTo>
                  <a:cubicBezTo>
                    <a:pt x="90" y="112"/>
                    <a:pt x="88" y="112"/>
                    <a:pt x="75" y="111"/>
                  </a:cubicBezTo>
                  <a:cubicBezTo>
                    <a:pt x="72" y="109"/>
                    <a:pt x="69" y="112"/>
                    <a:pt x="69" y="109"/>
                  </a:cubicBezTo>
                  <a:cubicBezTo>
                    <a:pt x="67" y="104"/>
                    <a:pt x="65" y="107"/>
                    <a:pt x="64" y="100"/>
                  </a:cubicBezTo>
                  <a:cubicBezTo>
                    <a:pt x="62" y="93"/>
                    <a:pt x="64" y="100"/>
                    <a:pt x="55" y="92"/>
                  </a:cubicBezTo>
                  <a:cubicBezTo>
                    <a:pt x="47" y="84"/>
                    <a:pt x="43" y="84"/>
                    <a:pt x="38" y="84"/>
                  </a:cubicBezTo>
                  <a:cubicBezTo>
                    <a:pt x="34" y="84"/>
                    <a:pt x="31" y="83"/>
                    <a:pt x="27" y="83"/>
                  </a:cubicBezTo>
                  <a:cubicBezTo>
                    <a:pt x="23" y="83"/>
                    <a:pt x="23" y="78"/>
                    <a:pt x="24" y="76"/>
                  </a:cubicBezTo>
                  <a:cubicBezTo>
                    <a:pt x="27" y="72"/>
                    <a:pt x="24" y="73"/>
                    <a:pt x="26" y="67"/>
                  </a:cubicBezTo>
                  <a:cubicBezTo>
                    <a:pt x="27" y="61"/>
                    <a:pt x="20" y="55"/>
                    <a:pt x="18" y="52"/>
                  </a:cubicBezTo>
                  <a:cubicBezTo>
                    <a:pt x="18" y="50"/>
                    <a:pt x="17" y="53"/>
                    <a:pt x="15" y="50"/>
                  </a:cubicBezTo>
                  <a:cubicBezTo>
                    <a:pt x="14" y="47"/>
                    <a:pt x="12" y="52"/>
                    <a:pt x="9" y="48"/>
                  </a:cubicBezTo>
                  <a:cubicBezTo>
                    <a:pt x="5" y="47"/>
                    <a:pt x="0" y="41"/>
                    <a:pt x="2" y="36"/>
                  </a:cubicBezTo>
                  <a:cubicBezTo>
                    <a:pt x="6" y="30"/>
                    <a:pt x="5" y="35"/>
                    <a:pt x="12" y="31"/>
                  </a:cubicBezTo>
                  <a:cubicBezTo>
                    <a:pt x="18" y="30"/>
                    <a:pt x="12" y="28"/>
                    <a:pt x="21" y="24"/>
                  </a:cubicBezTo>
                  <a:cubicBezTo>
                    <a:pt x="31" y="19"/>
                    <a:pt x="37" y="16"/>
                    <a:pt x="41" y="19"/>
                  </a:cubicBezTo>
                  <a:cubicBezTo>
                    <a:pt x="46" y="22"/>
                    <a:pt x="52" y="16"/>
                    <a:pt x="53" y="22"/>
                  </a:cubicBezTo>
                  <a:cubicBezTo>
                    <a:pt x="55" y="27"/>
                    <a:pt x="81" y="31"/>
                    <a:pt x="84" y="24"/>
                  </a:cubicBezTo>
                  <a:cubicBezTo>
                    <a:pt x="85" y="17"/>
                    <a:pt x="76" y="17"/>
                    <a:pt x="82" y="10"/>
                  </a:cubicBezTo>
                  <a:cubicBezTo>
                    <a:pt x="88" y="0"/>
                    <a:pt x="85" y="0"/>
                    <a:pt x="99" y="5"/>
                  </a:cubicBezTo>
                  <a:cubicBezTo>
                    <a:pt x="111" y="11"/>
                    <a:pt x="116" y="5"/>
                    <a:pt x="116" y="13"/>
                  </a:cubicBezTo>
                  <a:cubicBezTo>
                    <a:pt x="116" y="21"/>
                    <a:pt x="123" y="27"/>
                    <a:pt x="131" y="24"/>
                  </a:cubicBezTo>
                  <a:cubicBezTo>
                    <a:pt x="140" y="21"/>
                    <a:pt x="141" y="21"/>
                    <a:pt x="152" y="25"/>
                  </a:cubicBezTo>
                  <a:cubicBezTo>
                    <a:pt x="163" y="28"/>
                    <a:pt x="157" y="31"/>
                    <a:pt x="170" y="35"/>
                  </a:cubicBezTo>
                  <a:cubicBezTo>
                    <a:pt x="190" y="39"/>
                    <a:pt x="182" y="31"/>
                    <a:pt x="195" y="33"/>
                  </a:cubicBezTo>
                  <a:cubicBezTo>
                    <a:pt x="207" y="33"/>
                    <a:pt x="204" y="17"/>
                    <a:pt x="214" y="24"/>
                  </a:cubicBezTo>
                  <a:cubicBezTo>
                    <a:pt x="223" y="30"/>
                    <a:pt x="223" y="24"/>
                    <a:pt x="230" y="2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 10"/>
            <p:cNvSpPr>
              <a:spLocks/>
            </p:cNvSpPr>
            <p:nvPr/>
          </p:nvSpPr>
          <p:spPr bwMode="auto">
            <a:xfrm>
              <a:off x="7023752" y="3006280"/>
              <a:ext cx="1251773" cy="1029436"/>
            </a:xfrm>
            <a:custGeom>
              <a:avLst/>
              <a:gdLst/>
              <a:ahLst/>
              <a:cxnLst>
                <a:cxn ang="0">
                  <a:pos x="441" y="136"/>
                </a:cxn>
                <a:cxn ang="0">
                  <a:pos x="427" y="142"/>
                </a:cxn>
                <a:cxn ang="0">
                  <a:pos x="414" y="150"/>
                </a:cxn>
                <a:cxn ang="0">
                  <a:pos x="398" y="160"/>
                </a:cxn>
                <a:cxn ang="0">
                  <a:pos x="383" y="171"/>
                </a:cxn>
                <a:cxn ang="0">
                  <a:pos x="382" y="160"/>
                </a:cxn>
                <a:cxn ang="0">
                  <a:pos x="376" y="151"/>
                </a:cxn>
                <a:cxn ang="0">
                  <a:pos x="351" y="168"/>
                </a:cxn>
                <a:cxn ang="0">
                  <a:pos x="365" y="190"/>
                </a:cxn>
                <a:cxn ang="0">
                  <a:pos x="383" y="187"/>
                </a:cxn>
                <a:cxn ang="0">
                  <a:pos x="385" y="193"/>
                </a:cxn>
                <a:cxn ang="0">
                  <a:pos x="371" y="204"/>
                </a:cxn>
                <a:cxn ang="0">
                  <a:pos x="379" y="240"/>
                </a:cxn>
                <a:cxn ang="0">
                  <a:pos x="371" y="246"/>
                </a:cxn>
                <a:cxn ang="0">
                  <a:pos x="383" y="257"/>
                </a:cxn>
                <a:cxn ang="0">
                  <a:pos x="386" y="268"/>
                </a:cxn>
                <a:cxn ang="0">
                  <a:pos x="380" y="285"/>
                </a:cxn>
                <a:cxn ang="0">
                  <a:pos x="368" y="300"/>
                </a:cxn>
                <a:cxn ang="0">
                  <a:pos x="365" y="313"/>
                </a:cxn>
                <a:cxn ang="0">
                  <a:pos x="357" y="322"/>
                </a:cxn>
                <a:cxn ang="0">
                  <a:pos x="345" y="333"/>
                </a:cxn>
                <a:cxn ang="0">
                  <a:pos x="335" y="342"/>
                </a:cxn>
                <a:cxn ang="0">
                  <a:pos x="325" y="345"/>
                </a:cxn>
                <a:cxn ang="0">
                  <a:pos x="316" y="347"/>
                </a:cxn>
                <a:cxn ang="0">
                  <a:pos x="303" y="353"/>
                </a:cxn>
                <a:cxn ang="0">
                  <a:pos x="290" y="364"/>
                </a:cxn>
                <a:cxn ang="0">
                  <a:pos x="287" y="353"/>
                </a:cxn>
                <a:cxn ang="0">
                  <a:pos x="277" y="353"/>
                </a:cxn>
                <a:cxn ang="0">
                  <a:pos x="265" y="342"/>
                </a:cxn>
                <a:cxn ang="0">
                  <a:pos x="245" y="341"/>
                </a:cxn>
                <a:cxn ang="0">
                  <a:pos x="233" y="341"/>
                </a:cxn>
                <a:cxn ang="0">
                  <a:pos x="220" y="353"/>
                </a:cxn>
                <a:cxn ang="0">
                  <a:pos x="205" y="345"/>
                </a:cxn>
                <a:cxn ang="0">
                  <a:pos x="195" y="328"/>
                </a:cxn>
                <a:cxn ang="0">
                  <a:pos x="201" y="310"/>
                </a:cxn>
                <a:cxn ang="0">
                  <a:pos x="190" y="285"/>
                </a:cxn>
                <a:cxn ang="0">
                  <a:pos x="176" y="274"/>
                </a:cxn>
                <a:cxn ang="0">
                  <a:pos x="144" y="289"/>
                </a:cxn>
                <a:cxn ang="0">
                  <a:pos x="126" y="289"/>
                </a:cxn>
                <a:cxn ang="0">
                  <a:pos x="105" y="286"/>
                </a:cxn>
                <a:cxn ang="0">
                  <a:pos x="93" y="280"/>
                </a:cxn>
                <a:cxn ang="0">
                  <a:pos x="67" y="261"/>
                </a:cxn>
                <a:cxn ang="0">
                  <a:pos x="41" y="241"/>
                </a:cxn>
                <a:cxn ang="0">
                  <a:pos x="47" y="223"/>
                </a:cxn>
                <a:cxn ang="0">
                  <a:pos x="45" y="202"/>
                </a:cxn>
                <a:cxn ang="0">
                  <a:pos x="21" y="196"/>
                </a:cxn>
                <a:cxn ang="0">
                  <a:pos x="12" y="179"/>
                </a:cxn>
                <a:cxn ang="0">
                  <a:pos x="7" y="157"/>
                </a:cxn>
                <a:cxn ang="0">
                  <a:pos x="39" y="143"/>
                </a:cxn>
                <a:cxn ang="0">
                  <a:pos x="56" y="106"/>
                </a:cxn>
                <a:cxn ang="0">
                  <a:pos x="76" y="78"/>
                </a:cxn>
                <a:cxn ang="0">
                  <a:pos x="111" y="55"/>
                </a:cxn>
                <a:cxn ang="0">
                  <a:pos x="140" y="84"/>
                </a:cxn>
                <a:cxn ang="0">
                  <a:pos x="178" y="117"/>
                </a:cxn>
                <a:cxn ang="0">
                  <a:pos x="245" y="137"/>
                </a:cxn>
                <a:cxn ang="0">
                  <a:pos x="283" y="131"/>
                </a:cxn>
                <a:cxn ang="0">
                  <a:pos x="306" y="101"/>
                </a:cxn>
                <a:cxn ang="0">
                  <a:pos x="353" y="83"/>
                </a:cxn>
                <a:cxn ang="0">
                  <a:pos x="348" y="70"/>
                </a:cxn>
                <a:cxn ang="0">
                  <a:pos x="373" y="24"/>
                </a:cxn>
                <a:cxn ang="0">
                  <a:pos x="441" y="50"/>
                </a:cxn>
                <a:cxn ang="0">
                  <a:pos x="481" y="64"/>
                </a:cxn>
                <a:cxn ang="0">
                  <a:pos x="458" y="123"/>
                </a:cxn>
              </a:cxnLst>
              <a:rect l="0" t="0" r="r" b="b"/>
              <a:pathLst>
                <a:path w="490" h="367">
                  <a:moveTo>
                    <a:pt x="453" y="131"/>
                  </a:moveTo>
                  <a:cubicBezTo>
                    <a:pt x="453" y="128"/>
                    <a:pt x="453" y="131"/>
                    <a:pt x="452" y="129"/>
                  </a:cubicBezTo>
                  <a:cubicBezTo>
                    <a:pt x="450" y="128"/>
                    <a:pt x="452" y="126"/>
                    <a:pt x="449" y="125"/>
                  </a:cubicBezTo>
                  <a:cubicBezTo>
                    <a:pt x="446" y="125"/>
                    <a:pt x="449" y="132"/>
                    <a:pt x="446" y="131"/>
                  </a:cubicBezTo>
                  <a:cubicBezTo>
                    <a:pt x="443" y="131"/>
                    <a:pt x="444" y="134"/>
                    <a:pt x="441" y="136"/>
                  </a:cubicBezTo>
                  <a:cubicBezTo>
                    <a:pt x="440" y="137"/>
                    <a:pt x="441" y="136"/>
                    <a:pt x="438" y="136"/>
                  </a:cubicBezTo>
                  <a:cubicBezTo>
                    <a:pt x="436" y="137"/>
                    <a:pt x="433" y="134"/>
                    <a:pt x="433" y="137"/>
                  </a:cubicBezTo>
                  <a:cubicBezTo>
                    <a:pt x="433" y="140"/>
                    <a:pt x="436" y="140"/>
                    <a:pt x="435" y="142"/>
                  </a:cubicBezTo>
                  <a:cubicBezTo>
                    <a:pt x="433" y="143"/>
                    <a:pt x="433" y="142"/>
                    <a:pt x="432" y="142"/>
                  </a:cubicBezTo>
                  <a:cubicBezTo>
                    <a:pt x="430" y="143"/>
                    <a:pt x="429" y="142"/>
                    <a:pt x="427" y="142"/>
                  </a:cubicBezTo>
                  <a:cubicBezTo>
                    <a:pt x="426" y="142"/>
                    <a:pt x="426" y="137"/>
                    <a:pt x="424" y="139"/>
                  </a:cubicBezTo>
                  <a:cubicBezTo>
                    <a:pt x="423" y="140"/>
                    <a:pt x="424" y="139"/>
                    <a:pt x="423" y="140"/>
                  </a:cubicBezTo>
                  <a:cubicBezTo>
                    <a:pt x="421" y="142"/>
                    <a:pt x="423" y="142"/>
                    <a:pt x="421" y="143"/>
                  </a:cubicBezTo>
                  <a:cubicBezTo>
                    <a:pt x="420" y="145"/>
                    <a:pt x="418" y="148"/>
                    <a:pt x="417" y="148"/>
                  </a:cubicBezTo>
                  <a:cubicBezTo>
                    <a:pt x="414" y="148"/>
                    <a:pt x="415" y="150"/>
                    <a:pt x="414" y="150"/>
                  </a:cubicBezTo>
                  <a:cubicBezTo>
                    <a:pt x="412" y="150"/>
                    <a:pt x="414" y="151"/>
                    <a:pt x="412" y="151"/>
                  </a:cubicBezTo>
                  <a:cubicBezTo>
                    <a:pt x="409" y="153"/>
                    <a:pt x="411" y="153"/>
                    <a:pt x="409" y="153"/>
                  </a:cubicBezTo>
                  <a:cubicBezTo>
                    <a:pt x="408" y="153"/>
                    <a:pt x="406" y="156"/>
                    <a:pt x="405" y="157"/>
                  </a:cubicBezTo>
                  <a:cubicBezTo>
                    <a:pt x="405" y="159"/>
                    <a:pt x="405" y="159"/>
                    <a:pt x="405" y="159"/>
                  </a:cubicBezTo>
                  <a:cubicBezTo>
                    <a:pt x="401" y="162"/>
                    <a:pt x="400" y="159"/>
                    <a:pt x="398" y="160"/>
                  </a:cubicBezTo>
                  <a:cubicBezTo>
                    <a:pt x="397" y="162"/>
                    <a:pt x="397" y="159"/>
                    <a:pt x="395" y="162"/>
                  </a:cubicBezTo>
                  <a:cubicBezTo>
                    <a:pt x="395" y="164"/>
                    <a:pt x="392" y="162"/>
                    <a:pt x="391" y="164"/>
                  </a:cubicBezTo>
                  <a:cubicBezTo>
                    <a:pt x="389" y="165"/>
                    <a:pt x="388" y="165"/>
                    <a:pt x="386" y="168"/>
                  </a:cubicBezTo>
                  <a:cubicBezTo>
                    <a:pt x="386" y="171"/>
                    <a:pt x="383" y="170"/>
                    <a:pt x="383" y="170"/>
                  </a:cubicBezTo>
                  <a:cubicBezTo>
                    <a:pt x="383" y="170"/>
                    <a:pt x="385" y="171"/>
                    <a:pt x="383" y="171"/>
                  </a:cubicBezTo>
                  <a:cubicBezTo>
                    <a:pt x="380" y="171"/>
                    <a:pt x="379" y="174"/>
                    <a:pt x="379" y="171"/>
                  </a:cubicBezTo>
                  <a:cubicBezTo>
                    <a:pt x="379" y="168"/>
                    <a:pt x="379" y="171"/>
                    <a:pt x="380" y="170"/>
                  </a:cubicBezTo>
                  <a:cubicBezTo>
                    <a:pt x="382" y="167"/>
                    <a:pt x="382" y="170"/>
                    <a:pt x="383" y="168"/>
                  </a:cubicBezTo>
                  <a:cubicBezTo>
                    <a:pt x="383" y="165"/>
                    <a:pt x="380" y="164"/>
                    <a:pt x="380" y="164"/>
                  </a:cubicBezTo>
                  <a:cubicBezTo>
                    <a:pt x="379" y="164"/>
                    <a:pt x="382" y="162"/>
                    <a:pt x="382" y="160"/>
                  </a:cubicBezTo>
                  <a:cubicBezTo>
                    <a:pt x="380" y="160"/>
                    <a:pt x="383" y="160"/>
                    <a:pt x="386" y="156"/>
                  </a:cubicBezTo>
                  <a:cubicBezTo>
                    <a:pt x="388" y="153"/>
                    <a:pt x="388" y="153"/>
                    <a:pt x="386" y="151"/>
                  </a:cubicBezTo>
                  <a:cubicBezTo>
                    <a:pt x="383" y="148"/>
                    <a:pt x="385" y="148"/>
                    <a:pt x="383" y="148"/>
                  </a:cubicBezTo>
                  <a:cubicBezTo>
                    <a:pt x="382" y="150"/>
                    <a:pt x="380" y="146"/>
                    <a:pt x="379" y="148"/>
                  </a:cubicBezTo>
                  <a:cubicBezTo>
                    <a:pt x="376" y="150"/>
                    <a:pt x="379" y="150"/>
                    <a:pt x="376" y="151"/>
                  </a:cubicBezTo>
                  <a:cubicBezTo>
                    <a:pt x="374" y="154"/>
                    <a:pt x="376" y="156"/>
                    <a:pt x="373" y="156"/>
                  </a:cubicBezTo>
                  <a:cubicBezTo>
                    <a:pt x="371" y="157"/>
                    <a:pt x="363" y="160"/>
                    <a:pt x="363" y="164"/>
                  </a:cubicBezTo>
                  <a:cubicBezTo>
                    <a:pt x="363" y="167"/>
                    <a:pt x="362" y="168"/>
                    <a:pt x="359" y="168"/>
                  </a:cubicBezTo>
                  <a:cubicBezTo>
                    <a:pt x="357" y="167"/>
                    <a:pt x="357" y="171"/>
                    <a:pt x="356" y="168"/>
                  </a:cubicBezTo>
                  <a:cubicBezTo>
                    <a:pt x="354" y="167"/>
                    <a:pt x="351" y="167"/>
                    <a:pt x="351" y="168"/>
                  </a:cubicBezTo>
                  <a:cubicBezTo>
                    <a:pt x="351" y="170"/>
                    <a:pt x="350" y="171"/>
                    <a:pt x="351" y="174"/>
                  </a:cubicBezTo>
                  <a:cubicBezTo>
                    <a:pt x="351" y="178"/>
                    <a:pt x="353" y="178"/>
                    <a:pt x="354" y="178"/>
                  </a:cubicBezTo>
                  <a:cubicBezTo>
                    <a:pt x="354" y="179"/>
                    <a:pt x="357" y="179"/>
                    <a:pt x="359" y="179"/>
                  </a:cubicBezTo>
                  <a:cubicBezTo>
                    <a:pt x="360" y="178"/>
                    <a:pt x="363" y="182"/>
                    <a:pt x="362" y="184"/>
                  </a:cubicBezTo>
                  <a:cubicBezTo>
                    <a:pt x="360" y="185"/>
                    <a:pt x="362" y="190"/>
                    <a:pt x="365" y="190"/>
                  </a:cubicBezTo>
                  <a:cubicBezTo>
                    <a:pt x="370" y="190"/>
                    <a:pt x="370" y="190"/>
                    <a:pt x="370" y="188"/>
                  </a:cubicBezTo>
                  <a:cubicBezTo>
                    <a:pt x="368" y="187"/>
                    <a:pt x="371" y="187"/>
                    <a:pt x="373" y="185"/>
                  </a:cubicBezTo>
                  <a:cubicBezTo>
                    <a:pt x="373" y="182"/>
                    <a:pt x="377" y="182"/>
                    <a:pt x="379" y="184"/>
                  </a:cubicBezTo>
                  <a:cubicBezTo>
                    <a:pt x="379" y="184"/>
                    <a:pt x="379" y="185"/>
                    <a:pt x="380" y="185"/>
                  </a:cubicBezTo>
                  <a:cubicBezTo>
                    <a:pt x="382" y="184"/>
                    <a:pt x="380" y="185"/>
                    <a:pt x="383" y="187"/>
                  </a:cubicBezTo>
                  <a:cubicBezTo>
                    <a:pt x="388" y="187"/>
                    <a:pt x="385" y="184"/>
                    <a:pt x="388" y="185"/>
                  </a:cubicBezTo>
                  <a:cubicBezTo>
                    <a:pt x="388" y="187"/>
                    <a:pt x="392" y="187"/>
                    <a:pt x="391" y="188"/>
                  </a:cubicBezTo>
                  <a:cubicBezTo>
                    <a:pt x="388" y="192"/>
                    <a:pt x="392" y="192"/>
                    <a:pt x="389" y="193"/>
                  </a:cubicBezTo>
                  <a:cubicBezTo>
                    <a:pt x="386" y="195"/>
                    <a:pt x="388" y="192"/>
                    <a:pt x="386" y="192"/>
                  </a:cubicBezTo>
                  <a:cubicBezTo>
                    <a:pt x="385" y="193"/>
                    <a:pt x="386" y="190"/>
                    <a:pt x="385" y="193"/>
                  </a:cubicBezTo>
                  <a:cubicBezTo>
                    <a:pt x="382" y="195"/>
                    <a:pt x="382" y="193"/>
                    <a:pt x="380" y="195"/>
                  </a:cubicBezTo>
                  <a:cubicBezTo>
                    <a:pt x="377" y="196"/>
                    <a:pt x="377" y="198"/>
                    <a:pt x="377" y="198"/>
                  </a:cubicBezTo>
                  <a:cubicBezTo>
                    <a:pt x="376" y="198"/>
                    <a:pt x="376" y="201"/>
                    <a:pt x="374" y="201"/>
                  </a:cubicBezTo>
                  <a:cubicBezTo>
                    <a:pt x="371" y="202"/>
                    <a:pt x="373" y="199"/>
                    <a:pt x="371" y="199"/>
                  </a:cubicBezTo>
                  <a:cubicBezTo>
                    <a:pt x="370" y="201"/>
                    <a:pt x="373" y="202"/>
                    <a:pt x="371" y="204"/>
                  </a:cubicBezTo>
                  <a:cubicBezTo>
                    <a:pt x="370" y="204"/>
                    <a:pt x="371" y="206"/>
                    <a:pt x="368" y="206"/>
                  </a:cubicBezTo>
                  <a:cubicBezTo>
                    <a:pt x="366" y="207"/>
                    <a:pt x="360" y="216"/>
                    <a:pt x="363" y="215"/>
                  </a:cubicBezTo>
                  <a:cubicBezTo>
                    <a:pt x="368" y="215"/>
                    <a:pt x="365" y="218"/>
                    <a:pt x="370" y="220"/>
                  </a:cubicBezTo>
                  <a:cubicBezTo>
                    <a:pt x="374" y="221"/>
                    <a:pt x="373" y="227"/>
                    <a:pt x="376" y="232"/>
                  </a:cubicBezTo>
                  <a:cubicBezTo>
                    <a:pt x="379" y="237"/>
                    <a:pt x="376" y="237"/>
                    <a:pt x="379" y="240"/>
                  </a:cubicBezTo>
                  <a:cubicBezTo>
                    <a:pt x="382" y="241"/>
                    <a:pt x="380" y="241"/>
                    <a:pt x="382" y="244"/>
                  </a:cubicBezTo>
                  <a:cubicBezTo>
                    <a:pt x="385" y="246"/>
                    <a:pt x="386" y="249"/>
                    <a:pt x="383" y="247"/>
                  </a:cubicBezTo>
                  <a:cubicBezTo>
                    <a:pt x="379" y="246"/>
                    <a:pt x="379" y="247"/>
                    <a:pt x="377" y="246"/>
                  </a:cubicBezTo>
                  <a:cubicBezTo>
                    <a:pt x="376" y="246"/>
                    <a:pt x="377" y="244"/>
                    <a:pt x="376" y="244"/>
                  </a:cubicBezTo>
                  <a:cubicBezTo>
                    <a:pt x="374" y="243"/>
                    <a:pt x="373" y="246"/>
                    <a:pt x="371" y="246"/>
                  </a:cubicBezTo>
                  <a:cubicBezTo>
                    <a:pt x="370" y="244"/>
                    <a:pt x="368" y="240"/>
                    <a:pt x="368" y="241"/>
                  </a:cubicBezTo>
                  <a:cubicBezTo>
                    <a:pt x="366" y="243"/>
                    <a:pt x="371" y="247"/>
                    <a:pt x="374" y="244"/>
                  </a:cubicBezTo>
                  <a:cubicBezTo>
                    <a:pt x="374" y="244"/>
                    <a:pt x="377" y="246"/>
                    <a:pt x="376" y="246"/>
                  </a:cubicBezTo>
                  <a:cubicBezTo>
                    <a:pt x="376" y="247"/>
                    <a:pt x="377" y="247"/>
                    <a:pt x="380" y="251"/>
                  </a:cubicBezTo>
                  <a:cubicBezTo>
                    <a:pt x="383" y="254"/>
                    <a:pt x="386" y="257"/>
                    <a:pt x="383" y="257"/>
                  </a:cubicBezTo>
                  <a:cubicBezTo>
                    <a:pt x="382" y="257"/>
                    <a:pt x="377" y="260"/>
                    <a:pt x="377" y="261"/>
                  </a:cubicBezTo>
                  <a:cubicBezTo>
                    <a:pt x="377" y="263"/>
                    <a:pt x="374" y="260"/>
                    <a:pt x="373" y="263"/>
                  </a:cubicBezTo>
                  <a:cubicBezTo>
                    <a:pt x="373" y="265"/>
                    <a:pt x="374" y="261"/>
                    <a:pt x="374" y="263"/>
                  </a:cubicBezTo>
                  <a:cubicBezTo>
                    <a:pt x="376" y="268"/>
                    <a:pt x="379" y="260"/>
                    <a:pt x="382" y="265"/>
                  </a:cubicBezTo>
                  <a:cubicBezTo>
                    <a:pt x="385" y="268"/>
                    <a:pt x="388" y="266"/>
                    <a:pt x="386" y="268"/>
                  </a:cubicBezTo>
                  <a:cubicBezTo>
                    <a:pt x="382" y="271"/>
                    <a:pt x="385" y="268"/>
                    <a:pt x="385" y="272"/>
                  </a:cubicBezTo>
                  <a:cubicBezTo>
                    <a:pt x="386" y="277"/>
                    <a:pt x="380" y="274"/>
                    <a:pt x="383" y="275"/>
                  </a:cubicBezTo>
                  <a:cubicBezTo>
                    <a:pt x="385" y="277"/>
                    <a:pt x="382" y="277"/>
                    <a:pt x="383" y="279"/>
                  </a:cubicBezTo>
                  <a:cubicBezTo>
                    <a:pt x="383" y="280"/>
                    <a:pt x="380" y="279"/>
                    <a:pt x="382" y="282"/>
                  </a:cubicBezTo>
                  <a:cubicBezTo>
                    <a:pt x="383" y="285"/>
                    <a:pt x="382" y="283"/>
                    <a:pt x="380" y="285"/>
                  </a:cubicBezTo>
                  <a:cubicBezTo>
                    <a:pt x="380" y="286"/>
                    <a:pt x="380" y="280"/>
                    <a:pt x="379" y="285"/>
                  </a:cubicBezTo>
                  <a:cubicBezTo>
                    <a:pt x="377" y="289"/>
                    <a:pt x="374" y="289"/>
                    <a:pt x="374" y="291"/>
                  </a:cubicBezTo>
                  <a:cubicBezTo>
                    <a:pt x="376" y="293"/>
                    <a:pt x="373" y="297"/>
                    <a:pt x="371" y="299"/>
                  </a:cubicBezTo>
                  <a:cubicBezTo>
                    <a:pt x="370" y="299"/>
                    <a:pt x="373" y="300"/>
                    <a:pt x="370" y="302"/>
                  </a:cubicBezTo>
                  <a:cubicBezTo>
                    <a:pt x="368" y="302"/>
                    <a:pt x="370" y="299"/>
                    <a:pt x="368" y="300"/>
                  </a:cubicBezTo>
                  <a:cubicBezTo>
                    <a:pt x="365" y="300"/>
                    <a:pt x="368" y="300"/>
                    <a:pt x="368" y="302"/>
                  </a:cubicBezTo>
                  <a:cubicBezTo>
                    <a:pt x="370" y="305"/>
                    <a:pt x="371" y="303"/>
                    <a:pt x="368" y="303"/>
                  </a:cubicBezTo>
                  <a:cubicBezTo>
                    <a:pt x="366" y="305"/>
                    <a:pt x="365" y="308"/>
                    <a:pt x="366" y="307"/>
                  </a:cubicBezTo>
                  <a:cubicBezTo>
                    <a:pt x="370" y="307"/>
                    <a:pt x="365" y="310"/>
                    <a:pt x="366" y="313"/>
                  </a:cubicBezTo>
                  <a:cubicBezTo>
                    <a:pt x="368" y="314"/>
                    <a:pt x="366" y="316"/>
                    <a:pt x="365" y="313"/>
                  </a:cubicBezTo>
                  <a:cubicBezTo>
                    <a:pt x="363" y="311"/>
                    <a:pt x="362" y="313"/>
                    <a:pt x="363" y="314"/>
                  </a:cubicBezTo>
                  <a:cubicBezTo>
                    <a:pt x="363" y="314"/>
                    <a:pt x="366" y="314"/>
                    <a:pt x="363" y="316"/>
                  </a:cubicBezTo>
                  <a:cubicBezTo>
                    <a:pt x="362" y="317"/>
                    <a:pt x="362" y="314"/>
                    <a:pt x="360" y="316"/>
                  </a:cubicBezTo>
                  <a:cubicBezTo>
                    <a:pt x="360" y="317"/>
                    <a:pt x="363" y="317"/>
                    <a:pt x="362" y="319"/>
                  </a:cubicBezTo>
                  <a:cubicBezTo>
                    <a:pt x="359" y="320"/>
                    <a:pt x="359" y="324"/>
                    <a:pt x="357" y="322"/>
                  </a:cubicBezTo>
                  <a:cubicBezTo>
                    <a:pt x="356" y="320"/>
                    <a:pt x="356" y="324"/>
                    <a:pt x="356" y="322"/>
                  </a:cubicBezTo>
                  <a:cubicBezTo>
                    <a:pt x="354" y="320"/>
                    <a:pt x="354" y="324"/>
                    <a:pt x="354" y="324"/>
                  </a:cubicBezTo>
                  <a:cubicBezTo>
                    <a:pt x="356" y="325"/>
                    <a:pt x="353" y="328"/>
                    <a:pt x="351" y="330"/>
                  </a:cubicBezTo>
                  <a:cubicBezTo>
                    <a:pt x="350" y="331"/>
                    <a:pt x="351" y="328"/>
                    <a:pt x="348" y="330"/>
                  </a:cubicBezTo>
                  <a:cubicBezTo>
                    <a:pt x="347" y="333"/>
                    <a:pt x="347" y="330"/>
                    <a:pt x="345" y="333"/>
                  </a:cubicBezTo>
                  <a:cubicBezTo>
                    <a:pt x="344" y="335"/>
                    <a:pt x="342" y="335"/>
                    <a:pt x="344" y="335"/>
                  </a:cubicBezTo>
                  <a:cubicBezTo>
                    <a:pt x="345" y="336"/>
                    <a:pt x="342" y="336"/>
                    <a:pt x="342" y="338"/>
                  </a:cubicBezTo>
                  <a:cubicBezTo>
                    <a:pt x="342" y="339"/>
                    <a:pt x="341" y="339"/>
                    <a:pt x="338" y="341"/>
                  </a:cubicBezTo>
                  <a:cubicBezTo>
                    <a:pt x="336" y="342"/>
                    <a:pt x="336" y="339"/>
                    <a:pt x="335" y="339"/>
                  </a:cubicBezTo>
                  <a:cubicBezTo>
                    <a:pt x="335" y="339"/>
                    <a:pt x="336" y="342"/>
                    <a:pt x="335" y="342"/>
                  </a:cubicBezTo>
                  <a:cubicBezTo>
                    <a:pt x="333" y="341"/>
                    <a:pt x="331" y="339"/>
                    <a:pt x="330" y="342"/>
                  </a:cubicBezTo>
                  <a:cubicBezTo>
                    <a:pt x="328" y="344"/>
                    <a:pt x="328" y="339"/>
                    <a:pt x="327" y="341"/>
                  </a:cubicBezTo>
                  <a:cubicBezTo>
                    <a:pt x="325" y="341"/>
                    <a:pt x="328" y="342"/>
                    <a:pt x="327" y="344"/>
                  </a:cubicBezTo>
                  <a:cubicBezTo>
                    <a:pt x="325" y="344"/>
                    <a:pt x="325" y="341"/>
                    <a:pt x="325" y="342"/>
                  </a:cubicBezTo>
                  <a:cubicBezTo>
                    <a:pt x="324" y="344"/>
                    <a:pt x="325" y="344"/>
                    <a:pt x="325" y="345"/>
                  </a:cubicBezTo>
                  <a:cubicBezTo>
                    <a:pt x="324" y="345"/>
                    <a:pt x="324" y="345"/>
                    <a:pt x="322" y="345"/>
                  </a:cubicBezTo>
                  <a:cubicBezTo>
                    <a:pt x="321" y="344"/>
                    <a:pt x="322" y="344"/>
                    <a:pt x="321" y="342"/>
                  </a:cubicBezTo>
                  <a:cubicBezTo>
                    <a:pt x="319" y="341"/>
                    <a:pt x="319" y="338"/>
                    <a:pt x="318" y="339"/>
                  </a:cubicBezTo>
                  <a:cubicBezTo>
                    <a:pt x="318" y="339"/>
                    <a:pt x="319" y="344"/>
                    <a:pt x="319" y="345"/>
                  </a:cubicBezTo>
                  <a:cubicBezTo>
                    <a:pt x="318" y="348"/>
                    <a:pt x="318" y="345"/>
                    <a:pt x="316" y="347"/>
                  </a:cubicBezTo>
                  <a:cubicBezTo>
                    <a:pt x="316" y="348"/>
                    <a:pt x="315" y="345"/>
                    <a:pt x="315" y="348"/>
                  </a:cubicBezTo>
                  <a:cubicBezTo>
                    <a:pt x="315" y="352"/>
                    <a:pt x="313" y="347"/>
                    <a:pt x="312" y="350"/>
                  </a:cubicBezTo>
                  <a:cubicBezTo>
                    <a:pt x="310" y="352"/>
                    <a:pt x="310" y="348"/>
                    <a:pt x="309" y="350"/>
                  </a:cubicBezTo>
                  <a:cubicBezTo>
                    <a:pt x="307" y="353"/>
                    <a:pt x="309" y="352"/>
                    <a:pt x="307" y="350"/>
                  </a:cubicBezTo>
                  <a:cubicBezTo>
                    <a:pt x="304" y="350"/>
                    <a:pt x="307" y="352"/>
                    <a:pt x="303" y="353"/>
                  </a:cubicBezTo>
                  <a:cubicBezTo>
                    <a:pt x="298" y="355"/>
                    <a:pt x="300" y="353"/>
                    <a:pt x="296" y="355"/>
                  </a:cubicBezTo>
                  <a:cubicBezTo>
                    <a:pt x="293" y="356"/>
                    <a:pt x="292" y="358"/>
                    <a:pt x="292" y="359"/>
                  </a:cubicBezTo>
                  <a:cubicBezTo>
                    <a:pt x="292" y="361"/>
                    <a:pt x="293" y="358"/>
                    <a:pt x="293" y="361"/>
                  </a:cubicBezTo>
                  <a:cubicBezTo>
                    <a:pt x="293" y="364"/>
                    <a:pt x="296" y="364"/>
                    <a:pt x="292" y="366"/>
                  </a:cubicBezTo>
                  <a:cubicBezTo>
                    <a:pt x="289" y="367"/>
                    <a:pt x="290" y="366"/>
                    <a:pt x="290" y="364"/>
                  </a:cubicBezTo>
                  <a:cubicBezTo>
                    <a:pt x="289" y="363"/>
                    <a:pt x="287" y="363"/>
                    <a:pt x="289" y="361"/>
                  </a:cubicBezTo>
                  <a:cubicBezTo>
                    <a:pt x="289" y="359"/>
                    <a:pt x="287" y="361"/>
                    <a:pt x="287" y="358"/>
                  </a:cubicBezTo>
                  <a:cubicBezTo>
                    <a:pt x="289" y="355"/>
                    <a:pt x="290" y="355"/>
                    <a:pt x="289" y="353"/>
                  </a:cubicBezTo>
                  <a:cubicBezTo>
                    <a:pt x="289" y="353"/>
                    <a:pt x="289" y="355"/>
                    <a:pt x="287" y="353"/>
                  </a:cubicBezTo>
                  <a:cubicBezTo>
                    <a:pt x="286" y="350"/>
                    <a:pt x="286" y="352"/>
                    <a:pt x="287" y="353"/>
                  </a:cubicBezTo>
                  <a:cubicBezTo>
                    <a:pt x="287" y="355"/>
                    <a:pt x="286" y="353"/>
                    <a:pt x="284" y="355"/>
                  </a:cubicBezTo>
                  <a:cubicBezTo>
                    <a:pt x="281" y="355"/>
                    <a:pt x="286" y="352"/>
                    <a:pt x="283" y="352"/>
                  </a:cubicBezTo>
                  <a:cubicBezTo>
                    <a:pt x="280" y="352"/>
                    <a:pt x="280" y="348"/>
                    <a:pt x="278" y="350"/>
                  </a:cubicBezTo>
                  <a:cubicBezTo>
                    <a:pt x="278" y="352"/>
                    <a:pt x="280" y="352"/>
                    <a:pt x="278" y="353"/>
                  </a:cubicBezTo>
                  <a:cubicBezTo>
                    <a:pt x="278" y="353"/>
                    <a:pt x="277" y="350"/>
                    <a:pt x="277" y="353"/>
                  </a:cubicBezTo>
                  <a:cubicBezTo>
                    <a:pt x="277" y="355"/>
                    <a:pt x="275" y="353"/>
                    <a:pt x="275" y="353"/>
                  </a:cubicBezTo>
                  <a:cubicBezTo>
                    <a:pt x="272" y="352"/>
                    <a:pt x="271" y="353"/>
                    <a:pt x="269" y="352"/>
                  </a:cubicBezTo>
                  <a:cubicBezTo>
                    <a:pt x="269" y="350"/>
                    <a:pt x="268" y="352"/>
                    <a:pt x="268" y="350"/>
                  </a:cubicBezTo>
                  <a:cubicBezTo>
                    <a:pt x="266" y="347"/>
                    <a:pt x="265" y="348"/>
                    <a:pt x="265" y="347"/>
                  </a:cubicBezTo>
                  <a:cubicBezTo>
                    <a:pt x="265" y="344"/>
                    <a:pt x="262" y="345"/>
                    <a:pt x="265" y="342"/>
                  </a:cubicBezTo>
                  <a:cubicBezTo>
                    <a:pt x="266" y="339"/>
                    <a:pt x="265" y="339"/>
                    <a:pt x="263" y="339"/>
                  </a:cubicBezTo>
                  <a:cubicBezTo>
                    <a:pt x="260" y="341"/>
                    <a:pt x="262" y="338"/>
                    <a:pt x="258" y="339"/>
                  </a:cubicBezTo>
                  <a:cubicBezTo>
                    <a:pt x="255" y="339"/>
                    <a:pt x="254" y="333"/>
                    <a:pt x="252" y="335"/>
                  </a:cubicBezTo>
                  <a:cubicBezTo>
                    <a:pt x="251" y="338"/>
                    <a:pt x="249" y="336"/>
                    <a:pt x="249" y="338"/>
                  </a:cubicBezTo>
                  <a:cubicBezTo>
                    <a:pt x="251" y="339"/>
                    <a:pt x="246" y="342"/>
                    <a:pt x="245" y="341"/>
                  </a:cubicBezTo>
                  <a:cubicBezTo>
                    <a:pt x="245" y="339"/>
                    <a:pt x="243" y="339"/>
                    <a:pt x="243" y="342"/>
                  </a:cubicBezTo>
                  <a:cubicBezTo>
                    <a:pt x="243" y="345"/>
                    <a:pt x="242" y="342"/>
                    <a:pt x="240" y="341"/>
                  </a:cubicBezTo>
                  <a:cubicBezTo>
                    <a:pt x="240" y="341"/>
                    <a:pt x="240" y="342"/>
                    <a:pt x="239" y="341"/>
                  </a:cubicBezTo>
                  <a:cubicBezTo>
                    <a:pt x="237" y="338"/>
                    <a:pt x="237" y="344"/>
                    <a:pt x="236" y="344"/>
                  </a:cubicBezTo>
                  <a:cubicBezTo>
                    <a:pt x="234" y="344"/>
                    <a:pt x="236" y="342"/>
                    <a:pt x="233" y="341"/>
                  </a:cubicBezTo>
                  <a:cubicBezTo>
                    <a:pt x="230" y="339"/>
                    <a:pt x="231" y="344"/>
                    <a:pt x="228" y="344"/>
                  </a:cubicBezTo>
                  <a:cubicBezTo>
                    <a:pt x="227" y="344"/>
                    <a:pt x="222" y="344"/>
                    <a:pt x="225" y="348"/>
                  </a:cubicBezTo>
                  <a:cubicBezTo>
                    <a:pt x="227" y="355"/>
                    <a:pt x="225" y="353"/>
                    <a:pt x="225" y="355"/>
                  </a:cubicBezTo>
                  <a:cubicBezTo>
                    <a:pt x="227" y="356"/>
                    <a:pt x="225" y="358"/>
                    <a:pt x="225" y="356"/>
                  </a:cubicBezTo>
                  <a:cubicBezTo>
                    <a:pt x="223" y="355"/>
                    <a:pt x="222" y="359"/>
                    <a:pt x="220" y="353"/>
                  </a:cubicBezTo>
                  <a:cubicBezTo>
                    <a:pt x="220" y="352"/>
                    <a:pt x="220" y="348"/>
                    <a:pt x="217" y="352"/>
                  </a:cubicBezTo>
                  <a:cubicBezTo>
                    <a:pt x="214" y="356"/>
                    <a:pt x="214" y="353"/>
                    <a:pt x="213" y="353"/>
                  </a:cubicBezTo>
                  <a:cubicBezTo>
                    <a:pt x="211" y="355"/>
                    <a:pt x="213" y="352"/>
                    <a:pt x="211" y="352"/>
                  </a:cubicBezTo>
                  <a:cubicBezTo>
                    <a:pt x="210" y="350"/>
                    <a:pt x="211" y="348"/>
                    <a:pt x="210" y="347"/>
                  </a:cubicBezTo>
                  <a:cubicBezTo>
                    <a:pt x="208" y="347"/>
                    <a:pt x="204" y="348"/>
                    <a:pt x="205" y="345"/>
                  </a:cubicBezTo>
                  <a:cubicBezTo>
                    <a:pt x="207" y="341"/>
                    <a:pt x="205" y="342"/>
                    <a:pt x="205" y="339"/>
                  </a:cubicBezTo>
                  <a:cubicBezTo>
                    <a:pt x="207" y="338"/>
                    <a:pt x="210" y="338"/>
                    <a:pt x="205" y="338"/>
                  </a:cubicBezTo>
                  <a:cubicBezTo>
                    <a:pt x="201" y="338"/>
                    <a:pt x="202" y="335"/>
                    <a:pt x="201" y="331"/>
                  </a:cubicBezTo>
                  <a:cubicBezTo>
                    <a:pt x="199" y="328"/>
                    <a:pt x="204" y="325"/>
                    <a:pt x="201" y="327"/>
                  </a:cubicBezTo>
                  <a:cubicBezTo>
                    <a:pt x="199" y="328"/>
                    <a:pt x="198" y="325"/>
                    <a:pt x="195" y="328"/>
                  </a:cubicBezTo>
                  <a:cubicBezTo>
                    <a:pt x="192" y="330"/>
                    <a:pt x="192" y="328"/>
                    <a:pt x="193" y="327"/>
                  </a:cubicBezTo>
                  <a:cubicBezTo>
                    <a:pt x="195" y="325"/>
                    <a:pt x="188" y="322"/>
                    <a:pt x="193" y="320"/>
                  </a:cubicBezTo>
                  <a:cubicBezTo>
                    <a:pt x="195" y="319"/>
                    <a:pt x="192" y="316"/>
                    <a:pt x="195" y="314"/>
                  </a:cubicBezTo>
                  <a:cubicBezTo>
                    <a:pt x="198" y="314"/>
                    <a:pt x="196" y="311"/>
                    <a:pt x="198" y="311"/>
                  </a:cubicBezTo>
                  <a:cubicBezTo>
                    <a:pt x="199" y="313"/>
                    <a:pt x="198" y="310"/>
                    <a:pt x="201" y="310"/>
                  </a:cubicBezTo>
                  <a:cubicBezTo>
                    <a:pt x="202" y="310"/>
                    <a:pt x="199" y="307"/>
                    <a:pt x="201" y="302"/>
                  </a:cubicBezTo>
                  <a:cubicBezTo>
                    <a:pt x="202" y="297"/>
                    <a:pt x="199" y="296"/>
                    <a:pt x="201" y="294"/>
                  </a:cubicBezTo>
                  <a:cubicBezTo>
                    <a:pt x="202" y="293"/>
                    <a:pt x="201" y="289"/>
                    <a:pt x="199" y="291"/>
                  </a:cubicBezTo>
                  <a:cubicBezTo>
                    <a:pt x="196" y="293"/>
                    <a:pt x="199" y="286"/>
                    <a:pt x="195" y="283"/>
                  </a:cubicBezTo>
                  <a:cubicBezTo>
                    <a:pt x="190" y="279"/>
                    <a:pt x="192" y="283"/>
                    <a:pt x="190" y="285"/>
                  </a:cubicBezTo>
                  <a:cubicBezTo>
                    <a:pt x="188" y="283"/>
                    <a:pt x="188" y="282"/>
                    <a:pt x="184" y="283"/>
                  </a:cubicBezTo>
                  <a:cubicBezTo>
                    <a:pt x="178" y="283"/>
                    <a:pt x="185" y="282"/>
                    <a:pt x="184" y="277"/>
                  </a:cubicBezTo>
                  <a:cubicBezTo>
                    <a:pt x="184" y="274"/>
                    <a:pt x="179" y="279"/>
                    <a:pt x="182" y="275"/>
                  </a:cubicBezTo>
                  <a:cubicBezTo>
                    <a:pt x="184" y="272"/>
                    <a:pt x="182" y="275"/>
                    <a:pt x="181" y="272"/>
                  </a:cubicBezTo>
                  <a:cubicBezTo>
                    <a:pt x="181" y="271"/>
                    <a:pt x="176" y="272"/>
                    <a:pt x="176" y="274"/>
                  </a:cubicBezTo>
                  <a:cubicBezTo>
                    <a:pt x="175" y="275"/>
                    <a:pt x="173" y="275"/>
                    <a:pt x="170" y="274"/>
                  </a:cubicBezTo>
                  <a:cubicBezTo>
                    <a:pt x="169" y="272"/>
                    <a:pt x="167" y="274"/>
                    <a:pt x="164" y="277"/>
                  </a:cubicBezTo>
                  <a:cubicBezTo>
                    <a:pt x="161" y="280"/>
                    <a:pt x="158" y="279"/>
                    <a:pt x="157" y="282"/>
                  </a:cubicBezTo>
                  <a:cubicBezTo>
                    <a:pt x="157" y="285"/>
                    <a:pt x="153" y="283"/>
                    <a:pt x="153" y="286"/>
                  </a:cubicBezTo>
                  <a:cubicBezTo>
                    <a:pt x="153" y="288"/>
                    <a:pt x="150" y="289"/>
                    <a:pt x="144" y="289"/>
                  </a:cubicBezTo>
                  <a:cubicBezTo>
                    <a:pt x="146" y="286"/>
                    <a:pt x="144" y="286"/>
                    <a:pt x="143" y="286"/>
                  </a:cubicBezTo>
                  <a:cubicBezTo>
                    <a:pt x="141" y="285"/>
                    <a:pt x="141" y="288"/>
                    <a:pt x="140" y="286"/>
                  </a:cubicBezTo>
                  <a:cubicBezTo>
                    <a:pt x="138" y="285"/>
                    <a:pt x="134" y="286"/>
                    <a:pt x="135" y="285"/>
                  </a:cubicBezTo>
                  <a:cubicBezTo>
                    <a:pt x="137" y="283"/>
                    <a:pt x="131" y="282"/>
                    <a:pt x="129" y="286"/>
                  </a:cubicBezTo>
                  <a:cubicBezTo>
                    <a:pt x="128" y="289"/>
                    <a:pt x="126" y="286"/>
                    <a:pt x="126" y="289"/>
                  </a:cubicBezTo>
                  <a:cubicBezTo>
                    <a:pt x="125" y="293"/>
                    <a:pt x="125" y="291"/>
                    <a:pt x="123" y="294"/>
                  </a:cubicBezTo>
                  <a:cubicBezTo>
                    <a:pt x="122" y="289"/>
                    <a:pt x="128" y="282"/>
                    <a:pt x="117" y="288"/>
                  </a:cubicBezTo>
                  <a:cubicBezTo>
                    <a:pt x="117" y="288"/>
                    <a:pt x="115" y="288"/>
                    <a:pt x="114" y="288"/>
                  </a:cubicBezTo>
                  <a:cubicBezTo>
                    <a:pt x="114" y="289"/>
                    <a:pt x="114" y="288"/>
                    <a:pt x="111" y="288"/>
                  </a:cubicBezTo>
                  <a:cubicBezTo>
                    <a:pt x="109" y="289"/>
                    <a:pt x="106" y="283"/>
                    <a:pt x="105" y="286"/>
                  </a:cubicBezTo>
                  <a:cubicBezTo>
                    <a:pt x="105" y="288"/>
                    <a:pt x="103" y="288"/>
                    <a:pt x="102" y="286"/>
                  </a:cubicBezTo>
                  <a:cubicBezTo>
                    <a:pt x="100" y="283"/>
                    <a:pt x="102" y="288"/>
                    <a:pt x="100" y="288"/>
                  </a:cubicBezTo>
                  <a:cubicBezTo>
                    <a:pt x="99" y="288"/>
                    <a:pt x="99" y="283"/>
                    <a:pt x="97" y="283"/>
                  </a:cubicBezTo>
                  <a:cubicBezTo>
                    <a:pt x="94" y="283"/>
                    <a:pt x="93" y="285"/>
                    <a:pt x="94" y="282"/>
                  </a:cubicBezTo>
                  <a:cubicBezTo>
                    <a:pt x="94" y="280"/>
                    <a:pt x="94" y="280"/>
                    <a:pt x="93" y="280"/>
                  </a:cubicBezTo>
                  <a:cubicBezTo>
                    <a:pt x="91" y="282"/>
                    <a:pt x="87" y="279"/>
                    <a:pt x="87" y="275"/>
                  </a:cubicBezTo>
                  <a:cubicBezTo>
                    <a:pt x="87" y="272"/>
                    <a:pt x="85" y="274"/>
                    <a:pt x="82" y="274"/>
                  </a:cubicBezTo>
                  <a:cubicBezTo>
                    <a:pt x="80" y="275"/>
                    <a:pt x="79" y="269"/>
                    <a:pt x="77" y="269"/>
                  </a:cubicBezTo>
                  <a:cubicBezTo>
                    <a:pt x="74" y="269"/>
                    <a:pt x="74" y="266"/>
                    <a:pt x="71" y="266"/>
                  </a:cubicBezTo>
                  <a:cubicBezTo>
                    <a:pt x="68" y="265"/>
                    <a:pt x="73" y="263"/>
                    <a:pt x="67" y="261"/>
                  </a:cubicBezTo>
                  <a:cubicBezTo>
                    <a:pt x="62" y="260"/>
                    <a:pt x="64" y="269"/>
                    <a:pt x="61" y="263"/>
                  </a:cubicBezTo>
                  <a:cubicBezTo>
                    <a:pt x="61" y="261"/>
                    <a:pt x="56" y="260"/>
                    <a:pt x="53" y="257"/>
                  </a:cubicBezTo>
                  <a:cubicBezTo>
                    <a:pt x="50" y="254"/>
                    <a:pt x="50" y="258"/>
                    <a:pt x="47" y="252"/>
                  </a:cubicBezTo>
                  <a:cubicBezTo>
                    <a:pt x="45" y="249"/>
                    <a:pt x="42" y="255"/>
                    <a:pt x="42" y="251"/>
                  </a:cubicBezTo>
                  <a:cubicBezTo>
                    <a:pt x="44" y="246"/>
                    <a:pt x="42" y="243"/>
                    <a:pt x="41" y="241"/>
                  </a:cubicBezTo>
                  <a:cubicBezTo>
                    <a:pt x="39" y="238"/>
                    <a:pt x="42" y="238"/>
                    <a:pt x="44" y="240"/>
                  </a:cubicBezTo>
                  <a:cubicBezTo>
                    <a:pt x="45" y="243"/>
                    <a:pt x="45" y="240"/>
                    <a:pt x="47" y="240"/>
                  </a:cubicBezTo>
                  <a:cubicBezTo>
                    <a:pt x="52" y="238"/>
                    <a:pt x="47" y="235"/>
                    <a:pt x="48" y="234"/>
                  </a:cubicBezTo>
                  <a:cubicBezTo>
                    <a:pt x="48" y="232"/>
                    <a:pt x="42" y="232"/>
                    <a:pt x="44" y="227"/>
                  </a:cubicBezTo>
                  <a:cubicBezTo>
                    <a:pt x="45" y="226"/>
                    <a:pt x="41" y="224"/>
                    <a:pt x="47" y="223"/>
                  </a:cubicBezTo>
                  <a:cubicBezTo>
                    <a:pt x="52" y="223"/>
                    <a:pt x="47" y="221"/>
                    <a:pt x="53" y="216"/>
                  </a:cubicBezTo>
                  <a:cubicBezTo>
                    <a:pt x="56" y="213"/>
                    <a:pt x="53" y="213"/>
                    <a:pt x="55" y="210"/>
                  </a:cubicBezTo>
                  <a:cubicBezTo>
                    <a:pt x="58" y="207"/>
                    <a:pt x="55" y="206"/>
                    <a:pt x="55" y="207"/>
                  </a:cubicBezTo>
                  <a:cubicBezTo>
                    <a:pt x="53" y="210"/>
                    <a:pt x="53" y="206"/>
                    <a:pt x="52" y="207"/>
                  </a:cubicBezTo>
                  <a:cubicBezTo>
                    <a:pt x="50" y="207"/>
                    <a:pt x="52" y="202"/>
                    <a:pt x="45" y="202"/>
                  </a:cubicBezTo>
                  <a:cubicBezTo>
                    <a:pt x="39" y="204"/>
                    <a:pt x="41" y="206"/>
                    <a:pt x="36" y="207"/>
                  </a:cubicBezTo>
                  <a:cubicBezTo>
                    <a:pt x="35" y="207"/>
                    <a:pt x="35" y="207"/>
                    <a:pt x="35" y="207"/>
                  </a:cubicBezTo>
                  <a:cubicBezTo>
                    <a:pt x="32" y="207"/>
                    <a:pt x="27" y="206"/>
                    <a:pt x="26" y="204"/>
                  </a:cubicBezTo>
                  <a:cubicBezTo>
                    <a:pt x="26" y="202"/>
                    <a:pt x="24" y="206"/>
                    <a:pt x="21" y="202"/>
                  </a:cubicBezTo>
                  <a:cubicBezTo>
                    <a:pt x="20" y="199"/>
                    <a:pt x="23" y="201"/>
                    <a:pt x="21" y="196"/>
                  </a:cubicBezTo>
                  <a:cubicBezTo>
                    <a:pt x="18" y="192"/>
                    <a:pt x="17" y="196"/>
                    <a:pt x="17" y="193"/>
                  </a:cubicBezTo>
                  <a:cubicBezTo>
                    <a:pt x="15" y="190"/>
                    <a:pt x="12" y="193"/>
                    <a:pt x="9" y="190"/>
                  </a:cubicBezTo>
                  <a:cubicBezTo>
                    <a:pt x="7" y="190"/>
                    <a:pt x="7" y="188"/>
                    <a:pt x="10" y="188"/>
                  </a:cubicBezTo>
                  <a:cubicBezTo>
                    <a:pt x="13" y="188"/>
                    <a:pt x="15" y="187"/>
                    <a:pt x="13" y="185"/>
                  </a:cubicBezTo>
                  <a:cubicBezTo>
                    <a:pt x="10" y="184"/>
                    <a:pt x="13" y="181"/>
                    <a:pt x="12" y="179"/>
                  </a:cubicBezTo>
                  <a:cubicBezTo>
                    <a:pt x="10" y="178"/>
                    <a:pt x="12" y="176"/>
                    <a:pt x="12" y="174"/>
                  </a:cubicBezTo>
                  <a:cubicBezTo>
                    <a:pt x="10" y="173"/>
                    <a:pt x="6" y="171"/>
                    <a:pt x="6" y="174"/>
                  </a:cubicBezTo>
                  <a:cubicBezTo>
                    <a:pt x="6" y="176"/>
                    <a:pt x="3" y="173"/>
                    <a:pt x="4" y="170"/>
                  </a:cubicBezTo>
                  <a:cubicBezTo>
                    <a:pt x="4" y="168"/>
                    <a:pt x="1" y="168"/>
                    <a:pt x="3" y="165"/>
                  </a:cubicBezTo>
                  <a:cubicBezTo>
                    <a:pt x="9" y="164"/>
                    <a:pt x="0" y="159"/>
                    <a:pt x="7" y="157"/>
                  </a:cubicBezTo>
                  <a:cubicBezTo>
                    <a:pt x="13" y="156"/>
                    <a:pt x="10" y="153"/>
                    <a:pt x="13" y="153"/>
                  </a:cubicBezTo>
                  <a:cubicBezTo>
                    <a:pt x="18" y="154"/>
                    <a:pt x="17" y="148"/>
                    <a:pt x="18" y="153"/>
                  </a:cubicBezTo>
                  <a:cubicBezTo>
                    <a:pt x="20" y="157"/>
                    <a:pt x="21" y="153"/>
                    <a:pt x="23" y="154"/>
                  </a:cubicBezTo>
                  <a:cubicBezTo>
                    <a:pt x="26" y="156"/>
                    <a:pt x="26" y="153"/>
                    <a:pt x="27" y="148"/>
                  </a:cubicBezTo>
                  <a:cubicBezTo>
                    <a:pt x="29" y="145"/>
                    <a:pt x="38" y="150"/>
                    <a:pt x="39" y="143"/>
                  </a:cubicBezTo>
                  <a:cubicBezTo>
                    <a:pt x="41" y="140"/>
                    <a:pt x="48" y="139"/>
                    <a:pt x="52" y="137"/>
                  </a:cubicBezTo>
                  <a:cubicBezTo>
                    <a:pt x="53" y="136"/>
                    <a:pt x="53" y="137"/>
                    <a:pt x="56" y="134"/>
                  </a:cubicBezTo>
                  <a:cubicBezTo>
                    <a:pt x="56" y="132"/>
                    <a:pt x="53" y="128"/>
                    <a:pt x="56" y="126"/>
                  </a:cubicBezTo>
                  <a:cubicBezTo>
                    <a:pt x="59" y="126"/>
                    <a:pt x="55" y="125"/>
                    <a:pt x="58" y="123"/>
                  </a:cubicBezTo>
                  <a:cubicBezTo>
                    <a:pt x="62" y="122"/>
                    <a:pt x="55" y="109"/>
                    <a:pt x="56" y="106"/>
                  </a:cubicBezTo>
                  <a:cubicBezTo>
                    <a:pt x="58" y="103"/>
                    <a:pt x="47" y="103"/>
                    <a:pt x="55" y="101"/>
                  </a:cubicBezTo>
                  <a:cubicBezTo>
                    <a:pt x="59" y="100"/>
                    <a:pt x="65" y="98"/>
                    <a:pt x="67" y="98"/>
                  </a:cubicBezTo>
                  <a:cubicBezTo>
                    <a:pt x="70" y="100"/>
                    <a:pt x="73" y="101"/>
                    <a:pt x="74" y="98"/>
                  </a:cubicBezTo>
                  <a:cubicBezTo>
                    <a:pt x="74" y="95"/>
                    <a:pt x="70" y="97"/>
                    <a:pt x="71" y="94"/>
                  </a:cubicBezTo>
                  <a:cubicBezTo>
                    <a:pt x="74" y="91"/>
                    <a:pt x="76" y="81"/>
                    <a:pt x="76" y="78"/>
                  </a:cubicBezTo>
                  <a:cubicBezTo>
                    <a:pt x="77" y="73"/>
                    <a:pt x="82" y="80"/>
                    <a:pt x="87" y="80"/>
                  </a:cubicBezTo>
                  <a:cubicBezTo>
                    <a:pt x="91" y="78"/>
                    <a:pt x="90" y="81"/>
                    <a:pt x="93" y="80"/>
                  </a:cubicBezTo>
                  <a:cubicBezTo>
                    <a:pt x="97" y="78"/>
                    <a:pt x="99" y="76"/>
                    <a:pt x="97" y="73"/>
                  </a:cubicBezTo>
                  <a:cubicBezTo>
                    <a:pt x="96" y="70"/>
                    <a:pt x="94" y="64"/>
                    <a:pt x="103" y="61"/>
                  </a:cubicBezTo>
                  <a:cubicBezTo>
                    <a:pt x="111" y="59"/>
                    <a:pt x="102" y="53"/>
                    <a:pt x="111" y="55"/>
                  </a:cubicBezTo>
                  <a:cubicBezTo>
                    <a:pt x="115" y="53"/>
                    <a:pt x="115" y="53"/>
                    <a:pt x="115" y="53"/>
                  </a:cubicBezTo>
                  <a:cubicBezTo>
                    <a:pt x="114" y="58"/>
                    <a:pt x="118" y="64"/>
                    <a:pt x="123" y="66"/>
                  </a:cubicBezTo>
                  <a:cubicBezTo>
                    <a:pt x="126" y="69"/>
                    <a:pt x="128" y="64"/>
                    <a:pt x="129" y="67"/>
                  </a:cubicBezTo>
                  <a:cubicBezTo>
                    <a:pt x="131" y="70"/>
                    <a:pt x="132" y="67"/>
                    <a:pt x="132" y="69"/>
                  </a:cubicBezTo>
                  <a:cubicBezTo>
                    <a:pt x="134" y="72"/>
                    <a:pt x="141" y="78"/>
                    <a:pt x="140" y="84"/>
                  </a:cubicBezTo>
                  <a:cubicBezTo>
                    <a:pt x="138" y="91"/>
                    <a:pt x="141" y="89"/>
                    <a:pt x="138" y="94"/>
                  </a:cubicBezTo>
                  <a:cubicBezTo>
                    <a:pt x="137" y="95"/>
                    <a:pt x="137" y="100"/>
                    <a:pt x="141" y="100"/>
                  </a:cubicBezTo>
                  <a:cubicBezTo>
                    <a:pt x="144" y="100"/>
                    <a:pt x="147" y="101"/>
                    <a:pt x="152" y="101"/>
                  </a:cubicBezTo>
                  <a:cubicBezTo>
                    <a:pt x="157" y="101"/>
                    <a:pt x="161" y="101"/>
                    <a:pt x="169" y="109"/>
                  </a:cubicBezTo>
                  <a:cubicBezTo>
                    <a:pt x="178" y="117"/>
                    <a:pt x="176" y="111"/>
                    <a:pt x="178" y="117"/>
                  </a:cubicBezTo>
                  <a:cubicBezTo>
                    <a:pt x="179" y="125"/>
                    <a:pt x="181" y="122"/>
                    <a:pt x="182" y="126"/>
                  </a:cubicBezTo>
                  <a:cubicBezTo>
                    <a:pt x="182" y="129"/>
                    <a:pt x="185" y="126"/>
                    <a:pt x="188" y="128"/>
                  </a:cubicBezTo>
                  <a:cubicBezTo>
                    <a:pt x="202" y="129"/>
                    <a:pt x="204" y="129"/>
                    <a:pt x="214" y="128"/>
                  </a:cubicBezTo>
                  <a:cubicBezTo>
                    <a:pt x="225" y="128"/>
                    <a:pt x="228" y="134"/>
                    <a:pt x="231" y="134"/>
                  </a:cubicBezTo>
                  <a:cubicBezTo>
                    <a:pt x="234" y="134"/>
                    <a:pt x="240" y="140"/>
                    <a:pt x="245" y="137"/>
                  </a:cubicBezTo>
                  <a:cubicBezTo>
                    <a:pt x="249" y="136"/>
                    <a:pt x="246" y="140"/>
                    <a:pt x="248" y="140"/>
                  </a:cubicBezTo>
                  <a:cubicBezTo>
                    <a:pt x="251" y="139"/>
                    <a:pt x="251" y="142"/>
                    <a:pt x="252" y="140"/>
                  </a:cubicBezTo>
                  <a:cubicBezTo>
                    <a:pt x="265" y="132"/>
                    <a:pt x="265" y="136"/>
                    <a:pt x="268" y="132"/>
                  </a:cubicBezTo>
                  <a:cubicBezTo>
                    <a:pt x="272" y="129"/>
                    <a:pt x="269" y="131"/>
                    <a:pt x="274" y="131"/>
                  </a:cubicBezTo>
                  <a:cubicBezTo>
                    <a:pt x="280" y="131"/>
                    <a:pt x="280" y="132"/>
                    <a:pt x="283" y="131"/>
                  </a:cubicBezTo>
                  <a:cubicBezTo>
                    <a:pt x="284" y="129"/>
                    <a:pt x="286" y="132"/>
                    <a:pt x="287" y="131"/>
                  </a:cubicBezTo>
                  <a:cubicBezTo>
                    <a:pt x="289" y="128"/>
                    <a:pt x="292" y="129"/>
                    <a:pt x="295" y="125"/>
                  </a:cubicBezTo>
                  <a:cubicBezTo>
                    <a:pt x="300" y="120"/>
                    <a:pt x="301" y="120"/>
                    <a:pt x="306" y="117"/>
                  </a:cubicBezTo>
                  <a:cubicBezTo>
                    <a:pt x="309" y="115"/>
                    <a:pt x="303" y="112"/>
                    <a:pt x="303" y="109"/>
                  </a:cubicBezTo>
                  <a:cubicBezTo>
                    <a:pt x="303" y="104"/>
                    <a:pt x="303" y="101"/>
                    <a:pt x="306" y="101"/>
                  </a:cubicBezTo>
                  <a:cubicBezTo>
                    <a:pt x="310" y="100"/>
                    <a:pt x="313" y="108"/>
                    <a:pt x="321" y="104"/>
                  </a:cubicBezTo>
                  <a:cubicBezTo>
                    <a:pt x="327" y="101"/>
                    <a:pt x="325" y="97"/>
                    <a:pt x="330" y="97"/>
                  </a:cubicBezTo>
                  <a:cubicBezTo>
                    <a:pt x="333" y="98"/>
                    <a:pt x="336" y="97"/>
                    <a:pt x="339" y="94"/>
                  </a:cubicBezTo>
                  <a:cubicBezTo>
                    <a:pt x="342" y="92"/>
                    <a:pt x="339" y="92"/>
                    <a:pt x="342" y="87"/>
                  </a:cubicBezTo>
                  <a:cubicBezTo>
                    <a:pt x="345" y="84"/>
                    <a:pt x="350" y="86"/>
                    <a:pt x="353" y="83"/>
                  </a:cubicBezTo>
                  <a:cubicBezTo>
                    <a:pt x="357" y="81"/>
                    <a:pt x="359" y="84"/>
                    <a:pt x="360" y="83"/>
                  </a:cubicBezTo>
                  <a:cubicBezTo>
                    <a:pt x="362" y="81"/>
                    <a:pt x="366" y="84"/>
                    <a:pt x="370" y="83"/>
                  </a:cubicBezTo>
                  <a:cubicBezTo>
                    <a:pt x="371" y="81"/>
                    <a:pt x="368" y="76"/>
                    <a:pt x="365" y="73"/>
                  </a:cubicBezTo>
                  <a:cubicBezTo>
                    <a:pt x="362" y="70"/>
                    <a:pt x="360" y="67"/>
                    <a:pt x="354" y="67"/>
                  </a:cubicBezTo>
                  <a:cubicBezTo>
                    <a:pt x="348" y="67"/>
                    <a:pt x="351" y="73"/>
                    <a:pt x="348" y="70"/>
                  </a:cubicBezTo>
                  <a:cubicBezTo>
                    <a:pt x="345" y="69"/>
                    <a:pt x="341" y="69"/>
                    <a:pt x="339" y="70"/>
                  </a:cubicBezTo>
                  <a:cubicBezTo>
                    <a:pt x="338" y="72"/>
                    <a:pt x="333" y="67"/>
                    <a:pt x="336" y="66"/>
                  </a:cubicBezTo>
                  <a:cubicBezTo>
                    <a:pt x="339" y="63"/>
                    <a:pt x="333" y="67"/>
                    <a:pt x="344" y="46"/>
                  </a:cubicBezTo>
                  <a:cubicBezTo>
                    <a:pt x="351" y="50"/>
                    <a:pt x="354" y="50"/>
                    <a:pt x="360" y="44"/>
                  </a:cubicBezTo>
                  <a:cubicBezTo>
                    <a:pt x="366" y="38"/>
                    <a:pt x="365" y="33"/>
                    <a:pt x="373" y="24"/>
                  </a:cubicBezTo>
                  <a:cubicBezTo>
                    <a:pt x="379" y="16"/>
                    <a:pt x="376" y="13"/>
                    <a:pt x="371" y="13"/>
                  </a:cubicBezTo>
                  <a:cubicBezTo>
                    <a:pt x="366" y="13"/>
                    <a:pt x="373" y="3"/>
                    <a:pt x="388" y="2"/>
                  </a:cubicBezTo>
                  <a:cubicBezTo>
                    <a:pt x="401" y="0"/>
                    <a:pt x="406" y="5"/>
                    <a:pt x="411" y="5"/>
                  </a:cubicBezTo>
                  <a:cubicBezTo>
                    <a:pt x="415" y="5"/>
                    <a:pt x="424" y="18"/>
                    <a:pt x="427" y="33"/>
                  </a:cubicBezTo>
                  <a:cubicBezTo>
                    <a:pt x="429" y="50"/>
                    <a:pt x="432" y="49"/>
                    <a:pt x="441" y="50"/>
                  </a:cubicBezTo>
                  <a:cubicBezTo>
                    <a:pt x="450" y="52"/>
                    <a:pt x="447" y="56"/>
                    <a:pt x="452" y="56"/>
                  </a:cubicBezTo>
                  <a:cubicBezTo>
                    <a:pt x="456" y="58"/>
                    <a:pt x="452" y="61"/>
                    <a:pt x="455" y="63"/>
                  </a:cubicBezTo>
                  <a:cubicBezTo>
                    <a:pt x="458" y="64"/>
                    <a:pt x="452" y="66"/>
                    <a:pt x="456" y="69"/>
                  </a:cubicBezTo>
                  <a:cubicBezTo>
                    <a:pt x="461" y="73"/>
                    <a:pt x="467" y="72"/>
                    <a:pt x="471" y="67"/>
                  </a:cubicBezTo>
                  <a:cubicBezTo>
                    <a:pt x="476" y="64"/>
                    <a:pt x="476" y="69"/>
                    <a:pt x="481" y="64"/>
                  </a:cubicBezTo>
                  <a:cubicBezTo>
                    <a:pt x="485" y="59"/>
                    <a:pt x="490" y="67"/>
                    <a:pt x="485" y="73"/>
                  </a:cubicBezTo>
                  <a:cubicBezTo>
                    <a:pt x="481" y="81"/>
                    <a:pt x="478" y="104"/>
                    <a:pt x="471" y="101"/>
                  </a:cubicBezTo>
                  <a:cubicBezTo>
                    <a:pt x="465" y="98"/>
                    <a:pt x="464" y="97"/>
                    <a:pt x="462" y="100"/>
                  </a:cubicBezTo>
                  <a:cubicBezTo>
                    <a:pt x="461" y="104"/>
                    <a:pt x="455" y="100"/>
                    <a:pt x="458" y="106"/>
                  </a:cubicBezTo>
                  <a:cubicBezTo>
                    <a:pt x="459" y="112"/>
                    <a:pt x="461" y="119"/>
                    <a:pt x="458" y="123"/>
                  </a:cubicBezTo>
                  <a:cubicBezTo>
                    <a:pt x="456" y="129"/>
                    <a:pt x="455" y="123"/>
                    <a:pt x="453" y="129"/>
                  </a:cubicBezTo>
                  <a:cubicBezTo>
                    <a:pt x="453" y="131"/>
                    <a:pt x="453" y="131"/>
                    <a:pt x="453" y="13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 13"/>
            <p:cNvSpPr>
              <a:spLocks/>
            </p:cNvSpPr>
            <p:nvPr/>
          </p:nvSpPr>
          <p:spPr bwMode="auto">
            <a:xfrm>
              <a:off x="6411687" y="4914575"/>
              <a:ext cx="152688" cy="399613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48" y="4"/>
                </a:cxn>
                <a:cxn ang="0">
                  <a:pos x="54" y="11"/>
                </a:cxn>
                <a:cxn ang="0">
                  <a:pos x="58" y="32"/>
                </a:cxn>
                <a:cxn ang="0">
                  <a:pos x="55" y="42"/>
                </a:cxn>
                <a:cxn ang="0">
                  <a:pos x="52" y="43"/>
                </a:cxn>
                <a:cxn ang="0">
                  <a:pos x="54" y="51"/>
                </a:cxn>
                <a:cxn ang="0">
                  <a:pos x="51" y="59"/>
                </a:cxn>
                <a:cxn ang="0">
                  <a:pos x="45" y="83"/>
                </a:cxn>
                <a:cxn ang="0">
                  <a:pos x="29" y="135"/>
                </a:cxn>
                <a:cxn ang="0">
                  <a:pos x="16" y="138"/>
                </a:cxn>
                <a:cxn ang="0">
                  <a:pos x="7" y="130"/>
                </a:cxn>
                <a:cxn ang="0">
                  <a:pos x="5" y="116"/>
                </a:cxn>
                <a:cxn ang="0">
                  <a:pos x="2" y="101"/>
                </a:cxn>
                <a:cxn ang="0">
                  <a:pos x="7" y="93"/>
                </a:cxn>
                <a:cxn ang="0">
                  <a:pos x="11" y="80"/>
                </a:cxn>
                <a:cxn ang="0">
                  <a:pos x="10" y="71"/>
                </a:cxn>
                <a:cxn ang="0">
                  <a:pos x="8" y="63"/>
                </a:cxn>
                <a:cxn ang="0">
                  <a:pos x="10" y="53"/>
                </a:cxn>
                <a:cxn ang="0">
                  <a:pos x="13" y="45"/>
                </a:cxn>
                <a:cxn ang="0">
                  <a:pos x="19" y="42"/>
                </a:cxn>
                <a:cxn ang="0">
                  <a:pos x="32" y="31"/>
                </a:cxn>
                <a:cxn ang="0">
                  <a:pos x="39" y="21"/>
                </a:cxn>
                <a:cxn ang="0">
                  <a:pos x="46" y="12"/>
                </a:cxn>
              </a:cxnLst>
              <a:rect l="0" t="0" r="r" b="b"/>
              <a:pathLst>
                <a:path w="60" h="142">
                  <a:moveTo>
                    <a:pt x="46" y="12"/>
                  </a:moveTo>
                  <a:cubicBezTo>
                    <a:pt x="46" y="6"/>
                    <a:pt x="46" y="8"/>
                    <a:pt x="48" y="4"/>
                  </a:cubicBezTo>
                  <a:cubicBezTo>
                    <a:pt x="51" y="0"/>
                    <a:pt x="51" y="9"/>
                    <a:pt x="54" y="11"/>
                  </a:cubicBezTo>
                  <a:cubicBezTo>
                    <a:pt x="57" y="12"/>
                    <a:pt x="57" y="29"/>
                    <a:pt x="58" y="32"/>
                  </a:cubicBezTo>
                  <a:cubicBezTo>
                    <a:pt x="60" y="37"/>
                    <a:pt x="57" y="45"/>
                    <a:pt x="55" y="42"/>
                  </a:cubicBezTo>
                  <a:cubicBezTo>
                    <a:pt x="52" y="34"/>
                    <a:pt x="51" y="39"/>
                    <a:pt x="52" y="43"/>
                  </a:cubicBezTo>
                  <a:cubicBezTo>
                    <a:pt x="55" y="46"/>
                    <a:pt x="52" y="46"/>
                    <a:pt x="54" y="51"/>
                  </a:cubicBezTo>
                  <a:cubicBezTo>
                    <a:pt x="54" y="54"/>
                    <a:pt x="49" y="51"/>
                    <a:pt x="51" y="59"/>
                  </a:cubicBezTo>
                  <a:cubicBezTo>
                    <a:pt x="52" y="66"/>
                    <a:pt x="49" y="68"/>
                    <a:pt x="45" y="83"/>
                  </a:cubicBezTo>
                  <a:cubicBezTo>
                    <a:pt x="40" y="105"/>
                    <a:pt x="34" y="135"/>
                    <a:pt x="29" y="135"/>
                  </a:cubicBezTo>
                  <a:cubicBezTo>
                    <a:pt x="26" y="135"/>
                    <a:pt x="19" y="142"/>
                    <a:pt x="16" y="138"/>
                  </a:cubicBezTo>
                  <a:cubicBezTo>
                    <a:pt x="13" y="135"/>
                    <a:pt x="10" y="138"/>
                    <a:pt x="7" y="130"/>
                  </a:cubicBezTo>
                  <a:cubicBezTo>
                    <a:pt x="2" y="121"/>
                    <a:pt x="7" y="119"/>
                    <a:pt x="5" y="116"/>
                  </a:cubicBezTo>
                  <a:cubicBezTo>
                    <a:pt x="2" y="111"/>
                    <a:pt x="0" y="110"/>
                    <a:pt x="2" y="101"/>
                  </a:cubicBezTo>
                  <a:cubicBezTo>
                    <a:pt x="3" y="93"/>
                    <a:pt x="5" y="99"/>
                    <a:pt x="7" y="93"/>
                  </a:cubicBezTo>
                  <a:cubicBezTo>
                    <a:pt x="8" y="88"/>
                    <a:pt x="13" y="87"/>
                    <a:pt x="11" y="80"/>
                  </a:cubicBezTo>
                  <a:cubicBezTo>
                    <a:pt x="10" y="74"/>
                    <a:pt x="8" y="74"/>
                    <a:pt x="10" y="71"/>
                  </a:cubicBezTo>
                  <a:cubicBezTo>
                    <a:pt x="10" y="68"/>
                    <a:pt x="7" y="68"/>
                    <a:pt x="8" y="63"/>
                  </a:cubicBezTo>
                  <a:cubicBezTo>
                    <a:pt x="10" y="57"/>
                    <a:pt x="5" y="60"/>
                    <a:pt x="10" y="53"/>
                  </a:cubicBezTo>
                  <a:cubicBezTo>
                    <a:pt x="13" y="45"/>
                    <a:pt x="8" y="43"/>
                    <a:pt x="13" y="45"/>
                  </a:cubicBezTo>
                  <a:cubicBezTo>
                    <a:pt x="17" y="45"/>
                    <a:pt x="14" y="42"/>
                    <a:pt x="19" y="42"/>
                  </a:cubicBezTo>
                  <a:cubicBezTo>
                    <a:pt x="29" y="40"/>
                    <a:pt x="26" y="37"/>
                    <a:pt x="32" y="31"/>
                  </a:cubicBezTo>
                  <a:cubicBezTo>
                    <a:pt x="39" y="25"/>
                    <a:pt x="40" y="25"/>
                    <a:pt x="39" y="21"/>
                  </a:cubicBezTo>
                  <a:cubicBezTo>
                    <a:pt x="36" y="17"/>
                    <a:pt x="45" y="23"/>
                    <a:pt x="46" y="1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 41"/>
            <p:cNvSpPr>
              <a:spLocks/>
            </p:cNvSpPr>
            <p:nvPr/>
          </p:nvSpPr>
          <p:spPr bwMode="auto">
            <a:xfrm>
              <a:off x="6917135" y="3575293"/>
              <a:ext cx="597587" cy="812256"/>
            </a:xfrm>
            <a:custGeom>
              <a:avLst/>
              <a:gdLst/>
              <a:ahLst/>
              <a:cxnLst>
                <a:cxn ang="0">
                  <a:pos x="15" y="122"/>
                </a:cxn>
                <a:cxn ang="0">
                  <a:pos x="23" y="116"/>
                </a:cxn>
                <a:cxn ang="0">
                  <a:pos x="14" y="90"/>
                </a:cxn>
                <a:cxn ang="0">
                  <a:pos x="32" y="80"/>
                </a:cxn>
                <a:cxn ang="0">
                  <a:pos x="48" y="56"/>
                </a:cxn>
                <a:cxn ang="0">
                  <a:pos x="51" y="34"/>
                </a:cxn>
                <a:cxn ang="0">
                  <a:pos x="48" y="20"/>
                </a:cxn>
                <a:cxn ang="0">
                  <a:pos x="67" y="12"/>
                </a:cxn>
                <a:cxn ang="0">
                  <a:pos x="87" y="0"/>
                </a:cxn>
                <a:cxn ang="0">
                  <a:pos x="96" y="7"/>
                </a:cxn>
                <a:cxn ang="0">
                  <a:pos x="86" y="24"/>
                </a:cxn>
                <a:cxn ang="0">
                  <a:pos x="86" y="37"/>
                </a:cxn>
                <a:cxn ang="0">
                  <a:pos x="89" y="49"/>
                </a:cxn>
                <a:cxn ang="0">
                  <a:pos x="96" y="68"/>
                </a:cxn>
                <a:cxn ang="0">
                  <a:pos x="107" y="84"/>
                </a:cxn>
                <a:cxn ang="0">
                  <a:pos x="125" y="90"/>
                </a:cxn>
                <a:cxn ang="0">
                  <a:pos x="138" y="96"/>
                </a:cxn>
                <a:cxn ang="0">
                  <a:pos x="154" y="101"/>
                </a:cxn>
                <a:cxn ang="0">
                  <a:pos x="159" y="85"/>
                </a:cxn>
                <a:cxn ang="0">
                  <a:pos x="176" y="96"/>
                </a:cxn>
                <a:cxn ang="0">
                  <a:pos x="191" y="94"/>
                </a:cxn>
                <a:cxn ang="0">
                  <a:pos x="195" y="84"/>
                </a:cxn>
                <a:cxn ang="0">
                  <a:pos x="212" y="71"/>
                </a:cxn>
                <a:cxn ang="0">
                  <a:pos x="224" y="73"/>
                </a:cxn>
                <a:cxn ang="0">
                  <a:pos x="232" y="82"/>
                </a:cxn>
                <a:cxn ang="0">
                  <a:pos x="218" y="96"/>
                </a:cxn>
                <a:cxn ang="0">
                  <a:pos x="211" y="113"/>
                </a:cxn>
                <a:cxn ang="0">
                  <a:pos x="200" y="129"/>
                </a:cxn>
                <a:cxn ang="0">
                  <a:pos x="194" y="146"/>
                </a:cxn>
                <a:cxn ang="0">
                  <a:pos x="183" y="129"/>
                </a:cxn>
                <a:cxn ang="0">
                  <a:pos x="173" y="111"/>
                </a:cxn>
                <a:cxn ang="0">
                  <a:pos x="162" y="99"/>
                </a:cxn>
                <a:cxn ang="0">
                  <a:pos x="163" y="110"/>
                </a:cxn>
                <a:cxn ang="0">
                  <a:pos x="159" y="118"/>
                </a:cxn>
                <a:cxn ang="0">
                  <a:pos x="165" y="133"/>
                </a:cxn>
                <a:cxn ang="0">
                  <a:pos x="167" y="147"/>
                </a:cxn>
                <a:cxn ang="0">
                  <a:pos x="153" y="150"/>
                </a:cxn>
                <a:cxn ang="0">
                  <a:pos x="119" y="191"/>
                </a:cxn>
                <a:cxn ang="0">
                  <a:pos x="95" y="216"/>
                </a:cxn>
                <a:cxn ang="0">
                  <a:pos x="92" y="262"/>
                </a:cxn>
                <a:cxn ang="0">
                  <a:pos x="83" y="273"/>
                </a:cxn>
                <a:cxn ang="0">
                  <a:pos x="54" y="236"/>
                </a:cxn>
                <a:cxn ang="0">
                  <a:pos x="37" y="155"/>
                </a:cxn>
                <a:cxn ang="0">
                  <a:pos x="31" y="153"/>
                </a:cxn>
                <a:cxn ang="0">
                  <a:pos x="14" y="136"/>
                </a:cxn>
                <a:cxn ang="0">
                  <a:pos x="5" y="124"/>
                </a:cxn>
              </a:cxnLst>
              <a:rect l="0" t="0" r="r" b="b"/>
              <a:pathLst>
                <a:path w="234" h="289">
                  <a:moveTo>
                    <a:pt x="5" y="124"/>
                  </a:moveTo>
                  <a:cubicBezTo>
                    <a:pt x="5" y="121"/>
                    <a:pt x="8" y="122"/>
                    <a:pt x="9" y="122"/>
                  </a:cubicBezTo>
                  <a:cubicBezTo>
                    <a:pt x="14" y="121"/>
                    <a:pt x="14" y="125"/>
                    <a:pt x="15" y="122"/>
                  </a:cubicBezTo>
                  <a:cubicBezTo>
                    <a:pt x="17" y="121"/>
                    <a:pt x="19" y="119"/>
                    <a:pt x="20" y="122"/>
                  </a:cubicBezTo>
                  <a:cubicBezTo>
                    <a:pt x="20" y="124"/>
                    <a:pt x="25" y="121"/>
                    <a:pt x="23" y="121"/>
                  </a:cubicBezTo>
                  <a:cubicBezTo>
                    <a:pt x="22" y="119"/>
                    <a:pt x="25" y="118"/>
                    <a:pt x="23" y="116"/>
                  </a:cubicBezTo>
                  <a:cubicBezTo>
                    <a:pt x="17" y="108"/>
                    <a:pt x="23" y="108"/>
                    <a:pt x="19" y="107"/>
                  </a:cubicBezTo>
                  <a:cubicBezTo>
                    <a:pt x="12" y="107"/>
                    <a:pt x="20" y="99"/>
                    <a:pt x="14" y="97"/>
                  </a:cubicBezTo>
                  <a:cubicBezTo>
                    <a:pt x="8" y="97"/>
                    <a:pt x="11" y="93"/>
                    <a:pt x="14" y="90"/>
                  </a:cubicBezTo>
                  <a:cubicBezTo>
                    <a:pt x="17" y="87"/>
                    <a:pt x="17" y="80"/>
                    <a:pt x="20" y="85"/>
                  </a:cubicBezTo>
                  <a:cubicBezTo>
                    <a:pt x="22" y="88"/>
                    <a:pt x="23" y="85"/>
                    <a:pt x="29" y="85"/>
                  </a:cubicBezTo>
                  <a:cubicBezTo>
                    <a:pt x="32" y="85"/>
                    <a:pt x="29" y="82"/>
                    <a:pt x="32" y="80"/>
                  </a:cubicBezTo>
                  <a:cubicBezTo>
                    <a:pt x="34" y="79"/>
                    <a:pt x="32" y="76"/>
                    <a:pt x="37" y="74"/>
                  </a:cubicBezTo>
                  <a:cubicBezTo>
                    <a:pt x="41" y="73"/>
                    <a:pt x="38" y="65"/>
                    <a:pt x="44" y="62"/>
                  </a:cubicBezTo>
                  <a:cubicBezTo>
                    <a:pt x="51" y="60"/>
                    <a:pt x="44" y="62"/>
                    <a:pt x="48" y="56"/>
                  </a:cubicBezTo>
                  <a:cubicBezTo>
                    <a:pt x="55" y="45"/>
                    <a:pt x="46" y="45"/>
                    <a:pt x="54" y="41"/>
                  </a:cubicBezTo>
                  <a:cubicBezTo>
                    <a:pt x="60" y="38"/>
                    <a:pt x="58" y="38"/>
                    <a:pt x="54" y="37"/>
                  </a:cubicBezTo>
                  <a:cubicBezTo>
                    <a:pt x="51" y="37"/>
                    <a:pt x="55" y="32"/>
                    <a:pt x="51" y="34"/>
                  </a:cubicBezTo>
                  <a:cubicBezTo>
                    <a:pt x="49" y="34"/>
                    <a:pt x="51" y="32"/>
                    <a:pt x="48" y="31"/>
                  </a:cubicBezTo>
                  <a:cubicBezTo>
                    <a:pt x="44" y="28"/>
                    <a:pt x="51" y="28"/>
                    <a:pt x="48" y="24"/>
                  </a:cubicBezTo>
                  <a:cubicBezTo>
                    <a:pt x="43" y="21"/>
                    <a:pt x="54" y="21"/>
                    <a:pt x="48" y="20"/>
                  </a:cubicBezTo>
                  <a:cubicBezTo>
                    <a:pt x="43" y="20"/>
                    <a:pt x="49" y="20"/>
                    <a:pt x="46" y="17"/>
                  </a:cubicBezTo>
                  <a:cubicBezTo>
                    <a:pt x="43" y="15"/>
                    <a:pt x="48" y="10"/>
                    <a:pt x="57" y="15"/>
                  </a:cubicBezTo>
                  <a:cubicBezTo>
                    <a:pt x="63" y="17"/>
                    <a:pt x="64" y="12"/>
                    <a:pt x="67" y="12"/>
                  </a:cubicBezTo>
                  <a:cubicBezTo>
                    <a:pt x="72" y="14"/>
                    <a:pt x="69" y="9"/>
                    <a:pt x="76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83" y="3"/>
                    <a:pt x="81" y="1"/>
                    <a:pt x="87" y="0"/>
                  </a:cubicBezTo>
                  <a:cubicBezTo>
                    <a:pt x="93" y="0"/>
                    <a:pt x="92" y="4"/>
                    <a:pt x="93" y="4"/>
                  </a:cubicBezTo>
                  <a:cubicBezTo>
                    <a:pt x="95" y="3"/>
                    <a:pt x="95" y="7"/>
                    <a:pt x="96" y="4"/>
                  </a:cubicBezTo>
                  <a:cubicBezTo>
                    <a:pt x="96" y="3"/>
                    <a:pt x="99" y="4"/>
                    <a:pt x="96" y="7"/>
                  </a:cubicBezTo>
                  <a:cubicBezTo>
                    <a:pt x="95" y="10"/>
                    <a:pt x="98" y="10"/>
                    <a:pt x="95" y="14"/>
                  </a:cubicBezTo>
                  <a:cubicBezTo>
                    <a:pt x="89" y="18"/>
                    <a:pt x="93" y="20"/>
                    <a:pt x="89" y="20"/>
                  </a:cubicBezTo>
                  <a:cubicBezTo>
                    <a:pt x="83" y="21"/>
                    <a:pt x="87" y="23"/>
                    <a:pt x="86" y="24"/>
                  </a:cubicBezTo>
                  <a:cubicBezTo>
                    <a:pt x="84" y="29"/>
                    <a:pt x="90" y="29"/>
                    <a:pt x="90" y="31"/>
                  </a:cubicBezTo>
                  <a:cubicBezTo>
                    <a:pt x="89" y="32"/>
                    <a:pt x="93" y="35"/>
                    <a:pt x="89" y="37"/>
                  </a:cubicBezTo>
                  <a:cubicBezTo>
                    <a:pt x="87" y="37"/>
                    <a:pt x="87" y="40"/>
                    <a:pt x="86" y="37"/>
                  </a:cubicBezTo>
                  <a:cubicBezTo>
                    <a:pt x="84" y="35"/>
                    <a:pt x="81" y="35"/>
                    <a:pt x="83" y="38"/>
                  </a:cubicBezTo>
                  <a:cubicBezTo>
                    <a:pt x="84" y="40"/>
                    <a:pt x="86" y="43"/>
                    <a:pt x="84" y="48"/>
                  </a:cubicBezTo>
                  <a:cubicBezTo>
                    <a:pt x="84" y="52"/>
                    <a:pt x="87" y="46"/>
                    <a:pt x="89" y="49"/>
                  </a:cubicBezTo>
                  <a:cubicBezTo>
                    <a:pt x="92" y="56"/>
                    <a:pt x="92" y="51"/>
                    <a:pt x="95" y="54"/>
                  </a:cubicBezTo>
                  <a:cubicBezTo>
                    <a:pt x="98" y="57"/>
                    <a:pt x="102" y="59"/>
                    <a:pt x="102" y="60"/>
                  </a:cubicBezTo>
                  <a:cubicBezTo>
                    <a:pt x="95" y="65"/>
                    <a:pt x="99" y="66"/>
                    <a:pt x="96" y="68"/>
                  </a:cubicBezTo>
                  <a:cubicBezTo>
                    <a:pt x="95" y="71"/>
                    <a:pt x="98" y="71"/>
                    <a:pt x="96" y="73"/>
                  </a:cubicBezTo>
                  <a:cubicBezTo>
                    <a:pt x="93" y="74"/>
                    <a:pt x="98" y="79"/>
                    <a:pt x="99" y="77"/>
                  </a:cubicBezTo>
                  <a:cubicBezTo>
                    <a:pt x="99" y="74"/>
                    <a:pt x="104" y="80"/>
                    <a:pt x="107" y="84"/>
                  </a:cubicBezTo>
                  <a:cubicBezTo>
                    <a:pt x="112" y="87"/>
                    <a:pt x="108" y="82"/>
                    <a:pt x="113" y="87"/>
                  </a:cubicBezTo>
                  <a:cubicBezTo>
                    <a:pt x="116" y="90"/>
                    <a:pt x="115" y="85"/>
                    <a:pt x="116" y="88"/>
                  </a:cubicBezTo>
                  <a:cubicBezTo>
                    <a:pt x="118" y="91"/>
                    <a:pt x="122" y="88"/>
                    <a:pt x="125" y="90"/>
                  </a:cubicBezTo>
                  <a:cubicBezTo>
                    <a:pt x="127" y="91"/>
                    <a:pt x="125" y="88"/>
                    <a:pt x="130" y="90"/>
                  </a:cubicBezTo>
                  <a:cubicBezTo>
                    <a:pt x="134" y="93"/>
                    <a:pt x="130" y="94"/>
                    <a:pt x="133" y="94"/>
                  </a:cubicBezTo>
                  <a:cubicBezTo>
                    <a:pt x="138" y="96"/>
                    <a:pt x="134" y="97"/>
                    <a:pt x="138" y="96"/>
                  </a:cubicBezTo>
                  <a:cubicBezTo>
                    <a:pt x="141" y="94"/>
                    <a:pt x="139" y="99"/>
                    <a:pt x="142" y="97"/>
                  </a:cubicBezTo>
                  <a:cubicBezTo>
                    <a:pt x="145" y="96"/>
                    <a:pt x="147" y="102"/>
                    <a:pt x="150" y="99"/>
                  </a:cubicBezTo>
                  <a:cubicBezTo>
                    <a:pt x="153" y="97"/>
                    <a:pt x="150" y="102"/>
                    <a:pt x="154" y="101"/>
                  </a:cubicBezTo>
                  <a:cubicBezTo>
                    <a:pt x="159" y="99"/>
                    <a:pt x="157" y="102"/>
                    <a:pt x="159" y="99"/>
                  </a:cubicBezTo>
                  <a:cubicBezTo>
                    <a:pt x="160" y="94"/>
                    <a:pt x="157" y="94"/>
                    <a:pt x="159" y="90"/>
                  </a:cubicBezTo>
                  <a:cubicBezTo>
                    <a:pt x="160" y="85"/>
                    <a:pt x="160" y="87"/>
                    <a:pt x="159" y="85"/>
                  </a:cubicBezTo>
                  <a:cubicBezTo>
                    <a:pt x="170" y="79"/>
                    <a:pt x="163" y="87"/>
                    <a:pt x="165" y="91"/>
                  </a:cubicBezTo>
                  <a:cubicBezTo>
                    <a:pt x="162" y="93"/>
                    <a:pt x="167" y="96"/>
                    <a:pt x="168" y="96"/>
                  </a:cubicBezTo>
                  <a:cubicBezTo>
                    <a:pt x="171" y="94"/>
                    <a:pt x="171" y="99"/>
                    <a:pt x="176" y="96"/>
                  </a:cubicBezTo>
                  <a:cubicBezTo>
                    <a:pt x="180" y="94"/>
                    <a:pt x="179" y="99"/>
                    <a:pt x="183" y="96"/>
                  </a:cubicBezTo>
                  <a:cubicBezTo>
                    <a:pt x="188" y="94"/>
                    <a:pt x="186" y="97"/>
                    <a:pt x="188" y="96"/>
                  </a:cubicBezTo>
                  <a:cubicBezTo>
                    <a:pt x="189" y="94"/>
                    <a:pt x="191" y="97"/>
                    <a:pt x="191" y="94"/>
                  </a:cubicBezTo>
                  <a:cubicBezTo>
                    <a:pt x="189" y="91"/>
                    <a:pt x="192" y="88"/>
                    <a:pt x="189" y="90"/>
                  </a:cubicBezTo>
                  <a:cubicBezTo>
                    <a:pt x="186" y="90"/>
                    <a:pt x="186" y="87"/>
                    <a:pt x="186" y="87"/>
                  </a:cubicBezTo>
                  <a:cubicBezTo>
                    <a:pt x="192" y="87"/>
                    <a:pt x="195" y="85"/>
                    <a:pt x="195" y="84"/>
                  </a:cubicBezTo>
                  <a:cubicBezTo>
                    <a:pt x="195" y="80"/>
                    <a:pt x="199" y="82"/>
                    <a:pt x="199" y="79"/>
                  </a:cubicBezTo>
                  <a:cubicBezTo>
                    <a:pt x="200" y="76"/>
                    <a:pt x="203" y="77"/>
                    <a:pt x="206" y="74"/>
                  </a:cubicBezTo>
                  <a:cubicBezTo>
                    <a:pt x="209" y="71"/>
                    <a:pt x="211" y="69"/>
                    <a:pt x="212" y="71"/>
                  </a:cubicBezTo>
                  <a:cubicBezTo>
                    <a:pt x="215" y="73"/>
                    <a:pt x="217" y="73"/>
                    <a:pt x="218" y="71"/>
                  </a:cubicBezTo>
                  <a:cubicBezTo>
                    <a:pt x="218" y="69"/>
                    <a:pt x="223" y="68"/>
                    <a:pt x="223" y="69"/>
                  </a:cubicBezTo>
                  <a:cubicBezTo>
                    <a:pt x="224" y="73"/>
                    <a:pt x="226" y="69"/>
                    <a:pt x="224" y="73"/>
                  </a:cubicBezTo>
                  <a:cubicBezTo>
                    <a:pt x="221" y="76"/>
                    <a:pt x="226" y="71"/>
                    <a:pt x="226" y="74"/>
                  </a:cubicBezTo>
                  <a:cubicBezTo>
                    <a:pt x="227" y="79"/>
                    <a:pt x="220" y="80"/>
                    <a:pt x="226" y="80"/>
                  </a:cubicBezTo>
                  <a:cubicBezTo>
                    <a:pt x="231" y="79"/>
                    <a:pt x="231" y="80"/>
                    <a:pt x="232" y="82"/>
                  </a:cubicBezTo>
                  <a:cubicBezTo>
                    <a:pt x="234" y="87"/>
                    <a:pt x="227" y="87"/>
                    <a:pt x="229" y="90"/>
                  </a:cubicBezTo>
                  <a:cubicBezTo>
                    <a:pt x="232" y="94"/>
                    <a:pt x="231" y="94"/>
                    <a:pt x="229" y="91"/>
                  </a:cubicBezTo>
                  <a:cubicBezTo>
                    <a:pt x="226" y="88"/>
                    <a:pt x="221" y="93"/>
                    <a:pt x="218" y="96"/>
                  </a:cubicBezTo>
                  <a:cubicBezTo>
                    <a:pt x="215" y="99"/>
                    <a:pt x="215" y="96"/>
                    <a:pt x="215" y="99"/>
                  </a:cubicBezTo>
                  <a:cubicBezTo>
                    <a:pt x="214" y="102"/>
                    <a:pt x="217" y="101"/>
                    <a:pt x="215" y="105"/>
                  </a:cubicBezTo>
                  <a:cubicBezTo>
                    <a:pt x="212" y="111"/>
                    <a:pt x="209" y="111"/>
                    <a:pt x="211" y="113"/>
                  </a:cubicBezTo>
                  <a:cubicBezTo>
                    <a:pt x="214" y="116"/>
                    <a:pt x="209" y="116"/>
                    <a:pt x="208" y="122"/>
                  </a:cubicBezTo>
                  <a:cubicBezTo>
                    <a:pt x="206" y="130"/>
                    <a:pt x="206" y="125"/>
                    <a:pt x="203" y="125"/>
                  </a:cubicBezTo>
                  <a:cubicBezTo>
                    <a:pt x="200" y="124"/>
                    <a:pt x="200" y="121"/>
                    <a:pt x="200" y="129"/>
                  </a:cubicBezTo>
                  <a:cubicBezTo>
                    <a:pt x="202" y="141"/>
                    <a:pt x="199" y="130"/>
                    <a:pt x="199" y="138"/>
                  </a:cubicBezTo>
                  <a:cubicBezTo>
                    <a:pt x="199" y="141"/>
                    <a:pt x="200" y="139"/>
                    <a:pt x="199" y="144"/>
                  </a:cubicBezTo>
                  <a:cubicBezTo>
                    <a:pt x="195" y="149"/>
                    <a:pt x="197" y="141"/>
                    <a:pt x="194" y="146"/>
                  </a:cubicBezTo>
                  <a:cubicBezTo>
                    <a:pt x="194" y="136"/>
                    <a:pt x="191" y="136"/>
                    <a:pt x="192" y="130"/>
                  </a:cubicBezTo>
                  <a:cubicBezTo>
                    <a:pt x="192" y="127"/>
                    <a:pt x="189" y="127"/>
                    <a:pt x="189" y="130"/>
                  </a:cubicBezTo>
                  <a:cubicBezTo>
                    <a:pt x="188" y="138"/>
                    <a:pt x="185" y="136"/>
                    <a:pt x="183" y="129"/>
                  </a:cubicBezTo>
                  <a:cubicBezTo>
                    <a:pt x="182" y="122"/>
                    <a:pt x="191" y="124"/>
                    <a:pt x="191" y="118"/>
                  </a:cubicBezTo>
                  <a:cubicBezTo>
                    <a:pt x="191" y="113"/>
                    <a:pt x="195" y="118"/>
                    <a:pt x="194" y="115"/>
                  </a:cubicBezTo>
                  <a:cubicBezTo>
                    <a:pt x="191" y="111"/>
                    <a:pt x="173" y="115"/>
                    <a:pt x="173" y="111"/>
                  </a:cubicBezTo>
                  <a:cubicBezTo>
                    <a:pt x="173" y="107"/>
                    <a:pt x="173" y="101"/>
                    <a:pt x="171" y="104"/>
                  </a:cubicBezTo>
                  <a:cubicBezTo>
                    <a:pt x="170" y="108"/>
                    <a:pt x="168" y="101"/>
                    <a:pt x="167" y="101"/>
                  </a:cubicBezTo>
                  <a:cubicBezTo>
                    <a:pt x="162" y="104"/>
                    <a:pt x="163" y="99"/>
                    <a:pt x="162" y="99"/>
                  </a:cubicBezTo>
                  <a:cubicBezTo>
                    <a:pt x="160" y="97"/>
                    <a:pt x="160" y="99"/>
                    <a:pt x="162" y="101"/>
                  </a:cubicBezTo>
                  <a:cubicBezTo>
                    <a:pt x="163" y="101"/>
                    <a:pt x="156" y="105"/>
                    <a:pt x="159" y="107"/>
                  </a:cubicBezTo>
                  <a:cubicBezTo>
                    <a:pt x="162" y="107"/>
                    <a:pt x="162" y="110"/>
                    <a:pt x="163" y="110"/>
                  </a:cubicBezTo>
                  <a:cubicBezTo>
                    <a:pt x="165" y="110"/>
                    <a:pt x="165" y="110"/>
                    <a:pt x="165" y="111"/>
                  </a:cubicBezTo>
                  <a:cubicBezTo>
                    <a:pt x="168" y="115"/>
                    <a:pt x="160" y="110"/>
                    <a:pt x="162" y="113"/>
                  </a:cubicBezTo>
                  <a:cubicBezTo>
                    <a:pt x="162" y="118"/>
                    <a:pt x="159" y="113"/>
                    <a:pt x="159" y="118"/>
                  </a:cubicBezTo>
                  <a:cubicBezTo>
                    <a:pt x="157" y="122"/>
                    <a:pt x="163" y="119"/>
                    <a:pt x="163" y="124"/>
                  </a:cubicBezTo>
                  <a:cubicBezTo>
                    <a:pt x="165" y="129"/>
                    <a:pt x="160" y="127"/>
                    <a:pt x="163" y="129"/>
                  </a:cubicBezTo>
                  <a:cubicBezTo>
                    <a:pt x="165" y="132"/>
                    <a:pt x="162" y="133"/>
                    <a:pt x="165" y="133"/>
                  </a:cubicBezTo>
                  <a:cubicBezTo>
                    <a:pt x="167" y="133"/>
                    <a:pt x="165" y="133"/>
                    <a:pt x="165" y="139"/>
                  </a:cubicBezTo>
                  <a:cubicBezTo>
                    <a:pt x="167" y="143"/>
                    <a:pt x="167" y="144"/>
                    <a:pt x="167" y="146"/>
                  </a:cubicBezTo>
                  <a:cubicBezTo>
                    <a:pt x="165" y="146"/>
                    <a:pt x="165" y="146"/>
                    <a:pt x="167" y="147"/>
                  </a:cubicBezTo>
                  <a:cubicBezTo>
                    <a:pt x="168" y="150"/>
                    <a:pt x="167" y="150"/>
                    <a:pt x="165" y="149"/>
                  </a:cubicBezTo>
                  <a:cubicBezTo>
                    <a:pt x="162" y="149"/>
                    <a:pt x="160" y="152"/>
                    <a:pt x="160" y="147"/>
                  </a:cubicBezTo>
                  <a:cubicBezTo>
                    <a:pt x="159" y="143"/>
                    <a:pt x="159" y="147"/>
                    <a:pt x="153" y="150"/>
                  </a:cubicBezTo>
                  <a:cubicBezTo>
                    <a:pt x="145" y="153"/>
                    <a:pt x="154" y="155"/>
                    <a:pt x="148" y="163"/>
                  </a:cubicBezTo>
                  <a:cubicBezTo>
                    <a:pt x="142" y="171"/>
                    <a:pt x="144" y="166"/>
                    <a:pt x="139" y="169"/>
                  </a:cubicBezTo>
                  <a:cubicBezTo>
                    <a:pt x="131" y="174"/>
                    <a:pt x="130" y="181"/>
                    <a:pt x="119" y="191"/>
                  </a:cubicBezTo>
                  <a:cubicBezTo>
                    <a:pt x="108" y="200"/>
                    <a:pt x="116" y="195"/>
                    <a:pt x="112" y="202"/>
                  </a:cubicBezTo>
                  <a:cubicBezTo>
                    <a:pt x="107" y="206"/>
                    <a:pt x="105" y="199"/>
                    <a:pt x="104" y="205"/>
                  </a:cubicBezTo>
                  <a:cubicBezTo>
                    <a:pt x="102" y="211"/>
                    <a:pt x="92" y="203"/>
                    <a:pt x="95" y="216"/>
                  </a:cubicBezTo>
                  <a:cubicBezTo>
                    <a:pt x="98" y="223"/>
                    <a:pt x="95" y="222"/>
                    <a:pt x="96" y="225"/>
                  </a:cubicBezTo>
                  <a:cubicBezTo>
                    <a:pt x="98" y="236"/>
                    <a:pt x="96" y="237"/>
                    <a:pt x="93" y="244"/>
                  </a:cubicBezTo>
                  <a:cubicBezTo>
                    <a:pt x="90" y="254"/>
                    <a:pt x="96" y="262"/>
                    <a:pt x="92" y="262"/>
                  </a:cubicBezTo>
                  <a:cubicBezTo>
                    <a:pt x="86" y="262"/>
                    <a:pt x="90" y="262"/>
                    <a:pt x="87" y="267"/>
                  </a:cubicBezTo>
                  <a:cubicBezTo>
                    <a:pt x="84" y="272"/>
                    <a:pt x="90" y="272"/>
                    <a:pt x="90" y="273"/>
                  </a:cubicBezTo>
                  <a:cubicBezTo>
                    <a:pt x="90" y="273"/>
                    <a:pt x="89" y="272"/>
                    <a:pt x="83" y="273"/>
                  </a:cubicBezTo>
                  <a:cubicBezTo>
                    <a:pt x="78" y="275"/>
                    <a:pt x="83" y="278"/>
                    <a:pt x="76" y="282"/>
                  </a:cubicBezTo>
                  <a:cubicBezTo>
                    <a:pt x="72" y="289"/>
                    <a:pt x="66" y="276"/>
                    <a:pt x="63" y="261"/>
                  </a:cubicBezTo>
                  <a:cubicBezTo>
                    <a:pt x="60" y="245"/>
                    <a:pt x="54" y="245"/>
                    <a:pt x="54" y="236"/>
                  </a:cubicBezTo>
                  <a:cubicBezTo>
                    <a:pt x="52" y="227"/>
                    <a:pt x="46" y="211"/>
                    <a:pt x="43" y="206"/>
                  </a:cubicBezTo>
                  <a:cubicBezTo>
                    <a:pt x="41" y="203"/>
                    <a:pt x="40" y="194"/>
                    <a:pt x="37" y="177"/>
                  </a:cubicBezTo>
                  <a:cubicBezTo>
                    <a:pt x="34" y="160"/>
                    <a:pt x="40" y="161"/>
                    <a:pt x="37" y="155"/>
                  </a:cubicBezTo>
                  <a:cubicBezTo>
                    <a:pt x="34" y="149"/>
                    <a:pt x="37" y="150"/>
                    <a:pt x="35" y="147"/>
                  </a:cubicBezTo>
                  <a:cubicBezTo>
                    <a:pt x="34" y="144"/>
                    <a:pt x="38" y="141"/>
                    <a:pt x="34" y="143"/>
                  </a:cubicBezTo>
                  <a:cubicBezTo>
                    <a:pt x="31" y="144"/>
                    <a:pt x="35" y="150"/>
                    <a:pt x="31" y="153"/>
                  </a:cubicBezTo>
                  <a:cubicBezTo>
                    <a:pt x="22" y="161"/>
                    <a:pt x="20" y="160"/>
                    <a:pt x="11" y="149"/>
                  </a:cubicBezTo>
                  <a:cubicBezTo>
                    <a:pt x="2" y="136"/>
                    <a:pt x="6" y="143"/>
                    <a:pt x="12" y="141"/>
                  </a:cubicBezTo>
                  <a:cubicBezTo>
                    <a:pt x="20" y="139"/>
                    <a:pt x="19" y="133"/>
                    <a:pt x="14" y="136"/>
                  </a:cubicBezTo>
                  <a:cubicBezTo>
                    <a:pt x="11" y="139"/>
                    <a:pt x="5" y="135"/>
                    <a:pt x="3" y="132"/>
                  </a:cubicBezTo>
                  <a:cubicBezTo>
                    <a:pt x="2" y="129"/>
                    <a:pt x="0" y="130"/>
                    <a:pt x="0" y="129"/>
                  </a:cubicBezTo>
                  <a:cubicBezTo>
                    <a:pt x="0" y="124"/>
                    <a:pt x="6" y="127"/>
                    <a:pt x="5" y="12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 42"/>
            <p:cNvSpPr>
              <a:spLocks/>
            </p:cNvSpPr>
            <p:nvPr/>
          </p:nvSpPr>
          <p:spPr bwMode="auto">
            <a:xfrm>
              <a:off x="7154064" y="3736008"/>
              <a:ext cx="173748" cy="125965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3" y="11"/>
                </a:cxn>
                <a:cxn ang="0">
                  <a:pos x="3" y="16"/>
                </a:cxn>
                <a:cxn ang="0">
                  <a:pos x="6" y="20"/>
                </a:cxn>
                <a:cxn ang="0">
                  <a:pos x="14" y="27"/>
                </a:cxn>
                <a:cxn ang="0">
                  <a:pos x="20" y="30"/>
                </a:cxn>
                <a:cxn ang="0">
                  <a:pos x="23" y="31"/>
                </a:cxn>
                <a:cxn ang="0">
                  <a:pos x="32" y="33"/>
                </a:cxn>
                <a:cxn ang="0">
                  <a:pos x="37" y="33"/>
                </a:cxn>
                <a:cxn ang="0">
                  <a:pos x="40" y="37"/>
                </a:cxn>
                <a:cxn ang="0">
                  <a:pos x="45" y="39"/>
                </a:cxn>
                <a:cxn ang="0">
                  <a:pos x="49" y="40"/>
                </a:cxn>
                <a:cxn ang="0">
                  <a:pos x="57" y="42"/>
                </a:cxn>
                <a:cxn ang="0">
                  <a:pos x="62" y="44"/>
                </a:cxn>
                <a:cxn ang="0">
                  <a:pos x="66" y="42"/>
                </a:cxn>
                <a:cxn ang="0">
                  <a:pos x="66" y="33"/>
                </a:cxn>
                <a:cxn ang="0">
                  <a:pos x="66" y="28"/>
                </a:cxn>
                <a:cxn ang="0">
                  <a:pos x="63" y="28"/>
                </a:cxn>
                <a:cxn ang="0">
                  <a:pos x="60" y="28"/>
                </a:cxn>
                <a:cxn ang="0">
                  <a:pos x="54" y="27"/>
                </a:cxn>
                <a:cxn ang="0">
                  <a:pos x="51" y="27"/>
                </a:cxn>
                <a:cxn ang="0">
                  <a:pos x="49" y="28"/>
                </a:cxn>
                <a:cxn ang="0">
                  <a:pos x="46" y="23"/>
                </a:cxn>
                <a:cxn ang="0">
                  <a:pos x="43" y="22"/>
                </a:cxn>
                <a:cxn ang="0">
                  <a:pos x="42" y="20"/>
                </a:cxn>
                <a:cxn ang="0">
                  <a:pos x="35" y="16"/>
                </a:cxn>
                <a:cxn ang="0">
                  <a:pos x="31" y="14"/>
                </a:cxn>
                <a:cxn ang="0">
                  <a:pos x="26" y="9"/>
                </a:cxn>
                <a:cxn ang="0">
                  <a:pos x="20" y="6"/>
                </a:cxn>
                <a:cxn ang="0">
                  <a:pos x="15" y="2"/>
                </a:cxn>
                <a:cxn ang="0">
                  <a:pos x="9" y="3"/>
                </a:cxn>
              </a:cxnLst>
              <a:rect l="0" t="0" r="r" b="b"/>
              <a:pathLst>
                <a:path w="68" h="45">
                  <a:moveTo>
                    <a:pt x="9" y="3"/>
                  </a:moveTo>
                  <a:cubicBezTo>
                    <a:pt x="2" y="8"/>
                    <a:pt x="6" y="9"/>
                    <a:pt x="3" y="11"/>
                  </a:cubicBezTo>
                  <a:cubicBezTo>
                    <a:pt x="2" y="14"/>
                    <a:pt x="5" y="14"/>
                    <a:pt x="3" y="16"/>
                  </a:cubicBezTo>
                  <a:cubicBezTo>
                    <a:pt x="0" y="17"/>
                    <a:pt x="5" y="22"/>
                    <a:pt x="6" y="20"/>
                  </a:cubicBezTo>
                  <a:cubicBezTo>
                    <a:pt x="6" y="17"/>
                    <a:pt x="11" y="23"/>
                    <a:pt x="14" y="27"/>
                  </a:cubicBezTo>
                  <a:cubicBezTo>
                    <a:pt x="19" y="30"/>
                    <a:pt x="15" y="25"/>
                    <a:pt x="20" y="30"/>
                  </a:cubicBezTo>
                  <a:cubicBezTo>
                    <a:pt x="23" y="33"/>
                    <a:pt x="22" y="28"/>
                    <a:pt x="23" y="31"/>
                  </a:cubicBezTo>
                  <a:cubicBezTo>
                    <a:pt x="25" y="34"/>
                    <a:pt x="29" y="31"/>
                    <a:pt x="32" y="33"/>
                  </a:cubicBezTo>
                  <a:cubicBezTo>
                    <a:pt x="34" y="34"/>
                    <a:pt x="32" y="31"/>
                    <a:pt x="37" y="33"/>
                  </a:cubicBezTo>
                  <a:cubicBezTo>
                    <a:pt x="42" y="36"/>
                    <a:pt x="37" y="37"/>
                    <a:pt x="40" y="37"/>
                  </a:cubicBezTo>
                  <a:cubicBezTo>
                    <a:pt x="45" y="39"/>
                    <a:pt x="42" y="40"/>
                    <a:pt x="45" y="39"/>
                  </a:cubicBezTo>
                  <a:cubicBezTo>
                    <a:pt x="48" y="37"/>
                    <a:pt x="46" y="42"/>
                    <a:pt x="49" y="40"/>
                  </a:cubicBezTo>
                  <a:cubicBezTo>
                    <a:pt x="52" y="39"/>
                    <a:pt x="54" y="45"/>
                    <a:pt x="57" y="42"/>
                  </a:cubicBezTo>
                  <a:cubicBezTo>
                    <a:pt x="60" y="40"/>
                    <a:pt x="57" y="45"/>
                    <a:pt x="62" y="44"/>
                  </a:cubicBezTo>
                  <a:cubicBezTo>
                    <a:pt x="66" y="42"/>
                    <a:pt x="65" y="45"/>
                    <a:pt x="66" y="42"/>
                  </a:cubicBezTo>
                  <a:cubicBezTo>
                    <a:pt x="68" y="37"/>
                    <a:pt x="65" y="37"/>
                    <a:pt x="66" y="33"/>
                  </a:cubicBezTo>
                  <a:cubicBezTo>
                    <a:pt x="68" y="28"/>
                    <a:pt x="68" y="30"/>
                    <a:pt x="66" y="28"/>
                  </a:cubicBezTo>
                  <a:cubicBezTo>
                    <a:pt x="66" y="28"/>
                    <a:pt x="65" y="28"/>
                    <a:pt x="63" y="28"/>
                  </a:cubicBezTo>
                  <a:cubicBezTo>
                    <a:pt x="63" y="30"/>
                    <a:pt x="63" y="28"/>
                    <a:pt x="60" y="28"/>
                  </a:cubicBezTo>
                  <a:cubicBezTo>
                    <a:pt x="58" y="30"/>
                    <a:pt x="55" y="23"/>
                    <a:pt x="54" y="27"/>
                  </a:cubicBezTo>
                  <a:cubicBezTo>
                    <a:pt x="54" y="28"/>
                    <a:pt x="52" y="28"/>
                    <a:pt x="51" y="27"/>
                  </a:cubicBezTo>
                  <a:cubicBezTo>
                    <a:pt x="49" y="23"/>
                    <a:pt x="51" y="28"/>
                    <a:pt x="49" y="28"/>
                  </a:cubicBezTo>
                  <a:cubicBezTo>
                    <a:pt x="48" y="28"/>
                    <a:pt x="48" y="23"/>
                    <a:pt x="46" y="23"/>
                  </a:cubicBezTo>
                  <a:cubicBezTo>
                    <a:pt x="43" y="23"/>
                    <a:pt x="42" y="25"/>
                    <a:pt x="43" y="22"/>
                  </a:cubicBezTo>
                  <a:cubicBezTo>
                    <a:pt x="43" y="20"/>
                    <a:pt x="43" y="20"/>
                    <a:pt x="42" y="20"/>
                  </a:cubicBezTo>
                  <a:cubicBezTo>
                    <a:pt x="40" y="22"/>
                    <a:pt x="35" y="19"/>
                    <a:pt x="35" y="16"/>
                  </a:cubicBezTo>
                  <a:cubicBezTo>
                    <a:pt x="35" y="12"/>
                    <a:pt x="34" y="14"/>
                    <a:pt x="31" y="14"/>
                  </a:cubicBezTo>
                  <a:cubicBezTo>
                    <a:pt x="29" y="16"/>
                    <a:pt x="28" y="9"/>
                    <a:pt x="26" y="9"/>
                  </a:cubicBezTo>
                  <a:cubicBezTo>
                    <a:pt x="23" y="9"/>
                    <a:pt x="23" y="6"/>
                    <a:pt x="20" y="6"/>
                  </a:cubicBezTo>
                  <a:cubicBezTo>
                    <a:pt x="17" y="5"/>
                    <a:pt x="22" y="3"/>
                    <a:pt x="15" y="2"/>
                  </a:cubicBezTo>
                  <a:cubicBezTo>
                    <a:pt x="11" y="0"/>
                    <a:pt x="12" y="9"/>
                    <a:pt x="9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 43"/>
            <p:cNvSpPr>
              <a:spLocks/>
            </p:cNvSpPr>
            <p:nvPr/>
          </p:nvSpPr>
          <p:spPr bwMode="auto">
            <a:xfrm>
              <a:off x="7330444" y="3798266"/>
              <a:ext cx="76343" cy="55019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6" y="17"/>
                </a:cxn>
                <a:cxn ang="0">
                  <a:pos x="14" y="17"/>
                </a:cxn>
                <a:cxn ang="0">
                  <a:pos x="21" y="17"/>
                </a:cxn>
                <a:cxn ang="0">
                  <a:pos x="26" y="17"/>
                </a:cxn>
                <a:cxn ang="0">
                  <a:pos x="29" y="15"/>
                </a:cxn>
                <a:cxn ang="0">
                  <a:pos x="27" y="11"/>
                </a:cxn>
                <a:cxn ang="0">
                  <a:pos x="24" y="8"/>
                </a:cxn>
                <a:cxn ang="0">
                  <a:pos x="23" y="4"/>
                </a:cxn>
                <a:cxn ang="0">
                  <a:pos x="20" y="4"/>
                </a:cxn>
                <a:cxn ang="0">
                  <a:pos x="15" y="3"/>
                </a:cxn>
                <a:cxn ang="0">
                  <a:pos x="9" y="4"/>
                </a:cxn>
                <a:cxn ang="0">
                  <a:pos x="6" y="8"/>
                </a:cxn>
                <a:cxn ang="0">
                  <a:pos x="3" y="12"/>
                </a:cxn>
              </a:cxnLst>
              <a:rect l="0" t="0" r="r" b="b"/>
              <a:pathLst>
                <a:path w="30" h="20">
                  <a:moveTo>
                    <a:pt x="3" y="12"/>
                  </a:moveTo>
                  <a:cubicBezTo>
                    <a:pt x="0" y="14"/>
                    <a:pt x="5" y="17"/>
                    <a:pt x="6" y="17"/>
                  </a:cubicBezTo>
                  <a:cubicBezTo>
                    <a:pt x="9" y="15"/>
                    <a:pt x="9" y="20"/>
                    <a:pt x="14" y="17"/>
                  </a:cubicBezTo>
                  <a:cubicBezTo>
                    <a:pt x="18" y="15"/>
                    <a:pt x="17" y="20"/>
                    <a:pt x="21" y="17"/>
                  </a:cubicBezTo>
                  <a:cubicBezTo>
                    <a:pt x="26" y="15"/>
                    <a:pt x="24" y="19"/>
                    <a:pt x="26" y="17"/>
                  </a:cubicBezTo>
                  <a:cubicBezTo>
                    <a:pt x="27" y="15"/>
                    <a:pt x="29" y="19"/>
                    <a:pt x="29" y="15"/>
                  </a:cubicBezTo>
                  <a:cubicBezTo>
                    <a:pt x="27" y="12"/>
                    <a:pt x="30" y="9"/>
                    <a:pt x="27" y="11"/>
                  </a:cubicBezTo>
                  <a:cubicBezTo>
                    <a:pt x="24" y="11"/>
                    <a:pt x="24" y="8"/>
                    <a:pt x="24" y="8"/>
                  </a:cubicBezTo>
                  <a:cubicBezTo>
                    <a:pt x="26" y="4"/>
                    <a:pt x="24" y="4"/>
                    <a:pt x="23" y="4"/>
                  </a:cubicBezTo>
                  <a:cubicBezTo>
                    <a:pt x="21" y="3"/>
                    <a:pt x="21" y="6"/>
                    <a:pt x="20" y="4"/>
                  </a:cubicBezTo>
                  <a:cubicBezTo>
                    <a:pt x="18" y="3"/>
                    <a:pt x="14" y="4"/>
                    <a:pt x="15" y="3"/>
                  </a:cubicBezTo>
                  <a:cubicBezTo>
                    <a:pt x="17" y="1"/>
                    <a:pt x="11" y="0"/>
                    <a:pt x="9" y="4"/>
                  </a:cubicBezTo>
                  <a:cubicBezTo>
                    <a:pt x="8" y="8"/>
                    <a:pt x="6" y="4"/>
                    <a:pt x="6" y="8"/>
                  </a:cubicBezTo>
                  <a:cubicBezTo>
                    <a:pt x="5" y="11"/>
                    <a:pt x="5" y="9"/>
                    <a:pt x="3" y="1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 44"/>
            <p:cNvSpPr>
              <a:spLocks/>
            </p:cNvSpPr>
            <p:nvPr/>
          </p:nvSpPr>
          <p:spPr bwMode="auto">
            <a:xfrm>
              <a:off x="7315965" y="3850389"/>
              <a:ext cx="98721" cy="178089"/>
            </a:xfrm>
            <a:custGeom>
              <a:avLst/>
              <a:gdLst/>
              <a:ahLst/>
              <a:cxnLst>
                <a:cxn ang="0">
                  <a:pos x="9" y="41"/>
                </a:cxn>
                <a:cxn ang="0">
                  <a:pos x="9" y="35"/>
                </a:cxn>
                <a:cxn ang="0">
                  <a:pos x="8" y="31"/>
                </a:cxn>
                <a:cxn ang="0">
                  <a:pos x="8" y="26"/>
                </a:cxn>
                <a:cxn ang="0">
                  <a:pos x="3" y="20"/>
                </a:cxn>
                <a:cxn ang="0">
                  <a:pos x="6" y="15"/>
                </a:cxn>
                <a:cxn ang="0">
                  <a:pos x="9" y="13"/>
                </a:cxn>
                <a:cxn ang="0">
                  <a:pos x="8" y="12"/>
                </a:cxn>
                <a:cxn ang="0">
                  <a:pos x="3" y="9"/>
                </a:cxn>
                <a:cxn ang="0">
                  <a:pos x="6" y="3"/>
                </a:cxn>
                <a:cxn ang="0">
                  <a:pos x="6" y="1"/>
                </a:cxn>
                <a:cxn ang="0">
                  <a:pos x="11" y="3"/>
                </a:cxn>
                <a:cxn ang="0">
                  <a:pos x="15" y="6"/>
                </a:cxn>
                <a:cxn ang="0">
                  <a:pos x="17" y="13"/>
                </a:cxn>
                <a:cxn ang="0">
                  <a:pos x="38" y="17"/>
                </a:cxn>
                <a:cxn ang="0">
                  <a:pos x="35" y="20"/>
                </a:cxn>
                <a:cxn ang="0">
                  <a:pos x="27" y="31"/>
                </a:cxn>
                <a:cxn ang="0">
                  <a:pos x="33" y="32"/>
                </a:cxn>
                <a:cxn ang="0">
                  <a:pos x="36" y="32"/>
                </a:cxn>
                <a:cxn ang="0">
                  <a:pos x="38" y="48"/>
                </a:cxn>
                <a:cxn ang="0">
                  <a:pos x="35" y="57"/>
                </a:cxn>
                <a:cxn ang="0">
                  <a:pos x="35" y="57"/>
                </a:cxn>
                <a:cxn ang="0">
                  <a:pos x="33" y="52"/>
                </a:cxn>
                <a:cxn ang="0">
                  <a:pos x="33" y="48"/>
                </a:cxn>
                <a:cxn ang="0">
                  <a:pos x="29" y="40"/>
                </a:cxn>
                <a:cxn ang="0">
                  <a:pos x="24" y="38"/>
                </a:cxn>
                <a:cxn ang="0">
                  <a:pos x="23" y="32"/>
                </a:cxn>
                <a:cxn ang="0">
                  <a:pos x="21" y="34"/>
                </a:cxn>
                <a:cxn ang="0">
                  <a:pos x="23" y="41"/>
                </a:cxn>
                <a:cxn ang="0">
                  <a:pos x="18" y="49"/>
                </a:cxn>
                <a:cxn ang="0">
                  <a:pos x="15" y="49"/>
                </a:cxn>
                <a:cxn ang="0">
                  <a:pos x="11" y="48"/>
                </a:cxn>
                <a:cxn ang="0">
                  <a:pos x="9" y="41"/>
                </a:cxn>
              </a:cxnLst>
              <a:rect l="0" t="0" r="r" b="b"/>
              <a:pathLst>
                <a:path w="39" h="63">
                  <a:moveTo>
                    <a:pt x="9" y="41"/>
                  </a:moveTo>
                  <a:cubicBezTo>
                    <a:pt x="9" y="35"/>
                    <a:pt x="11" y="35"/>
                    <a:pt x="9" y="35"/>
                  </a:cubicBezTo>
                  <a:cubicBezTo>
                    <a:pt x="6" y="35"/>
                    <a:pt x="9" y="34"/>
                    <a:pt x="8" y="31"/>
                  </a:cubicBezTo>
                  <a:cubicBezTo>
                    <a:pt x="5" y="29"/>
                    <a:pt x="9" y="31"/>
                    <a:pt x="8" y="26"/>
                  </a:cubicBezTo>
                  <a:cubicBezTo>
                    <a:pt x="8" y="21"/>
                    <a:pt x="2" y="24"/>
                    <a:pt x="3" y="20"/>
                  </a:cubicBezTo>
                  <a:cubicBezTo>
                    <a:pt x="3" y="15"/>
                    <a:pt x="6" y="20"/>
                    <a:pt x="6" y="15"/>
                  </a:cubicBezTo>
                  <a:cubicBezTo>
                    <a:pt x="5" y="12"/>
                    <a:pt x="12" y="17"/>
                    <a:pt x="9" y="13"/>
                  </a:cubicBezTo>
                  <a:cubicBezTo>
                    <a:pt x="9" y="12"/>
                    <a:pt x="9" y="12"/>
                    <a:pt x="8" y="12"/>
                  </a:cubicBezTo>
                  <a:cubicBezTo>
                    <a:pt x="6" y="12"/>
                    <a:pt x="6" y="9"/>
                    <a:pt x="3" y="9"/>
                  </a:cubicBezTo>
                  <a:cubicBezTo>
                    <a:pt x="0" y="7"/>
                    <a:pt x="8" y="3"/>
                    <a:pt x="6" y="3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8" y="1"/>
                    <a:pt x="6" y="6"/>
                    <a:pt x="11" y="3"/>
                  </a:cubicBezTo>
                  <a:cubicBezTo>
                    <a:pt x="12" y="3"/>
                    <a:pt x="14" y="10"/>
                    <a:pt x="15" y="6"/>
                  </a:cubicBezTo>
                  <a:cubicBezTo>
                    <a:pt x="17" y="3"/>
                    <a:pt x="17" y="9"/>
                    <a:pt x="17" y="13"/>
                  </a:cubicBezTo>
                  <a:cubicBezTo>
                    <a:pt x="17" y="17"/>
                    <a:pt x="35" y="13"/>
                    <a:pt x="38" y="17"/>
                  </a:cubicBezTo>
                  <a:cubicBezTo>
                    <a:pt x="39" y="20"/>
                    <a:pt x="35" y="15"/>
                    <a:pt x="35" y="20"/>
                  </a:cubicBezTo>
                  <a:cubicBezTo>
                    <a:pt x="35" y="26"/>
                    <a:pt x="26" y="24"/>
                    <a:pt x="27" y="31"/>
                  </a:cubicBezTo>
                  <a:cubicBezTo>
                    <a:pt x="29" y="38"/>
                    <a:pt x="32" y="40"/>
                    <a:pt x="33" y="32"/>
                  </a:cubicBezTo>
                  <a:cubicBezTo>
                    <a:pt x="33" y="29"/>
                    <a:pt x="36" y="29"/>
                    <a:pt x="36" y="32"/>
                  </a:cubicBezTo>
                  <a:cubicBezTo>
                    <a:pt x="35" y="38"/>
                    <a:pt x="38" y="38"/>
                    <a:pt x="38" y="48"/>
                  </a:cubicBezTo>
                  <a:cubicBezTo>
                    <a:pt x="39" y="63"/>
                    <a:pt x="35" y="46"/>
                    <a:pt x="35" y="57"/>
                  </a:cubicBezTo>
                  <a:cubicBezTo>
                    <a:pt x="36" y="60"/>
                    <a:pt x="35" y="59"/>
                    <a:pt x="35" y="57"/>
                  </a:cubicBezTo>
                  <a:cubicBezTo>
                    <a:pt x="33" y="55"/>
                    <a:pt x="33" y="54"/>
                    <a:pt x="33" y="52"/>
                  </a:cubicBezTo>
                  <a:cubicBezTo>
                    <a:pt x="35" y="51"/>
                    <a:pt x="33" y="51"/>
                    <a:pt x="33" y="48"/>
                  </a:cubicBezTo>
                  <a:cubicBezTo>
                    <a:pt x="30" y="41"/>
                    <a:pt x="30" y="38"/>
                    <a:pt x="29" y="40"/>
                  </a:cubicBezTo>
                  <a:cubicBezTo>
                    <a:pt x="26" y="43"/>
                    <a:pt x="24" y="41"/>
                    <a:pt x="24" y="38"/>
                  </a:cubicBezTo>
                  <a:cubicBezTo>
                    <a:pt x="23" y="35"/>
                    <a:pt x="23" y="31"/>
                    <a:pt x="23" y="32"/>
                  </a:cubicBezTo>
                  <a:cubicBezTo>
                    <a:pt x="21" y="34"/>
                    <a:pt x="21" y="32"/>
                    <a:pt x="21" y="34"/>
                  </a:cubicBezTo>
                  <a:cubicBezTo>
                    <a:pt x="23" y="37"/>
                    <a:pt x="21" y="38"/>
                    <a:pt x="23" y="41"/>
                  </a:cubicBezTo>
                  <a:cubicBezTo>
                    <a:pt x="23" y="45"/>
                    <a:pt x="20" y="51"/>
                    <a:pt x="18" y="49"/>
                  </a:cubicBezTo>
                  <a:cubicBezTo>
                    <a:pt x="17" y="46"/>
                    <a:pt x="15" y="52"/>
                    <a:pt x="15" y="49"/>
                  </a:cubicBezTo>
                  <a:cubicBezTo>
                    <a:pt x="14" y="48"/>
                    <a:pt x="12" y="52"/>
                    <a:pt x="11" y="48"/>
                  </a:cubicBezTo>
                  <a:cubicBezTo>
                    <a:pt x="11" y="46"/>
                    <a:pt x="11" y="45"/>
                    <a:pt x="9" y="4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 45"/>
            <p:cNvSpPr>
              <a:spLocks/>
            </p:cNvSpPr>
            <p:nvPr/>
          </p:nvSpPr>
          <p:spPr bwMode="auto">
            <a:xfrm>
              <a:off x="6764448" y="3494213"/>
              <a:ext cx="290896" cy="286678"/>
            </a:xfrm>
            <a:custGeom>
              <a:avLst/>
              <a:gdLst/>
              <a:ahLst/>
              <a:cxnLst>
                <a:cxn ang="0">
                  <a:pos x="6" y="33"/>
                </a:cxn>
                <a:cxn ang="0">
                  <a:pos x="0" y="50"/>
                </a:cxn>
                <a:cxn ang="0">
                  <a:pos x="3" y="74"/>
                </a:cxn>
                <a:cxn ang="0">
                  <a:pos x="10" y="80"/>
                </a:cxn>
                <a:cxn ang="0">
                  <a:pos x="3" y="94"/>
                </a:cxn>
                <a:cxn ang="0">
                  <a:pos x="29" y="97"/>
                </a:cxn>
                <a:cxn ang="0">
                  <a:pos x="47" y="88"/>
                </a:cxn>
                <a:cxn ang="0">
                  <a:pos x="59" y="75"/>
                </a:cxn>
                <a:cxn ang="0">
                  <a:pos x="69" y="74"/>
                </a:cxn>
                <a:cxn ang="0">
                  <a:pos x="70" y="64"/>
                </a:cxn>
                <a:cxn ang="0">
                  <a:pos x="76" y="53"/>
                </a:cxn>
                <a:cxn ang="0">
                  <a:pos x="85" y="46"/>
                </a:cxn>
                <a:cxn ang="0">
                  <a:pos x="87" y="33"/>
                </a:cxn>
                <a:cxn ang="0">
                  <a:pos x="96" y="21"/>
                </a:cxn>
                <a:cxn ang="0">
                  <a:pos x="111" y="16"/>
                </a:cxn>
                <a:cxn ang="0">
                  <a:pos x="113" y="15"/>
                </a:cxn>
                <a:cxn ang="0">
                  <a:pos x="108" y="13"/>
                </a:cxn>
                <a:cxn ang="0">
                  <a:pos x="105" y="13"/>
                </a:cxn>
                <a:cxn ang="0">
                  <a:pos x="101" y="13"/>
                </a:cxn>
                <a:cxn ang="0">
                  <a:pos x="97" y="16"/>
                </a:cxn>
                <a:cxn ang="0">
                  <a:pos x="91" y="19"/>
                </a:cxn>
                <a:cxn ang="0">
                  <a:pos x="88" y="10"/>
                </a:cxn>
                <a:cxn ang="0">
                  <a:pos x="85" y="7"/>
                </a:cxn>
                <a:cxn ang="0">
                  <a:pos x="84" y="2"/>
                </a:cxn>
                <a:cxn ang="0">
                  <a:pos x="78" y="7"/>
                </a:cxn>
                <a:cxn ang="0">
                  <a:pos x="78" y="11"/>
                </a:cxn>
                <a:cxn ang="0">
                  <a:pos x="72" y="11"/>
                </a:cxn>
                <a:cxn ang="0">
                  <a:pos x="70" y="16"/>
                </a:cxn>
                <a:cxn ang="0">
                  <a:pos x="67" y="15"/>
                </a:cxn>
                <a:cxn ang="0">
                  <a:pos x="61" y="16"/>
                </a:cxn>
                <a:cxn ang="0">
                  <a:pos x="58" y="16"/>
                </a:cxn>
                <a:cxn ang="0">
                  <a:pos x="55" y="15"/>
                </a:cxn>
                <a:cxn ang="0">
                  <a:pos x="49" y="13"/>
                </a:cxn>
                <a:cxn ang="0">
                  <a:pos x="41" y="13"/>
                </a:cxn>
                <a:cxn ang="0">
                  <a:pos x="33" y="21"/>
                </a:cxn>
                <a:cxn ang="0">
                  <a:pos x="24" y="28"/>
                </a:cxn>
                <a:cxn ang="0">
                  <a:pos x="17" y="36"/>
                </a:cxn>
                <a:cxn ang="0">
                  <a:pos x="10" y="35"/>
                </a:cxn>
                <a:cxn ang="0">
                  <a:pos x="6" y="33"/>
                </a:cxn>
              </a:cxnLst>
              <a:rect l="0" t="0" r="r" b="b"/>
              <a:pathLst>
                <a:path w="114" h="102">
                  <a:moveTo>
                    <a:pt x="6" y="33"/>
                  </a:moveTo>
                  <a:cubicBezTo>
                    <a:pt x="4" y="47"/>
                    <a:pt x="0" y="43"/>
                    <a:pt x="0" y="50"/>
                  </a:cubicBezTo>
                  <a:cubicBezTo>
                    <a:pt x="1" y="58"/>
                    <a:pt x="3" y="66"/>
                    <a:pt x="3" y="74"/>
                  </a:cubicBezTo>
                  <a:cubicBezTo>
                    <a:pt x="1" y="81"/>
                    <a:pt x="10" y="74"/>
                    <a:pt x="10" y="80"/>
                  </a:cubicBezTo>
                  <a:cubicBezTo>
                    <a:pt x="12" y="86"/>
                    <a:pt x="3" y="89"/>
                    <a:pt x="3" y="94"/>
                  </a:cubicBezTo>
                  <a:cubicBezTo>
                    <a:pt x="7" y="92"/>
                    <a:pt x="14" y="102"/>
                    <a:pt x="29" y="97"/>
                  </a:cubicBezTo>
                  <a:cubicBezTo>
                    <a:pt x="46" y="94"/>
                    <a:pt x="47" y="94"/>
                    <a:pt x="47" y="88"/>
                  </a:cubicBezTo>
                  <a:cubicBezTo>
                    <a:pt x="46" y="80"/>
                    <a:pt x="55" y="78"/>
                    <a:pt x="59" y="75"/>
                  </a:cubicBezTo>
                  <a:cubicBezTo>
                    <a:pt x="64" y="70"/>
                    <a:pt x="67" y="77"/>
                    <a:pt x="69" y="74"/>
                  </a:cubicBezTo>
                  <a:cubicBezTo>
                    <a:pt x="70" y="72"/>
                    <a:pt x="69" y="70"/>
                    <a:pt x="70" y="64"/>
                  </a:cubicBezTo>
                  <a:cubicBezTo>
                    <a:pt x="73" y="56"/>
                    <a:pt x="81" y="61"/>
                    <a:pt x="76" y="53"/>
                  </a:cubicBezTo>
                  <a:cubicBezTo>
                    <a:pt x="70" y="44"/>
                    <a:pt x="85" y="55"/>
                    <a:pt x="85" y="46"/>
                  </a:cubicBezTo>
                  <a:cubicBezTo>
                    <a:pt x="85" y="41"/>
                    <a:pt x="90" y="39"/>
                    <a:pt x="87" y="33"/>
                  </a:cubicBezTo>
                  <a:cubicBezTo>
                    <a:pt x="84" y="27"/>
                    <a:pt x="85" y="24"/>
                    <a:pt x="96" y="21"/>
                  </a:cubicBezTo>
                  <a:cubicBezTo>
                    <a:pt x="105" y="16"/>
                    <a:pt x="108" y="22"/>
                    <a:pt x="111" y="16"/>
                  </a:cubicBezTo>
                  <a:cubicBezTo>
                    <a:pt x="110" y="16"/>
                    <a:pt x="110" y="15"/>
                    <a:pt x="113" y="15"/>
                  </a:cubicBezTo>
                  <a:cubicBezTo>
                    <a:pt x="114" y="13"/>
                    <a:pt x="111" y="11"/>
                    <a:pt x="108" y="13"/>
                  </a:cubicBezTo>
                  <a:cubicBezTo>
                    <a:pt x="105" y="16"/>
                    <a:pt x="104" y="16"/>
                    <a:pt x="105" y="13"/>
                  </a:cubicBezTo>
                  <a:cubicBezTo>
                    <a:pt x="107" y="11"/>
                    <a:pt x="102" y="11"/>
                    <a:pt x="101" y="13"/>
                  </a:cubicBezTo>
                  <a:cubicBezTo>
                    <a:pt x="99" y="15"/>
                    <a:pt x="97" y="15"/>
                    <a:pt x="97" y="16"/>
                  </a:cubicBezTo>
                  <a:cubicBezTo>
                    <a:pt x="97" y="18"/>
                    <a:pt x="94" y="18"/>
                    <a:pt x="91" y="19"/>
                  </a:cubicBezTo>
                  <a:cubicBezTo>
                    <a:pt x="88" y="22"/>
                    <a:pt x="87" y="19"/>
                    <a:pt x="88" y="10"/>
                  </a:cubicBezTo>
                  <a:cubicBezTo>
                    <a:pt x="88" y="4"/>
                    <a:pt x="87" y="8"/>
                    <a:pt x="85" y="7"/>
                  </a:cubicBezTo>
                  <a:cubicBezTo>
                    <a:pt x="85" y="5"/>
                    <a:pt x="88" y="4"/>
                    <a:pt x="84" y="2"/>
                  </a:cubicBezTo>
                  <a:cubicBezTo>
                    <a:pt x="79" y="0"/>
                    <a:pt x="81" y="5"/>
                    <a:pt x="78" y="7"/>
                  </a:cubicBezTo>
                  <a:cubicBezTo>
                    <a:pt x="76" y="8"/>
                    <a:pt x="79" y="10"/>
                    <a:pt x="78" y="11"/>
                  </a:cubicBezTo>
                  <a:cubicBezTo>
                    <a:pt x="76" y="13"/>
                    <a:pt x="75" y="10"/>
                    <a:pt x="72" y="11"/>
                  </a:cubicBezTo>
                  <a:cubicBezTo>
                    <a:pt x="70" y="13"/>
                    <a:pt x="72" y="16"/>
                    <a:pt x="70" y="16"/>
                  </a:cubicBezTo>
                  <a:cubicBezTo>
                    <a:pt x="70" y="16"/>
                    <a:pt x="69" y="13"/>
                    <a:pt x="67" y="15"/>
                  </a:cubicBezTo>
                  <a:cubicBezTo>
                    <a:pt x="64" y="15"/>
                    <a:pt x="62" y="15"/>
                    <a:pt x="61" y="16"/>
                  </a:cubicBezTo>
                  <a:cubicBezTo>
                    <a:pt x="61" y="19"/>
                    <a:pt x="59" y="19"/>
                    <a:pt x="58" y="16"/>
                  </a:cubicBezTo>
                  <a:cubicBezTo>
                    <a:pt x="56" y="15"/>
                    <a:pt x="56" y="15"/>
                    <a:pt x="55" y="15"/>
                  </a:cubicBezTo>
                  <a:cubicBezTo>
                    <a:pt x="53" y="16"/>
                    <a:pt x="53" y="11"/>
                    <a:pt x="49" y="13"/>
                  </a:cubicBezTo>
                  <a:cubicBezTo>
                    <a:pt x="44" y="15"/>
                    <a:pt x="43" y="10"/>
                    <a:pt x="41" y="13"/>
                  </a:cubicBezTo>
                  <a:cubicBezTo>
                    <a:pt x="38" y="16"/>
                    <a:pt x="35" y="13"/>
                    <a:pt x="33" y="21"/>
                  </a:cubicBezTo>
                  <a:cubicBezTo>
                    <a:pt x="32" y="28"/>
                    <a:pt x="27" y="27"/>
                    <a:pt x="24" y="28"/>
                  </a:cubicBezTo>
                  <a:cubicBezTo>
                    <a:pt x="21" y="30"/>
                    <a:pt x="21" y="35"/>
                    <a:pt x="17" y="36"/>
                  </a:cubicBezTo>
                  <a:cubicBezTo>
                    <a:pt x="12" y="38"/>
                    <a:pt x="15" y="33"/>
                    <a:pt x="10" y="35"/>
                  </a:cubicBezTo>
                  <a:cubicBezTo>
                    <a:pt x="7" y="35"/>
                    <a:pt x="9" y="33"/>
                    <a:pt x="6" y="3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 46"/>
            <p:cNvSpPr>
              <a:spLocks/>
            </p:cNvSpPr>
            <p:nvPr/>
          </p:nvSpPr>
          <p:spPr bwMode="auto">
            <a:xfrm>
              <a:off x="6771028" y="3539096"/>
              <a:ext cx="342230" cy="398165"/>
            </a:xfrm>
            <a:custGeom>
              <a:avLst/>
              <a:gdLst/>
              <a:ahLst/>
              <a:cxnLst>
                <a:cxn ang="0">
                  <a:pos x="108" y="0"/>
                </a:cxn>
                <a:cxn ang="0">
                  <a:pos x="116" y="3"/>
                </a:cxn>
                <a:cxn ang="0">
                  <a:pos x="120" y="6"/>
                </a:cxn>
                <a:cxn ang="0">
                  <a:pos x="120" y="12"/>
                </a:cxn>
                <a:cxn ang="0">
                  <a:pos x="125" y="14"/>
                </a:cxn>
                <a:cxn ang="0">
                  <a:pos x="134" y="17"/>
                </a:cxn>
                <a:cxn ang="0">
                  <a:pos x="125" y="25"/>
                </a:cxn>
                <a:cxn ang="0">
                  <a:pos x="114" y="28"/>
                </a:cxn>
                <a:cxn ang="0">
                  <a:pos x="103" y="30"/>
                </a:cxn>
                <a:cxn ang="0">
                  <a:pos x="105" y="33"/>
                </a:cxn>
                <a:cxn ang="0">
                  <a:pos x="105" y="37"/>
                </a:cxn>
                <a:cxn ang="0">
                  <a:pos x="105" y="44"/>
                </a:cxn>
                <a:cxn ang="0">
                  <a:pos x="108" y="47"/>
                </a:cxn>
                <a:cxn ang="0">
                  <a:pos x="111" y="50"/>
                </a:cxn>
                <a:cxn ang="0">
                  <a:pos x="111" y="54"/>
                </a:cxn>
                <a:cxn ang="0">
                  <a:pos x="105" y="69"/>
                </a:cxn>
                <a:cxn ang="0">
                  <a:pos x="102" y="75"/>
                </a:cxn>
                <a:cxn ang="0">
                  <a:pos x="94" y="87"/>
                </a:cxn>
                <a:cxn ang="0">
                  <a:pos x="90" y="93"/>
                </a:cxn>
                <a:cxn ang="0">
                  <a:pos x="86" y="98"/>
                </a:cxn>
                <a:cxn ang="0">
                  <a:pos x="77" y="98"/>
                </a:cxn>
                <a:cxn ang="0">
                  <a:pos x="71" y="103"/>
                </a:cxn>
                <a:cxn ang="0">
                  <a:pos x="71" y="110"/>
                </a:cxn>
                <a:cxn ang="0">
                  <a:pos x="76" y="120"/>
                </a:cxn>
                <a:cxn ang="0">
                  <a:pos x="81" y="129"/>
                </a:cxn>
                <a:cxn ang="0">
                  <a:pos x="81" y="134"/>
                </a:cxn>
                <a:cxn ang="0">
                  <a:pos x="77" y="135"/>
                </a:cxn>
                <a:cxn ang="0">
                  <a:pos x="73" y="135"/>
                </a:cxn>
                <a:cxn ang="0">
                  <a:pos x="67" y="135"/>
                </a:cxn>
                <a:cxn ang="0">
                  <a:pos x="62" y="137"/>
                </a:cxn>
                <a:cxn ang="0">
                  <a:pos x="58" y="142"/>
                </a:cxn>
                <a:cxn ang="0">
                  <a:pos x="53" y="140"/>
                </a:cxn>
                <a:cxn ang="0">
                  <a:pos x="52" y="137"/>
                </a:cxn>
                <a:cxn ang="0">
                  <a:pos x="50" y="134"/>
                </a:cxn>
                <a:cxn ang="0">
                  <a:pos x="48" y="129"/>
                </a:cxn>
                <a:cxn ang="0">
                  <a:pos x="45" y="124"/>
                </a:cxn>
                <a:cxn ang="0">
                  <a:pos x="30" y="124"/>
                </a:cxn>
                <a:cxn ang="0">
                  <a:pos x="24" y="124"/>
                </a:cxn>
                <a:cxn ang="0">
                  <a:pos x="18" y="126"/>
                </a:cxn>
                <a:cxn ang="0">
                  <a:pos x="12" y="126"/>
                </a:cxn>
                <a:cxn ang="0">
                  <a:pos x="6" y="126"/>
                </a:cxn>
                <a:cxn ang="0">
                  <a:pos x="7" y="117"/>
                </a:cxn>
                <a:cxn ang="0">
                  <a:pos x="12" y="112"/>
                </a:cxn>
                <a:cxn ang="0">
                  <a:pos x="18" y="110"/>
                </a:cxn>
                <a:cxn ang="0">
                  <a:pos x="20" y="104"/>
                </a:cxn>
                <a:cxn ang="0">
                  <a:pos x="15" y="103"/>
                </a:cxn>
                <a:cxn ang="0">
                  <a:pos x="15" y="95"/>
                </a:cxn>
                <a:cxn ang="0">
                  <a:pos x="13" y="93"/>
                </a:cxn>
                <a:cxn ang="0">
                  <a:pos x="6" y="87"/>
                </a:cxn>
                <a:cxn ang="0">
                  <a:pos x="0" y="78"/>
                </a:cxn>
                <a:cxn ang="0">
                  <a:pos x="26" y="81"/>
                </a:cxn>
                <a:cxn ang="0">
                  <a:pos x="44" y="72"/>
                </a:cxn>
                <a:cxn ang="0">
                  <a:pos x="56" y="59"/>
                </a:cxn>
                <a:cxn ang="0">
                  <a:pos x="65" y="58"/>
                </a:cxn>
                <a:cxn ang="0">
                  <a:pos x="67" y="48"/>
                </a:cxn>
                <a:cxn ang="0">
                  <a:pos x="73" y="37"/>
                </a:cxn>
                <a:cxn ang="0">
                  <a:pos x="82" y="30"/>
                </a:cxn>
                <a:cxn ang="0">
                  <a:pos x="83" y="17"/>
                </a:cxn>
                <a:cxn ang="0">
                  <a:pos x="93" y="5"/>
                </a:cxn>
                <a:cxn ang="0">
                  <a:pos x="108" y="0"/>
                </a:cxn>
              </a:cxnLst>
              <a:rect l="0" t="0" r="r" b="b"/>
              <a:pathLst>
                <a:path w="134" h="142">
                  <a:moveTo>
                    <a:pt x="108" y="0"/>
                  </a:moveTo>
                  <a:cubicBezTo>
                    <a:pt x="111" y="3"/>
                    <a:pt x="114" y="0"/>
                    <a:pt x="116" y="3"/>
                  </a:cubicBezTo>
                  <a:cubicBezTo>
                    <a:pt x="116" y="6"/>
                    <a:pt x="117" y="2"/>
                    <a:pt x="120" y="6"/>
                  </a:cubicBezTo>
                  <a:cubicBezTo>
                    <a:pt x="122" y="11"/>
                    <a:pt x="119" y="9"/>
                    <a:pt x="120" y="12"/>
                  </a:cubicBezTo>
                  <a:cubicBezTo>
                    <a:pt x="123" y="16"/>
                    <a:pt x="125" y="12"/>
                    <a:pt x="125" y="14"/>
                  </a:cubicBezTo>
                  <a:cubicBezTo>
                    <a:pt x="126" y="16"/>
                    <a:pt x="131" y="17"/>
                    <a:pt x="134" y="17"/>
                  </a:cubicBezTo>
                  <a:cubicBezTo>
                    <a:pt x="126" y="22"/>
                    <a:pt x="129" y="27"/>
                    <a:pt x="125" y="25"/>
                  </a:cubicBezTo>
                  <a:cubicBezTo>
                    <a:pt x="122" y="25"/>
                    <a:pt x="120" y="30"/>
                    <a:pt x="114" y="28"/>
                  </a:cubicBezTo>
                  <a:cubicBezTo>
                    <a:pt x="105" y="23"/>
                    <a:pt x="100" y="28"/>
                    <a:pt x="103" y="30"/>
                  </a:cubicBezTo>
                  <a:cubicBezTo>
                    <a:pt x="106" y="33"/>
                    <a:pt x="100" y="33"/>
                    <a:pt x="105" y="33"/>
                  </a:cubicBezTo>
                  <a:cubicBezTo>
                    <a:pt x="111" y="34"/>
                    <a:pt x="100" y="34"/>
                    <a:pt x="105" y="37"/>
                  </a:cubicBezTo>
                  <a:cubicBezTo>
                    <a:pt x="108" y="40"/>
                    <a:pt x="102" y="40"/>
                    <a:pt x="105" y="44"/>
                  </a:cubicBezTo>
                  <a:cubicBezTo>
                    <a:pt x="108" y="45"/>
                    <a:pt x="106" y="47"/>
                    <a:pt x="108" y="47"/>
                  </a:cubicBezTo>
                  <a:cubicBezTo>
                    <a:pt x="112" y="45"/>
                    <a:pt x="108" y="50"/>
                    <a:pt x="111" y="50"/>
                  </a:cubicBezTo>
                  <a:cubicBezTo>
                    <a:pt x="116" y="51"/>
                    <a:pt x="117" y="51"/>
                    <a:pt x="111" y="54"/>
                  </a:cubicBezTo>
                  <a:cubicBezTo>
                    <a:pt x="103" y="58"/>
                    <a:pt x="112" y="58"/>
                    <a:pt x="105" y="69"/>
                  </a:cubicBezTo>
                  <a:cubicBezTo>
                    <a:pt x="102" y="75"/>
                    <a:pt x="108" y="73"/>
                    <a:pt x="102" y="75"/>
                  </a:cubicBezTo>
                  <a:cubicBezTo>
                    <a:pt x="96" y="78"/>
                    <a:pt x="99" y="86"/>
                    <a:pt x="94" y="87"/>
                  </a:cubicBezTo>
                  <a:cubicBezTo>
                    <a:pt x="90" y="89"/>
                    <a:pt x="91" y="92"/>
                    <a:pt x="90" y="93"/>
                  </a:cubicBezTo>
                  <a:cubicBezTo>
                    <a:pt x="86" y="95"/>
                    <a:pt x="90" y="98"/>
                    <a:pt x="86" y="98"/>
                  </a:cubicBezTo>
                  <a:cubicBezTo>
                    <a:pt x="81" y="98"/>
                    <a:pt x="79" y="101"/>
                    <a:pt x="77" y="98"/>
                  </a:cubicBezTo>
                  <a:cubicBezTo>
                    <a:pt x="74" y="93"/>
                    <a:pt x="74" y="100"/>
                    <a:pt x="71" y="103"/>
                  </a:cubicBezTo>
                  <a:cubicBezTo>
                    <a:pt x="68" y="106"/>
                    <a:pt x="65" y="110"/>
                    <a:pt x="71" y="110"/>
                  </a:cubicBezTo>
                  <a:cubicBezTo>
                    <a:pt x="77" y="112"/>
                    <a:pt x="70" y="120"/>
                    <a:pt x="76" y="120"/>
                  </a:cubicBezTo>
                  <a:cubicBezTo>
                    <a:pt x="81" y="121"/>
                    <a:pt x="74" y="121"/>
                    <a:pt x="81" y="129"/>
                  </a:cubicBezTo>
                  <a:cubicBezTo>
                    <a:pt x="82" y="131"/>
                    <a:pt x="79" y="132"/>
                    <a:pt x="81" y="134"/>
                  </a:cubicBezTo>
                  <a:cubicBezTo>
                    <a:pt x="82" y="134"/>
                    <a:pt x="77" y="137"/>
                    <a:pt x="77" y="135"/>
                  </a:cubicBezTo>
                  <a:cubicBezTo>
                    <a:pt x="76" y="132"/>
                    <a:pt x="74" y="134"/>
                    <a:pt x="73" y="135"/>
                  </a:cubicBezTo>
                  <a:cubicBezTo>
                    <a:pt x="71" y="139"/>
                    <a:pt x="71" y="134"/>
                    <a:pt x="67" y="135"/>
                  </a:cubicBezTo>
                  <a:cubicBezTo>
                    <a:pt x="65" y="135"/>
                    <a:pt x="62" y="134"/>
                    <a:pt x="62" y="137"/>
                  </a:cubicBezTo>
                  <a:cubicBezTo>
                    <a:pt x="64" y="140"/>
                    <a:pt x="58" y="137"/>
                    <a:pt x="58" y="142"/>
                  </a:cubicBezTo>
                  <a:cubicBezTo>
                    <a:pt x="55" y="139"/>
                    <a:pt x="55" y="142"/>
                    <a:pt x="53" y="140"/>
                  </a:cubicBezTo>
                  <a:cubicBezTo>
                    <a:pt x="52" y="139"/>
                    <a:pt x="53" y="139"/>
                    <a:pt x="52" y="137"/>
                  </a:cubicBezTo>
                  <a:cubicBezTo>
                    <a:pt x="50" y="135"/>
                    <a:pt x="52" y="135"/>
                    <a:pt x="50" y="134"/>
                  </a:cubicBezTo>
                  <a:cubicBezTo>
                    <a:pt x="48" y="132"/>
                    <a:pt x="52" y="129"/>
                    <a:pt x="48" y="129"/>
                  </a:cubicBezTo>
                  <a:cubicBezTo>
                    <a:pt x="44" y="129"/>
                    <a:pt x="47" y="128"/>
                    <a:pt x="45" y="124"/>
                  </a:cubicBezTo>
                  <a:cubicBezTo>
                    <a:pt x="45" y="123"/>
                    <a:pt x="32" y="124"/>
                    <a:pt x="30" y="124"/>
                  </a:cubicBezTo>
                  <a:cubicBezTo>
                    <a:pt x="30" y="128"/>
                    <a:pt x="30" y="126"/>
                    <a:pt x="24" y="124"/>
                  </a:cubicBezTo>
                  <a:cubicBezTo>
                    <a:pt x="18" y="123"/>
                    <a:pt x="23" y="128"/>
                    <a:pt x="18" y="126"/>
                  </a:cubicBezTo>
                  <a:cubicBezTo>
                    <a:pt x="12" y="123"/>
                    <a:pt x="13" y="128"/>
                    <a:pt x="12" y="126"/>
                  </a:cubicBezTo>
                  <a:cubicBezTo>
                    <a:pt x="10" y="124"/>
                    <a:pt x="7" y="131"/>
                    <a:pt x="6" y="126"/>
                  </a:cubicBezTo>
                  <a:cubicBezTo>
                    <a:pt x="6" y="123"/>
                    <a:pt x="6" y="120"/>
                    <a:pt x="7" y="117"/>
                  </a:cubicBezTo>
                  <a:cubicBezTo>
                    <a:pt x="9" y="114"/>
                    <a:pt x="12" y="115"/>
                    <a:pt x="12" y="112"/>
                  </a:cubicBezTo>
                  <a:cubicBezTo>
                    <a:pt x="12" y="110"/>
                    <a:pt x="18" y="112"/>
                    <a:pt x="18" y="110"/>
                  </a:cubicBezTo>
                  <a:cubicBezTo>
                    <a:pt x="18" y="107"/>
                    <a:pt x="20" y="106"/>
                    <a:pt x="20" y="104"/>
                  </a:cubicBezTo>
                  <a:cubicBezTo>
                    <a:pt x="18" y="104"/>
                    <a:pt x="13" y="106"/>
                    <a:pt x="15" y="103"/>
                  </a:cubicBezTo>
                  <a:cubicBezTo>
                    <a:pt x="17" y="101"/>
                    <a:pt x="15" y="98"/>
                    <a:pt x="15" y="95"/>
                  </a:cubicBezTo>
                  <a:cubicBezTo>
                    <a:pt x="15" y="92"/>
                    <a:pt x="15" y="97"/>
                    <a:pt x="13" y="93"/>
                  </a:cubicBezTo>
                  <a:cubicBezTo>
                    <a:pt x="12" y="90"/>
                    <a:pt x="7" y="93"/>
                    <a:pt x="6" y="87"/>
                  </a:cubicBezTo>
                  <a:cubicBezTo>
                    <a:pt x="4" y="82"/>
                    <a:pt x="3" y="81"/>
                    <a:pt x="0" y="78"/>
                  </a:cubicBezTo>
                  <a:cubicBezTo>
                    <a:pt x="4" y="76"/>
                    <a:pt x="10" y="86"/>
                    <a:pt x="26" y="81"/>
                  </a:cubicBezTo>
                  <a:cubicBezTo>
                    <a:pt x="42" y="78"/>
                    <a:pt x="44" y="78"/>
                    <a:pt x="44" y="72"/>
                  </a:cubicBezTo>
                  <a:cubicBezTo>
                    <a:pt x="42" y="64"/>
                    <a:pt x="52" y="62"/>
                    <a:pt x="56" y="59"/>
                  </a:cubicBezTo>
                  <a:cubicBezTo>
                    <a:pt x="61" y="54"/>
                    <a:pt x="64" y="61"/>
                    <a:pt x="65" y="58"/>
                  </a:cubicBezTo>
                  <a:cubicBezTo>
                    <a:pt x="67" y="56"/>
                    <a:pt x="65" y="54"/>
                    <a:pt x="67" y="48"/>
                  </a:cubicBezTo>
                  <a:cubicBezTo>
                    <a:pt x="70" y="40"/>
                    <a:pt x="77" y="45"/>
                    <a:pt x="73" y="37"/>
                  </a:cubicBezTo>
                  <a:cubicBezTo>
                    <a:pt x="67" y="28"/>
                    <a:pt x="82" y="39"/>
                    <a:pt x="82" y="30"/>
                  </a:cubicBezTo>
                  <a:cubicBezTo>
                    <a:pt x="82" y="25"/>
                    <a:pt x="86" y="23"/>
                    <a:pt x="83" y="17"/>
                  </a:cubicBezTo>
                  <a:cubicBezTo>
                    <a:pt x="81" y="11"/>
                    <a:pt x="82" y="8"/>
                    <a:pt x="93" y="5"/>
                  </a:cubicBezTo>
                  <a:cubicBezTo>
                    <a:pt x="102" y="0"/>
                    <a:pt x="105" y="6"/>
                    <a:pt x="108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 47"/>
            <p:cNvSpPr>
              <a:spLocks/>
            </p:cNvSpPr>
            <p:nvPr/>
          </p:nvSpPr>
          <p:spPr bwMode="auto">
            <a:xfrm>
              <a:off x="6428799" y="3452225"/>
              <a:ext cx="390932" cy="443048"/>
            </a:xfrm>
            <a:custGeom>
              <a:avLst/>
              <a:gdLst/>
              <a:ahLst/>
              <a:cxnLst>
                <a:cxn ang="0">
                  <a:pos x="50" y="29"/>
                </a:cxn>
                <a:cxn ang="0">
                  <a:pos x="79" y="33"/>
                </a:cxn>
                <a:cxn ang="0">
                  <a:pos x="79" y="28"/>
                </a:cxn>
                <a:cxn ang="0">
                  <a:pos x="99" y="20"/>
                </a:cxn>
                <a:cxn ang="0">
                  <a:pos x="106" y="20"/>
                </a:cxn>
                <a:cxn ang="0">
                  <a:pos x="118" y="25"/>
                </a:cxn>
                <a:cxn ang="0">
                  <a:pos x="131" y="36"/>
                </a:cxn>
                <a:cxn ang="0">
                  <a:pos x="137" y="40"/>
                </a:cxn>
                <a:cxn ang="0">
                  <a:pos x="137" y="48"/>
                </a:cxn>
                <a:cxn ang="0">
                  <a:pos x="134" y="88"/>
                </a:cxn>
                <a:cxn ang="0">
                  <a:pos x="134" y="108"/>
                </a:cxn>
                <a:cxn ang="0">
                  <a:pos x="147" y="124"/>
                </a:cxn>
                <a:cxn ang="0">
                  <a:pos x="149" y="133"/>
                </a:cxn>
                <a:cxn ang="0">
                  <a:pos x="152" y="141"/>
                </a:cxn>
                <a:cxn ang="0">
                  <a:pos x="141" y="147"/>
                </a:cxn>
                <a:cxn ang="0">
                  <a:pos x="137" y="157"/>
                </a:cxn>
                <a:cxn ang="0">
                  <a:pos x="131" y="155"/>
                </a:cxn>
                <a:cxn ang="0">
                  <a:pos x="115" y="152"/>
                </a:cxn>
                <a:cxn ang="0">
                  <a:pos x="105" y="149"/>
                </a:cxn>
                <a:cxn ang="0">
                  <a:pos x="94" y="138"/>
                </a:cxn>
                <a:cxn ang="0">
                  <a:pos x="83" y="143"/>
                </a:cxn>
                <a:cxn ang="0">
                  <a:pos x="68" y="133"/>
                </a:cxn>
                <a:cxn ang="0">
                  <a:pos x="55" y="119"/>
                </a:cxn>
                <a:cxn ang="0">
                  <a:pos x="45" y="105"/>
                </a:cxn>
                <a:cxn ang="0">
                  <a:pos x="36" y="107"/>
                </a:cxn>
                <a:cxn ang="0">
                  <a:pos x="30" y="96"/>
                </a:cxn>
                <a:cxn ang="0">
                  <a:pos x="18" y="73"/>
                </a:cxn>
                <a:cxn ang="0">
                  <a:pos x="17" y="50"/>
                </a:cxn>
                <a:cxn ang="0">
                  <a:pos x="11" y="42"/>
                </a:cxn>
                <a:cxn ang="0">
                  <a:pos x="4" y="25"/>
                </a:cxn>
                <a:cxn ang="0">
                  <a:pos x="4" y="19"/>
                </a:cxn>
                <a:cxn ang="0">
                  <a:pos x="3" y="12"/>
                </a:cxn>
                <a:cxn ang="0">
                  <a:pos x="1" y="9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18" y="12"/>
                </a:cxn>
                <a:cxn ang="0">
                  <a:pos x="20" y="12"/>
                </a:cxn>
                <a:cxn ang="0">
                  <a:pos x="23" y="9"/>
                </a:cxn>
                <a:cxn ang="0">
                  <a:pos x="27" y="6"/>
                </a:cxn>
                <a:cxn ang="0">
                  <a:pos x="35" y="6"/>
                </a:cxn>
                <a:cxn ang="0">
                  <a:pos x="35" y="9"/>
                </a:cxn>
                <a:cxn ang="0">
                  <a:pos x="32" y="12"/>
                </a:cxn>
                <a:cxn ang="0">
                  <a:pos x="35" y="15"/>
                </a:cxn>
                <a:cxn ang="0">
                  <a:pos x="39" y="17"/>
                </a:cxn>
              </a:cxnLst>
              <a:rect l="0" t="0" r="r" b="b"/>
              <a:pathLst>
                <a:path w="153" h="158">
                  <a:moveTo>
                    <a:pt x="39" y="17"/>
                  </a:moveTo>
                  <a:cubicBezTo>
                    <a:pt x="39" y="33"/>
                    <a:pt x="47" y="23"/>
                    <a:pt x="50" y="29"/>
                  </a:cubicBezTo>
                  <a:cubicBezTo>
                    <a:pt x="52" y="34"/>
                    <a:pt x="62" y="37"/>
                    <a:pt x="64" y="37"/>
                  </a:cubicBezTo>
                  <a:cubicBezTo>
                    <a:pt x="67" y="36"/>
                    <a:pt x="77" y="33"/>
                    <a:pt x="79" y="33"/>
                  </a:cubicBezTo>
                  <a:cubicBezTo>
                    <a:pt x="79" y="34"/>
                    <a:pt x="74" y="34"/>
                    <a:pt x="79" y="34"/>
                  </a:cubicBezTo>
                  <a:cubicBezTo>
                    <a:pt x="82" y="34"/>
                    <a:pt x="79" y="31"/>
                    <a:pt x="79" y="28"/>
                  </a:cubicBezTo>
                  <a:cubicBezTo>
                    <a:pt x="90" y="28"/>
                    <a:pt x="82" y="25"/>
                    <a:pt x="90" y="22"/>
                  </a:cubicBezTo>
                  <a:cubicBezTo>
                    <a:pt x="94" y="19"/>
                    <a:pt x="97" y="23"/>
                    <a:pt x="99" y="20"/>
                  </a:cubicBezTo>
                  <a:cubicBezTo>
                    <a:pt x="99" y="19"/>
                    <a:pt x="102" y="17"/>
                    <a:pt x="103" y="19"/>
                  </a:cubicBezTo>
                  <a:cubicBezTo>
                    <a:pt x="103" y="20"/>
                    <a:pt x="105" y="17"/>
                    <a:pt x="106" y="20"/>
                  </a:cubicBezTo>
                  <a:cubicBezTo>
                    <a:pt x="106" y="23"/>
                    <a:pt x="112" y="22"/>
                    <a:pt x="112" y="25"/>
                  </a:cubicBezTo>
                  <a:cubicBezTo>
                    <a:pt x="114" y="26"/>
                    <a:pt x="114" y="23"/>
                    <a:pt x="118" y="25"/>
                  </a:cubicBezTo>
                  <a:cubicBezTo>
                    <a:pt x="124" y="26"/>
                    <a:pt x="120" y="29"/>
                    <a:pt x="124" y="31"/>
                  </a:cubicBezTo>
                  <a:cubicBezTo>
                    <a:pt x="129" y="33"/>
                    <a:pt x="127" y="36"/>
                    <a:pt x="131" y="36"/>
                  </a:cubicBezTo>
                  <a:cubicBezTo>
                    <a:pt x="134" y="36"/>
                    <a:pt x="135" y="36"/>
                    <a:pt x="137" y="37"/>
                  </a:cubicBezTo>
                  <a:cubicBezTo>
                    <a:pt x="137" y="39"/>
                    <a:pt x="135" y="37"/>
                    <a:pt x="137" y="40"/>
                  </a:cubicBezTo>
                  <a:cubicBezTo>
                    <a:pt x="137" y="42"/>
                    <a:pt x="135" y="43"/>
                    <a:pt x="137" y="43"/>
                  </a:cubicBezTo>
                  <a:cubicBezTo>
                    <a:pt x="138" y="45"/>
                    <a:pt x="137" y="46"/>
                    <a:pt x="137" y="48"/>
                  </a:cubicBezTo>
                  <a:cubicBezTo>
                    <a:pt x="135" y="62"/>
                    <a:pt x="131" y="57"/>
                    <a:pt x="131" y="65"/>
                  </a:cubicBezTo>
                  <a:cubicBezTo>
                    <a:pt x="132" y="73"/>
                    <a:pt x="134" y="81"/>
                    <a:pt x="134" y="88"/>
                  </a:cubicBezTo>
                  <a:cubicBezTo>
                    <a:pt x="132" y="96"/>
                    <a:pt x="141" y="88"/>
                    <a:pt x="141" y="95"/>
                  </a:cubicBezTo>
                  <a:cubicBezTo>
                    <a:pt x="143" y="101"/>
                    <a:pt x="134" y="104"/>
                    <a:pt x="134" y="108"/>
                  </a:cubicBezTo>
                  <a:cubicBezTo>
                    <a:pt x="137" y="112"/>
                    <a:pt x="138" y="113"/>
                    <a:pt x="140" y="118"/>
                  </a:cubicBezTo>
                  <a:cubicBezTo>
                    <a:pt x="141" y="124"/>
                    <a:pt x="146" y="121"/>
                    <a:pt x="147" y="124"/>
                  </a:cubicBezTo>
                  <a:cubicBezTo>
                    <a:pt x="149" y="127"/>
                    <a:pt x="149" y="122"/>
                    <a:pt x="149" y="126"/>
                  </a:cubicBezTo>
                  <a:cubicBezTo>
                    <a:pt x="149" y="129"/>
                    <a:pt x="150" y="132"/>
                    <a:pt x="149" y="133"/>
                  </a:cubicBezTo>
                  <a:cubicBezTo>
                    <a:pt x="147" y="136"/>
                    <a:pt x="152" y="135"/>
                    <a:pt x="153" y="135"/>
                  </a:cubicBezTo>
                  <a:cubicBezTo>
                    <a:pt x="153" y="136"/>
                    <a:pt x="152" y="138"/>
                    <a:pt x="152" y="141"/>
                  </a:cubicBezTo>
                  <a:cubicBezTo>
                    <a:pt x="152" y="143"/>
                    <a:pt x="146" y="141"/>
                    <a:pt x="146" y="143"/>
                  </a:cubicBezTo>
                  <a:cubicBezTo>
                    <a:pt x="146" y="146"/>
                    <a:pt x="143" y="144"/>
                    <a:pt x="141" y="147"/>
                  </a:cubicBezTo>
                  <a:cubicBezTo>
                    <a:pt x="140" y="150"/>
                    <a:pt x="140" y="153"/>
                    <a:pt x="140" y="157"/>
                  </a:cubicBezTo>
                  <a:cubicBezTo>
                    <a:pt x="138" y="155"/>
                    <a:pt x="140" y="158"/>
                    <a:pt x="137" y="157"/>
                  </a:cubicBezTo>
                  <a:cubicBezTo>
                    <a:pt x="134" y="155"/>
                    <a:pt x="132" y="157"/>
                    <a:pt x="132" y="155"/>
                  </a:cubicBezTo>
                  <a:cubicBezTo>
                    <a:pt x="131" y="153"/>
                    <a:pt x="131" y="153"/>
                    <a:pt x="131" y="155"/>
                  </a:cubicBezTo>
                  <a:cubicBezTo>
                    <a:pt x="131" y="157"/>
                    <a:pt x="123" y="153"/>
                    <a:pt x="121" y="153"/>
                  </a:cubicBezTo>
                  <a:cubicBezTo>
                    <a:pt x="118" y="155"/>
                    <a:pt x="120" y="153"/>
                    <a:pt x="115" y="152"/>
                  </a:cubicBezTo>
                  <a:cubicBezTo>
                    <a:pt x="112" y="152"/>
                    <a:pt x="114" y="153"/>
                    <a:pt x="111" y="152"/>
                  </a:cubicBezTo>
                  <a:cubicBezTo>
                    <a:pt x="109" y="150"/>
                    <a:pt x="106" y="152"/>
                    <a:pt x="105" y="149"/>
                  </a:cubicBezTo>
                  <a:cubicBezTo>
                    <a:pt x="105" y="147"/>
                    <a:pt x="105" y="138"/>
                    <a:pt x="100" y="136"/>
                  </a:cubicBezTo>
                  <a:cubicBezTo>
                    <a:pt x="96" y="135"/>
                    <a:pt x="96" y="138"/>
                    <a:pt x="94" y="138"/>
                  </a:cubicBezTo>
                  <a:cubicBezTo>
                    <a:pt x="91" y="138"/>
                    <a:pt x="93" y="139"/>
                    <a:pt x="91" y="139"/>
                  </a:cubicBezTo>
                  <a:cubicBezTo>
                    <a:pt x="88" y="139"/>
                    <a:pt x="86" y="144"/>
                    <a:pt x="83" y="143"/>
                  </a:cubicBezTo>
                  <a:cubicBezTo>
                    <a:pt x="80" y="139"/>
                    <a:pt x="79" y="143"/>
                    <a:pt x="74" y="138"/>
                  </a:cubicBezTo>
                  <a:cubicBezTo>
                    <a:pt x="73" y="136"/>
                    <a:pt x="68" y="135"/>
                    <a:pt x="68" y="133"/>
                  </a:cubicBezTo>
                  <a:cubicBezTo>
                    <a:pt x="70" y="130"/>
                    <a:pt x="61" y="130"/>
                    <a:pt x="58" y="127"/>
                  </a:cubicBezTo>
                  <a:cubicBezTo>
                    <a:pt x="55" y="122"/>
                    <a:pt x="58" y="122"/>
                    <a:pt x="55" y="119"/>
                  </a:cubicBezTo>
                  <a:cubicBezTo>
                    <a:pt x="53" y="116"/>
                    <a:pt x="55" y="113"/>
                    <a:pt x="52" y="110"/>
                  </a:cubicBezTo>
                  <a:cubicBezTo>
                    <a:pt x="47" y="107"/>
                    <a:pt x="50" y="102"/>
                    <a:pt x="45" y="105"/>
                  </a:cubicBezTo>
                  <a:cubicBezTo>
                    <a:pt x="42" y="108"/>
                    <a:pt x="39" y="101"/>
                    <a:pt x="39" y="104"/>
                  </a:cubicBezTo>
                  <a:cubicBezTo>
                    <a:pt x="39" y="107"/>
                    <a:pt x="38" y="105"/>
                    <a:pt x="36" y="107"/>
                  </a:cubicBezTo>
                  <a:cubicBezTo>
                    <a:pt x="36" y="104"/>
                    <a:pt x="35" y="104"/>
                    <a:pt x="33" y="102"/>
                  </a:cubicBezTo>
                  <a:cubicBezTo>
                    <a:pt x="32" y="102"/>
                    <a:pt x="32" y="99"/>
                    <a:pt x="30" y="96"/>
                  </a:cubicBezTo>
                  <a:cubicBezTo>
                    <a:pt x="29" y="93"/>
                    <a:pt x="32" y="90"/>
                    <a:pt x="29" y="84"/>
                  </a:cubicBezTo>
                  <a:cubicBezTo>
                    <a:pt x="26" y="79"/>
                    <a:pt x="18" y="77"/>
                    <a:pt x="18" y="73"/>
                  </a:cubicBezTo>
                  <a:cubicBezTo>
                    <a:pt x="17" y="67"/>
                    <a:pt x="11" y="68"/>
                    <a:pt x="12" y="62"/>
                  </a:cubicBezTo>
                  <a:cubicBezTo>
                    <a:pt x="12" y="56"/>
                    <a:pt x="20" y="54"/>
                    <a:pt x="17" y="50"/>
                  </a:cubicBezTo>
                  <a:cubicBezTo>
                    <a:pt x="15" y="45"/>
                    <a:pt x="20" y="46"/>
                    <a:pt x="20" y="45"/>
                  </a:cubicBezTo>
                  <a:cubicBezTo>
                    <a:pt x="18" y="43"/>
                    <a:pt x="11" y="45"/>
                    <a:pt x="11" y="42"/>
                  </a:cubicBezTo>
                  <a:cubicBezTo>
                    <a:pt x="11" y="39"/>
                    <a:pt x="8" y="36"/>
                    <a:pt x="6" y="31"/>
                  </a:cubicBezTo>
                  <a:cubicBezTo>
                    <a:pt x="6" y="28"/>
                    <a:pt x="4" y="28"/>
                    <a:pt x="4" y="25"/>
                  </a:cubicBezTo>
                  <a:cubicBezTo>
                    <a:pt x="6" y="23"/>
                    <a:pt x="1" y="23"/>
                    <a:pt x="1" y="22"/>
                  </a:cubicBezTo>
                  <a:cubicBezTo>
                    <a:pt x="1" y="20"/>
                    <a:pt x="4" y="20"/>
                    <a:pt x="4" y="19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3" y="15"/>
                    <a:pt x="3" y="14"/>
                    <a:pt x="3" y="12"/>
                  </a:cubicBezTo>
                  <a:cubicBezTo>
                    <a:pt x="3" y="11"/>
                    <a:pt x="1" y="11"/>
                    <a:pt x="1" y="11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8"/>
                    <a:pt x="0" y="8"/>
                    <a:pt x="0" y="6"/>
                  </a:cubicBezTo>
                  <a:cubicBezTo>
                    <a:pt x="0" y="5"/>
                    <a:pt x="3" y="6"/>
                    <a:pt x="3" y="6"/>
                  </a:cubicBezTo>
                  <a:cubicBezTo>
                    <a:pt x="4" y="5"/>
                    <a:pt x="3" y="0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9" y="6"/>
                    <a:pt x="11" y="11"/>
                    <a:pt x="15" y="12"/>
                  </a:cubicBezTo>
                  <a:cubicBezTo>
                    <a:pt x="17" y="12"/>
                    <a:pt x="17" y="12"/>
                    <a:pt x="18" y="12"/>
                  </a:cubicBezTo>
                  <a:cubicBezTo>
                    <a:pt x="18" y="12"/>
                    <a:pt x="18" y="11"/>
                    <a:pt x="20" y="11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1" y="12"/>
                    <a:pt x="21" y="12"/>
                    <a:pt x="21" y="11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6" y="6"/>
                    <a:pt x="27" y="6"/>
                  </a:cubicBezTo>
                  <a:cubicBezTo>
                    <a:pt x="27" y="5"/>
                    <a:pt x="30" y="2"/>
                    <a:pt x="32" y="3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6"/>
                    <a:pt x="33" y="6"/>
                    <a:pt x="33" y="8"/>
                  </a:cubicBezTo>
                  <a:cubicBezTo>
                    <a:pt x="33" y="9"/>
                    <a:pt x="35" y="9"/>
                    <a:pt x="35" y="9"/>
                  </a:cubicBezTo>
                  <a:cubicBezTo>
                    <a:pt x="35" y="11"/>
                    <a:pt x="32" y="11"/>
                    <a:pt x="32" y="11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3" y="12"/>
                    <a:pt x="33" y="12"/>
                    <a:pt x="33" y="14"/>
                  </a:cubicBezTo>
                  <a:cubicBezTo>
                    <a:pt x="33" y="14"/>
                    <a:pt x="33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5"/>
                    <a:pt x="35" y="19"/>
                    <a:pt x="39" y="1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 48"/>
            <p:cNvSpPr>
              <a:spLocks/>
            </p:cNvSpPr>
            <p:nvPr/>
          </p:nvSpPr>
          <p:spPr bwMode="auto">
            <a:xfrm>
              <a:off x="6066824" y="3376935"/>
              <a:ext cx="377769" cy="201255"/>
            </a:xfrm>
            <a:custGeom>
              <a:avLst/>
              <a:gdLst/>
              <a:ahLst/>
              <a:cxnLst>
                <a:cxn ang="0">
                  <a:pos x="139" y="14"/>
                </a:cxn>
                <a:cxn ang="0">
                  <a:pos x="140" y="19"/>
                </a:cxn>
                <a:cxn ang="0">
                  <a:pos x="140" y="24"/>
                </a:cxn>
                <a:cxn ang="0">
                  <a:pos x="146" y="27"/>
                </a:cxn>
                <a:cxn ang="0">
                  <a:pos x="148" y="30"/>
                </a:cxn>
                <a:cxn ang="0">
                  <a:pos x="142" y="33"/>
                </a:cxn>
                <a:cxn ang="0">
                  <a:pos x="143" y="38"/>
                </a:cxn>
                <a:cxn ang="0">
                  <a:pos x="145" y="44"/>
                </a:cxn>
                <a:cxn ang="0">
                  <a:pos x="143" y="49"/>
                </a:cxn>
                <a:cxn ang="0">
                  <a:pos x="148" y="58"/>
                </a:cxn>
                <a:cxn ang="0">
                  <a:pos x="145" y="60"/>
                </a:cxn>
                <a:cxn ang="0">
                  <a:pos x="139" y="56"/>
                </a:cxn>
                <a:cxn ang="0">
                  <a:pos x="134" y="55"/>
                </a:cxn>
                <a:cxn ang="0">
                  <a:pos x="133" y="55"/>
                </a:cxn>
                <a:cxn ang="0">
                  <a:pos x="133" y="55"/>
                </a:cxn>
                <a:cxn ang="0">
                  <a:pos x="130" y="56"/>
                </a:cxn>
                <a:cxn ang="0">
                  <a:pos x="124" y="58"/>
                </a:cxn>
                <a:cxn ang="0">
                  <a:pos x="104" y="63"/>
                </a:cxn>
                <a:cxn ang="0">
                  <a:pos x="90" y="63"/>
                </a:cxn>
                <a:cxn ang="0">
                  <a:pos x="84" y="61"/>
                </a:cxn>
                <a:cxn ang="0">
                  <a:pos x="84" y="67"/>
                </a:cxn>
                <a:cxn ang="0">
                  <a:pos x="79" y="72"/>
                </a:cxn>
                <a:cxn ang="0">
                  <a:pos x="78" y="67"/>
                </a:cxn>
                <a:cxn ang="0">
                  <a:pos x="75" y="63"/>
                </a:cxn>
                <a:cxn ang="0">
                  <a:pos x="55" y="70"/>
                </a:cxn>
                <a:cxn ang="0">
                  <a:pos x="35" y="67"/>
                </a:cxn>
                <a:cxn ang="0">
                  <a:pos x="24" y="64"/>
                </a:cxn>
                <a:cxn ang="0">
                  <a:pos x="15" y="63"/>
                </a:cxn>
                <a:cxn ang="0">
                  <a:pos x="15" y="60"/>
                </a:cxn>
                <a:cxn ang="0">
                  <a:pos x="11" y="56"/>
                </a:cxn>
                <a:cxn ang="0">
                  <a:pos x="9" y="50"/>
                </a:cxn>
                <a:cxn ang="0">
                  <a:pos x="3" y="46"/>
                </a:cxn>
                <a:cxn ang="0">
                  <a:pos x="6" y="42"/>
                </a:cxn>
                <a:cxn ang="0">
                  <a:pos x="5" y="35"/>
                </a:cxn>
                <a:cxn ang="0">
                  <a:pos x="0" y="28"/>
                </a:cxn>
                <a:cxn ang="0">
                  <a:pos x="11" y="22"/>
                </a:cxn>
                <a:cxn ang="0">
                  <a:pos x="15" y="21"/>
                </a:cxn>
                <a:cxn ang="0">
                  <a:pos x="26" y="19"/>
                </a:cxn>
                <a:cxn ang="0">
                  <a:pos x="24" y="14"/>
                </a:cxn>
                <a:cxn ang="0">
                  <a:pos x="37" y="13"/>
                </a:cxn>
                <a:cxn ang="0">
                  <a:pos x="55" y="5"/>
                </a:cxn>
                <a:cxn ang="0">
                  <a:pos x="76" y="7"/>
                </a:cxn>
                <a:cxn ang="0">
                  <a:pos x="89" y="14"/>
                </a:cxn>
                <a:cxn ang="0">
                  <a:pos x="108" y="14"/>
                </a:cxn>
                <a:cxn ang="0">
                  <a:pos x="127" y="10"/>
                </a:cxn>
                <a:cxn ang="0">
                  <a:pos x="131" y="8"/>
                </a:cxn>
                <a:cxn ang="0">
                  <a:pos x="136" y="11"/>
                </a:cxn>
                <a:cxn ang="0">
                  <a:pos x="139" y="13"/>
                </a:cxn>
              </a:cxnLst>
              <a:rect l="0" t="0" r="r" b="b"/>
              <a:pathLst>
                <a:path w="148" h="72">
                  <a:moveTo>
                    <a:pt x="139" y="14"/>
                  </a:moveTo>
                  <a:cubicBezTo>
                    <a:pt x="139" y="14"/>
                    <a:pt x="139" y="14"/>
                    <a:pt x="139" y="14"/>
                  </a:cubicBezTo>
                  <a:cubicBezTo>
                    <a:pt x="139" y="14"/>
                    <a:pt x="137" y="14"/>
                    <a:pt x="139" y="14"/>
                  </a:cubicBezTo>
                  <a:cubicBezTo>
                    <a:pt x="139" y="16"/>
                    <a:pt x="140" y="18"/>
                    <a:pt x="140" y="19"/>
                  </a:cubicBezTo>
                  <a:cubicBezTo>
                    <a:pt x="140" y="21"/>
                    <a:pt x="139" y="21"/>
                    <a:pt x="139" y="22"/>
                  </a:cubicBezTo>
                  <a:cubicBezTo>
                    <a:pt x="139" y="24"/>
                    <a:pt x="140" y="24"/>
                    <a:pt x="140" y="24"/>
                  </a:cubicBezTo>
                  <a:cubicBezTo>
                    <a:pt x="140" y="25"/>
                    <a:pt x="139" y="25"/>
                    <a:pt x="139" y="25"/>
                  </a:cubicBezTo>
                  <a:cubicBezTo>
                    <a:pt x="142" y="27"/>
                    <a:pt x="145" y="25"/>
                    <a:pt x="146" y="27"/>
                  </a:cubicBezTo>
                  <a:cubicBezTo>
                    <a:pt x="148" y="28"/>
                    <a:pt x="148" y="28"/>
                    <a:pt x="148" y="30"/>
                  </a:cubicBezTo>
                  <a:cubicBezTo>
                    <a:pt x="148" y="30"/>
                    <a:pt x="148" y="30"/>
                    <a:pt x="148" y="30"/>
                  </a:cubicBezTo>
                  <a:cubicBezTo>
                    <a:pt x="145" y="27"/>
                    <a:pt x="146" y="32"/>
                    <a:pt x="145" y="33"/>
                  </a:cubicBezTo>
                  <a:cubicBezTo>
                    <a:pt x="145" y="33"/>
                    <a:pt x="142" y="32"/>
                    <a:pt x="142" y="33"/>
                  </a:cubicBezTo>
                  <a:cubicBezTo>
                    <a:pt x="142" y="35"/>
                    <a:pt x="143" y="35"/>
                    <a:pt x="143" y="36"/>
                  </a:cubicBezTo>
                  <a:cubicBezTo>
                    <a:pt x="143" y="38"/>
                    <a:pt x="143" y="38"/>
                    <a:pt x="143" y="38"/>
                  </a:cubicBezTo>
                  <a:cubicBezTo>
                    <a:pt x="143" y="38"/>
                    <a:pt x="145" y="38"/>
                    <a:pt x="145" y="39"/>
                  </a:cubicBezTo>
                  <a:cubicBezTo>
                    <a:pt x="145" y="41"/>
                    <a:pt x="145" y="42"/>
                    <a:pt x="145" y="44"/>
                  </a:cubicBezTo>
                  <a:cubicBezTo>
                    <a:pt x="145" y="44"/>
                    <a:pt x="146" y="44"/>
                    <a:pt x="146" y="46"/>
                  </a:cubicBezTo>
                  <a:cubicBezTo>
                    <a:pt x="146" y="47"/>
                    <a:pt x="143" y="47"/>
                    <a:pt x="143" y="49"/>
                  </a:cubicBezTo>
                  <a:cubicBezTo>
                    <a:pt x="143" y="50"/>
                    <a:pt x="148" y="50"/>
                    <a:pt x="146" y="52"/>
                  </a:cubicBezTo>
                  <a:cubicBezTo>
                    <a:pt x="146" y="55"/>
                    <a:pt x="148" y="55"/>
                    <a:pt x="148" y="58"/>
                  </a:cubicBezTo>
                  <a:cubicBezTo>
                    <a:pt x="148" y="58"/>
                    <a:pt x="148" y="58"/>
                    <a:pt x="146" y="58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3" y="58"/>
                    <a:pt x="145" y="56"/>
                    <a:pt x="143" y="56"/>
                  </a:cubicBezTo>
                  <a:cubicBezTo>
                    <a:pt x="142" y="55"/>
                    <a:pt x="142" y="58"/>
                    <a:pt x="139" y="56"/>
                  </a:cubicBezTo>
                  <a:cubicBezTo>
                    <a:pt x="137" y="56"/>
                    <a:pt x="137" y="55"/>
                    <a:pt x="136" y="55"/>
                  </a:cubicBezTo>
                  <a:cubicBezTo>
                    <a:pt x="136" y="55"/>
                    <a:pt x="136" y="55"/>
                    <a:pt x="134" y="55"/>
                  </a:cubicBezTo>
                  <a:cubicBezTo>
                    <a:pt x="134" y="56"/>
                    <a:pt x="134" y="56"/>
                    <a:pt x="134" y="56"/>
                  </a:cubicBezTo>
                  <a:cubicBezTo>
                    <a:pt x="134" y="56"/>
                    <a:pt x="134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3" y="55"/>
                    <a:pt x="133" y="55"/>
                    <a:pt x="133" y="55"/>
                  </a:cubicBezTo>
                  <a:cubicBezTo>
                    <a:pt x="131" y="56"/>
                    <a:pt x="131" y="58"/>
                    <a:pt x="130" y="58"/>
                  </a:cubicBezTo>
                  <a:cubicBezTo>
                    <a:pt x="130" y="56"/>
                    <a:pt x="130" y="56"/>
                    <a:pt x="130" y="56"/>
                  </a:cubicBezTo>
                  <a:cubicBezTo>
                    <a:pt x="130" y="56"/>
                    <a:pt x="128" y="55"/>
                    <a:pt x="128" y="56"/>
                  </a:cubicBezTo>
                  <a:cubicBezTo>
                    <a:pt x="127" y="58"/>
                    <a:pt x="125" y="58"/>
                    <a:pt x="124" y="58"/>
                  </a:cubicBezTo>
                  <a:cubicBezTo>
                    <a:pt x="121" y="58"/>
                    <a:pt x="119" y="58"/>
                    <a:pt x="117" y="58"/>
                  </a:cubicBezTo>
                  <a:cubicBezTo>
                    <a:pt x="113" y="60"/>
                    <a:pt x="110" y="63"/>
                    <a:pt x="104" y="63"/>
                  </a:cubicBezTo>
                  <a:cubicBezTo>
                    <a:pt x="101" y="63"/>
                    <a:pt x="101" y="61"/>
                    <a:pt x="98" y="60"/>
                  </a:cubicBezTo>
                  <a:cubicBezTo>
                    <a:pt x="95" y="60"/>
                    <a:pt x="93" y="63"/>
                    <a:pt x="90" y="63"/>
                  </a:cubicBezTo>
                  <a:cubicBezTo>
                    <a:pt x="89" y="63"/>
                    <a:pt x="89" y="63"/>
                    <a:pt x="89" y="63"/>
                  </a:cubicBezTo>
                  <a:cubicBezTo>
                    <a:pt x="87" y="63"/>
                    <a:pt x="84" y="61"/>
                    <a:pt x="84" y="61"/>
                  </a:cubicBezTo>
                  <a:cubicBezTo>
                    <a:pt x="84" y="61"/>
                    <a:pt x="82" y="64"/>
                    <a:pt x="84" y="66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81" y="67"/>
                    <a:pt x="81" y="72"/>
                    <a:pt x="79" y="72"/>
                  </a:cubicBezTo>
                  <a:cubicBezTo>
                    <a:pt x="79" y="72"/>
                    <a:pt x="79" y="70"/>
                    <a:pt x="78" y="70"/>
                  </a:cubicBezTo>
                  <a:cubicBezTo>
                    <a:pt x="79" y="69"/>
                    <a:pt x="78" y="69"/>
                    <a:pt x="78" y="67"/>
                  </a:cubicBezTo>
                  <a:cubicBezTo>
                    <a:pt x="76" y="66"/>
                    <a:pt x="81" y="64"/>
                    <a:pt x="81" y="61"/>
                  </a:cubicBezTo>
                  <a:cubicBezTo>
                    <a:pt x="79" y="60"/>
                    <a:pt x="79" y="60"/>
                    <a:pt x="75" y="63"/>
                  </a:cubicBezTo>
                  <a:cubicBezTo>
                    <a:pt x="72" y="67"/>
                    <a:pt x="72" y="56"/>
                    <a:pt x="64" y="64"/>
                  </a:cubicBezTo>
                  <a:cubicBezTo>
                    <a:pt x="60" y="70"/>
                    <a:pt x="60" y="67"/>
                    <a:pt x="55" y="70"/>
                  </a:cubicBezTo>
                  <a:cubicBezTo>
                    <a:pt x="50" y="72"/>
                    <a:pt x="50" y="64"/>
                    <a:pt x="41" y="61"/>
                  </a:cubicBezTo>
                  <a:cubicBezTo>
                    <a:pt x="32" y="58"/>
                    <a:pt x="37" y="66"/>
                    <a:pt x="35" y="67"/>
                  </a:cubicBezTo>
                  <a:cubicBezTo>
                    <a:pt x="34" y="69"/>
                    <a:pt x="34" y="66"/>
                    <a:pt x="31" y="69"/>
                  </a:cubicBezTo>
                  <a:cubicBezTo>
                    <a:pt x="29" y="70"/>
                    <a:pt x="24" y="67"/>
                    <a:pt x="24" y="64"/>
                  </a:cubicBezTo>
                  <a:cubicBezTo>
                    <a:pt x="23" y="60"/>
                    <a:pt x="23" y="64"/>
                    <a:pt x="20" y="63"/>
                  </a:cubicBezTo>
                  <a:cubicBezTo>
                    <a:pt x="18" y="60"/>
                    <a:pt x="15" y="66"/>
                    <a:pt x="15" y="63"/>
                  </a:cubicBezTo>
                  <a:cubicBezTo>
                    <a:pt x="15" y="61"/>
                    <a:pt x="11" y="64"/>
                    <a:pt x="11" y="63"/>
                  </a:cubicBezTo>
                  <a:cubicBezTo>
                    <a:pt x="9" y="61"/>
                    <a:pt x="14" y="63"/>
                    <a:pt x="15" y="60"/>
                  </a:cubicBezTo>
                  <a:cubicBezTo>
                    <a:pt x="17" y="58"/>
                    <a:pt x="11" y="61"/>
                    <a:pt x="9" y="60"/>
                  </a:cubicBezTo>
                  <a:cubicBezTo>
                    <a:pt x="8" y="56"/>
                    <a:pt x="12" y="60"/>
                    <a:pt x="11" y="56"/>
                  </a:cubicBezTo>
                  <a:cubicBezTo>
                    <a:pt x="11" y="55"/>
                    <a:pt x="9" y="56"/>
                    <a:pt x="9" y="55"/>
                  </a:cubicBezTo>
                  <a:cubicBezTo>
                    <a:pt x="9" y="52"/>
                    <a:pt x="8" y="53"/>
                    <a:pt x="9" y="50"/>
                  </a:cubicBezTo>
                  <a:cubicBezTo>
                    <a:pt x="11" y="47"/>
                    <a:pt x="8" y="49"/>
                    <a:pt x="6" y="47"/>
                  </a:cubicBezTo>
                  <a:cubicBezTo>
                    <a:pt x="5" y="46"/>
                    <a:pt x="5" y="49"/>
                    <a:pt x="3" y="46"/>
                  </a:cubicBezTo>
                  <a:cubicBezTo>
                    <a:pt x="2" y="44"/>
                    <a:pt x="3" y="39"/>
                    <a:pt x="5" y="42"/>
                  </a:cubicBezTo>
                  <a:cubicBezTo>
                    <a:pt x="5" y="47"/>
                    <a:pt x="9" y="44"/>
                    <a:pt x="6" y="42"/>
                  </a:cubicBezTo>
                  <a:cubicBezTo>
                    <a:pt x="3" y="41"/>
                    <a:pt x="9" y="39"/>
                    <a:pt x="6" y="38"/>
                  </a:cubicBezTo>
                  <a:cubicBezTo>
                    <a:pt x="5" y="38"/>
                    <a:pt x="8" y="36"/>
                    <a:pt x="5" y="35"/>
                  </a:cubicBezTo>
                  <a:cubicBezTo>
                    <a:pt x="3" y="33"/>
                    <a:pt x="9" y="30"/>
                    <a:pt x="5" y="32"/>
                  </a:cubicBezTo>
                  <a:cubicBezTo>
                    <a:pt x="0" y="33"/>
                    <a:pt x="0" y="33"/>
                    <a:pt x="0" y="28"/>
                  </a:cubicBezTo>
                  <a:cubicBezTo>
                    <a:pt x="2" y="25"/>
                    <a:pt x="2" y="27"/>
                    <a:pt x="3" y="25"/>
                  </a:cubicBezTo>
                  <a:cubicBezTo>
                    <a:pt x="6" y="21"/>
                    <a:pt x="9" y="21"/>
                    <a:pt x="11" y="22"/>
                  </a:cubicBezTo>
                  <a:cubicBezTo>
                    <a:pt x="11" y="24"/>
                    <a:pt x="14" y="24"/>
                    <a:pt x="12" y="22"/>
                  </a:cubicBezTo>
                  <a:cubicBezTo>
                    <a:pt x="11" y="21"/>
                    <a:pt x="17" y="19"/>
                    <a:pt x="15" y="21"/>
                  </a:cubicBezTo>
                  <a:cubicBezTo>
                    <a:pt x="15" y="22"/>
                    <a:pt x="23" y="22"/>
                    <a:pt x="23" y="22"/>
                  </a:cubicBezTo>
                  <a:cubicBezTo>
                    <a:pt x="24" y="21"/>
                    <a:pt x="17" y="21"/>
                    <a:pt x="26" y="19"/>
                  </a:cubicBezTo>
                  <a:cubicBezTo>
                    <a:pt x="34" y="18"/>
                    <a:pt x="28" y="19"/>
                    <a:pt x="26" y="18"/>
                  </a:cubicBezTo>
                  <a:cubicBezTo>
                    <a:pt x="24" y="16"/>
                    <a:pt x="23" y="16"/>
                    <a:pt x="24" y="14"/>
                  </a:cubicBezTo>
                  <a:cubicBezTo>
                    <a:pt x="24" y="13"/>
                    <a:pt x="24" y="13"/>
                    <a:pt x="29" y="13"/>
                  </a:cubicBezTo>
                  <a:cubicBezTo>
                    <a:pt x="32" y="14"/>
                    <a:pt x="32" y="11"/>
                    <a:pt x="37" y="13"/>
                  </a:cubicBezTo>
                  <a:cubicBezTo>
                    <a:pt x="40" y="14"/>
                    <a:pt x="41" y="14"/>
                    <a:pt x="43" y="13"/>
                  </a:cubicBezTo>
                  <a:cubicBezTo>
                    <a:pt x="43" y="11"/>
                    <a:pt x="46" y="8"/>
                    <a:pt x="55" y="5"/>
                  </a:cubicBezTo>
                  <a:cubicBezTo>
                    <a:pt x="63" y="2"/>
                    <a:pt x="66" y="7"/>
                    <a:pt x="70" y="4"/>
                  </a:cubicBezTo>
                  <a:cubicBezTo>
                    <a:pt x="75" y="0"/>
                    <a:pt x="70" y="10"/>
                    <a:pt x="76" y="7"/>
                  </a:cubicBezTo>
                  <a:cubicBezTo>
                    <a:pt x="82" y="5"/>
                    <a:pt x="79" y="13"/>
                    <a:pt x="84" y="11"/>
                  </a:cubicBezTo>
                  <a:cubicBezTo>
                    <a:pt x="87" y="10"/>
                    <a:pt x="84" y="11"/>
                    <a:pt x="89" y="14"/>
                  </a:cubicBezTo>
                  <a:cubicBezTo>
                    <a:pt x="93" y="16"/>
                    <a:pt x="90" y="11"/>
                    <a:pt x="95" y="14"/>
                  </a:cubicBezTo>
                  <a:cubicBezTo>
                    <a:pt x="98" y="19"/>
                    <a:pt x="104" y="11"/>
                    <a:pt x="108" y="14"/>
                  </a:cubicBezTo>
                  <a:cubicBezTo>
                    <a:pt x="113" y="19"/>
                    <a:pt x="122" y="11"/>
                    <a:pt x="122" y="10"/>
                  </a:cubicBezTo>
                  <a:cubicBezTo>
                    <a:pt x="125" y="11"/>
                    <a:pt x="124" y="10"/>
                    <a:pt x="127" y="10"/>
                  </a:cubicBezTo>
                  <a:cubicBezTo>
                    <a:pt x="127" y="10"/>
                    <a:pt x="130" y="11"/>
                    <a:pt x="130" y="10"/>
                  </a:cubicBezTo>
                  <a:cubicBezTo>
                    <a:pt x="131" y="8"/>
                    <a:pt x="131" y="8"/>
                    <a:pt x="131" y="8"/>
                  </a:cubicBezTo>
                  <a:cubicBezTo>
                    <a:pt x="131" y="8"/>
                    <a:pt x="133" y="8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3"/>
                    <a:pt x="136" y="13"/>
                    <a:pt x="136" y="13"/>
                  </a:cubicBezTo>
                  <a:cubicBezTo>
                    <a:pt x="137" y="14"/>
                    <a:pt x="137" y="13"/>
                    <a:pt x="139" y="13"/>
                  </a:cubicBezTo>
                  <a:cubicBezTo>
                    <a:pt x="139" y="14"/>
                    <a:pt x="139" y="14"/>
                    <a:pt x="139" y="1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 49"/>
            <p:cNvSpPr>
              <a:spLocks/>
            </p:cNvSpPr>
            <p:nvPr/>
          </p:nvSpPr>
          <p:spPr bwMode="auto">
            <a:xfrm>
              <a:off x="6597281" y="3359561"/>
              <a:ext cx="294845" cy="241794"/>
            </a:xfrm>
            <a:custGeom>
              <a:avLst/>
              <a:gdLst/>
              <a:ahLst/>
              <a:cxnLst>
                <a:cxn ang="0">
                  <a:pos x="2" y="16"/>
                </a:cxn>
                <a:cxn ang="0">
                  <a:pos x="5" y="14"/>
                </a:cxn>
                <a:cxn ang="0">
                  <a:pos x="13" y="11"/>
                </a:cxn>
                <a:cxn ang="0">
                  <a:pos x="17" y="24"/>
                </a:cxn>
                <a:cxn ang="0">
                  <a:pos x="11" y="24"/>
                </a:cxn>
                <a:cxn ang="0">
                  <a:pos x="7" y="24"/>
                </a:cxn>
                <a:cxn ang="0">
                  <a:pos x="3" y="30"/>
                </a:cxn>
                <a:cxn ang="0">
                  <a:pos x="7" y="33"/>
                </a:cxn>
                <a:cxn ang="0">
                  <a:pos x="9" y="36"/>
                </a:cxn>
                <a:cxn ang="0">
                  <a:pos x="8" y="36"/>
                </a:cxn>
                <a:cxn ang="0">
                  <a:pos x="8" y="39"/>
                </a:cxn>
                <a:cxn ang="0">
                  <a:pos x="13" y="45"/>
                </a:cxn>
                <a:cxn ang="0">
                  <a:pos x="13" y="61"/>
                </a:cxn>
                <a:cxn ang="0">
                  <a:pos x="32" y="53"/>
                </a:cxn>
                <a:cxn ang="0">
                  <a:pos x="40" y="53"/>
                </a:cxn>
                <a:cxn ang="0">
                  <a:pos x="52" y="58"/>
                </a:cxn>
                <a:cxn ang="0">
                  <a:pos x="64" y="68"/>
                </a:cxn>
                <a:cxn ang="0">
                  <a:pos x="71" y="73"/>
                </a:cxn>
                <a:cxn ang="0">
                  <a:pos x="71" y="81"/>
                </a:cxn>
                <a:cxn ang="0">
                  <a:pos x="81" y="84"/>
                </a:cxn>
                <a:cxn ang="0">
                  <a:pos x="98" y="68"/>
                </a:cxn>
                <a:cxn ang="0">
                  <a:pos x="113" y="61"/>
                </a:cxn>
                <a:cxn ang="0">
                  <a:pos x="107" y="51"/>
                </a:cxn>
                <a:cxn ang="0">
                  <a:pos x="84" y="34"/>
                </a:cxn>
                <a:cxn ang="0">
                  <a:pos x="75" y="19"/>
                </a:cxn>
                <a:cxn ang="0">
                  <a:pos x="63" y="17"/>
                </a:cxn>
                <a:cxn ang="0">
                  <a:pos x="63" y="11"/>
                </a:cxn>
                <a:cxn ang="0">
                  <a:pos x="54" y="5"/>
                </a:cxn>
                <a:cxn ang="0">
                  <a:pos x="46" y="4"/>
                </a:cxn>
                <a:cxn ang="0">
                  <a:pos x="37" y="11"/>
                </a:cxn>
                <a:cxn ang="0">
                  <a:pos x="29" y="17"/>
                </a:cxn>
                <a:cxn ang="0">
                  <a:pos x="19" y="10"/>
                </a:cxn>
                <a:cxn ang="0">
                  <a:pos x="5" y="10"/>
                </a:cxn>
              </a:cxnLst>
              <a:rect l="0" t="0" r="r" b="b"/>
              <a:pathLst>
                <a:path w="115" h="86">
                  <a:moveTo>
                    <a:pt x="0" y="13"/>
                  </a:moveTo>
                  <a:cubicBezTo>
                    <a:pt x="3" y="14"/>
                    <a:pt x="2" y="14"/>
                    <a:pt x="2" y="16"/>
                  </a:cubicBezTo>
                  <a:cubicBezTo>
                    <a:pt x="3" y="17"/>
                    <a:pt x="3" y="21"/>
                    <a:pt x="3" y="17"/>
                  </a:cubicBezTo>
                  <a:cubicBezTo>
                    <a:pt x="3" y="16"/>
                    <a:pt x="5" y="14"/>
                    <a:pt x="5" y="14"/>
                  </a:cubicBezTo>
                  <a:cubicBezTo>
                    <a:pt x="3" y="14"/>
                    <a:pt x="3" y="10"/>
                    <a:pt x="8" y="10"/>
                  </a:cubicBezTo>
                  <a:cubicBezTo>
                    <a:pt x="11" y="8"/>
                    <a:pt x="13" y="8"/>
                    <a:pt x="13" y="11"/>
                  </a:cubicBezTo>
                  <a:cubicBezTo>
                    <a:pt x="13" y="13"/>
                    <a:pt x="13" y="16"/>
                    <a:pt x="17" y="19"/>
                  </a:cubicBezTo>
                  <a:cubicBezTo>
                    <a:pt x="22" y="21"/>
                    <a:pt x="17" y="25"/>
                    <a:pt x="17" y="24"/>
                  </a:cubicBezTo>
                  <a:cubicBezTo>
                    <a:pt x="16" y="22"/>
                    <a:pt x="14" y="22"/>
                    <a:pt x="16" y="24"/>
                  </a:cubicBezTo>
                  <a:cubicBezTo>
                    <a:pt x="16" y="25"/>
                    <a:pt x="11" y="27"/>
                    <a:pt x="11" y="24"/>
                  </a:cubicBezTo>
                  <a:cubicBezTo>
                    <a:pt x="11" y="21"/>
                    <a:pt x="9" y="25"/>
                    <a:pt x="8" y="24"/>
                  </a:cubicBezTo>
                  <a:cubicBezTo>
                    <a:pt x="8" y="22"/>
                    <a:pt x="7" y="25"/>
                    <a:pt x="7" y="24"/>
                  </a:cubicBezTo>
                  <a:cubicBezTo>
                    <a:pt x="7" y="22"/>
                    <a:pt x="3" y="19"/>
                    <a:pt x="5" y="22"/>
                  </a:cubicBezTo>
                  <a:cubicBezTo>
                    <a:pt x="5" y="25"/>
                    <a:pt x="2" y="28"/>
                    <a:pt x="3" y="30"/>
                  </a:cubicBezTo>
                  <a:cubicBezTo>
                    <a:pt x="3" y="31"/>
                    <a:pt x="5" y="36"/>
                    <a:pt x="5" y="34"/>
                  </a:cubicBezTo>
                  <a:cubicBezTo>
                    <a:pt x="7" y="34"/>
                    <a:pt x="5" y="33"/>
                    <a:pt x="7" y="33"/>
                  </a:cubicBezTo>
                  <a:cubicBezTo>
                    <a:pt x="8" y="33"/>
                    <a:pt x="9" y="31"/>
                    <a:pt x="9" y="33"/>
                  </a:cubicBezTo>
                  <a:cubicBezTo>
                    <a:pt x="8" y="36"/>
                    <a:pt x="8" y="36"/>
                    <a:pt x="9" y="36"/>
                  </a:cubicBezTo>
                  <a:cubicBezTo>
                    <a:pt x="11" y="36"/>
                    <a:pt x="11" y="38"/>
                    <a:pt x="9" y="38"/>
                  </a:cubicBezTo>
                  <a:cubicBezTo>
                    <a:pt x="7" y="38"/>
                    <a:pt x="8" y="36"/>
                    <a:pt x="8" y="36"/>
                  </a:cubicBezTo>
                  <a:cubicBezTo>
                    <a:pt x="7" y="36"/>
                    <a:pt x="5" y="41"/>
                    <a:pt x="7" y="41"/>
                  </a:cubicBezTo>
                  <a:cubicBezTo>
                    <a:pt x="8" y="42"/>
                    <a:pt x="7" y="39"/>
                    <a:pt x="8" y="39"/>
                  </a:cubicBezTo>
                  <a:cubicBezTo>
                    <a:pt x="9" y="41"/>
                    <a:pt x="9" y="41"/>
                    <a:pt x="11" y="42"/>
                  </a:cubicBezTo>
                  <a:cubicBezTo>
                    <a:pt x="11" y="44"/>
                    <a:pt x="14" y="44"/>
                    <a:pt x="13" y="45"/>
                  </a:cubicBezTo>
                  <a:cubicBezTo>
                    <a:pt x="11" y="47"/>
                    <a:pt x="11" y="5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23" y="61"/>
                    <a:pt x="16" y="58"/>
                    <a:pt x="23" y="55"/>
                  </a:cubicBezTo>
                  <a:cubicBezTo>
                    <a:pt x="28" y="51"/>
                    <a:pt x="31" y="56"/>
                    <a:pt x="32" y="53"/>
                  </a:cubicBezTo>
                  <a:cubicBezTo>
                    <a:pt x="32" y="51"/>
                    <a:pt x="35" y="50"/>
                    <a:pt x="37" y="51"/>
                  </a:cubicBezTo>
                  <a:cubicBezTo>
                    <a:pt x="37" y="53"/>
                    <a:pt x="39" y="50"/>
                    <a:pt x="40" y="53"/>
                  </a:cubicBezTo>
                  <a:cubicBezTo>
                    <a:pt x="40" y="56"/>
                    <a:pt x="46" y="55"/>
                    <a:pt x="46" y="58"/>
                  </a:cubicBezTo>
                  <a:cubicBezTo>
                    <a:pt x="48" y="59"/>
                    <a:pt x="48" y="56"/>
                    <a:pt x="52" y="58"/>
                  </a:cubicBezTo>
                  <a:cubicBezTo>
                    <a:pt x="58" y="59"/>
                    <a:pt x="54" y="62"/>
                    <a:pt x="58" y="64"/>
                  </a:cubicBezTo>
                  <a:cubicBezTo>
                    <a:pt x="63" y="65"/>
                    <a:pt x="61" y="68"/>
                    <a:pt x="64" y="68"/>
                  </a:cubicBezTo>
                  <a:cubicBezTo>
                    <a:pt x="67" y="68"/>
                    <a:pt x="69" y="68"/>
                    <a:pt x="71" y="70"/>
                  </a:cubicBezTo>
                  <a:cubicBezTo>
                    <a:pt x="71" y="72"/>
                    <a:pt x="69" y="70"/>
                    <a:pt x="71" y="73"/>
                  </a:cubicBezTo>
                  <a:cubicBezTo>
                    <a:pt x="71" y="75"/>
                    <a:pt x="69" y="76"/>
                    <a:pt x="71" y="76"/>
                  </a:cubicBezTo>
                  <a:cubicBezTo>
                    <a:pt x="72" y="78"/>
                    <a:pt x="71" y="79"/>
                    <a:pt x="71" y="81"/>
                  </a:cubicBezTo>
                  <a:cubicBezTo>
                    <a:pt x="74" y="81"/>
                    <a:pt x="72" y="82"/>
                    <a:pt x="75" y="82"/>
                  </a:cubicBezTo>
                  <a:cubicBezTo>
                    <a:pt x="80" y="81"/>
                    <a:pt x="77" y="86"/>
                    <a:pt x="81" y="84"/>
                  </a:cubicBezTo>
                  <a:cubicBezTo>
                    <a:pt x="86" y="82"/>
                    <a:pt x="86" y="78"/>
                    <a:pt x="89" y="76"/>
                  </a:cubicBezTo>
                  <a:cubicBezTo>
                    <a:pt x="92" y="75"/>
                    <a:pt x="96" y="76"/>
                    <a:pt x="98" y="68"/>
                  </a:cubicBezTo>
                  <a:cubicBezTo>
                    <a:pt x="100" y="61"/>
                    <a:pt x="103" y="64"/>
                    <a:pt x="106" y="61"/>
                  </a:cubicBezTo>
                  <a:cubicBezTo>
                    <a:pt x="107" y="58"/>
                    <a:pt x="109" y="62"/>
                    <a:pt x="113" y="61"/>
                  </a:cubicBezTo>
                  <a:cubicBezTo>
                    <a:pt x="112" y="55"/>
                    <a:pt x="115" y="55"/>
                    <a:pt x="113" y="55"/>
                  </a:cubicBezTo>
                  <a:cubicBezTo>
                    <a:pt x="110" y="53"/>
                    <a:pt x="109" y="50"/>
                    <a:pt x="107" y="51"/>
                  </a:cubicBezTo>
                  <a:cubicBezTo>
                    <a:pt x="104" y="53"/>
                    <a:pt x="96" y="44"/>
                    <a:pt x="95" y="44"/>
                  </a:cubicBezTo>
                  <a:cubicBezTo>
                    <a:pt x="92" y="44"/>
                    <a:pt x="89" y="39"/>
                    <a:pt x="84" y="34"/>
                  </a:cubicBezTo>
                  <a:cubicBezTo>
                    <a:pt x="80" y="31"/>
                    <a:pt x="81" y="28"/>
                    <a:pt x="78" y="27"/>
                  </a:cubicBezTo>
                  <a:cubicBezTo>
                    <a:pt x="77" y="25"/>
                    <a:pt x="78" y="21"/>
                    <a:pt x="75" y="19"/>
                  </a:cubicBezTo>
                  <a:cubicBezTo>
                    <a:pt x="71" y="17"/>
                    <a:pt x="72" y="21"/>
                    <a:pt x="71" y="19"/>
                  </a:cubicBezTo>
                  <a:cubicBezTo>
                    <a:pt x="67" y="17"/>
                    <a:pt x="66" y="21"/>
                    <a:pt x="63" y="17"/>
                  </a:cubicBezTo>
                  <a:cubicBezTo>
                    <a:pt x="60" y="14"/>
                    <a:pt x="63" y="16"/>
                    <a:pt x="61" y="14"/>
                  </a:cubicBezTo>
                  <a:cubicBezTo>
                    <a:pt x="60" y="13"/>
                    <a:pt x="64" y="13"/>
                    <a:pt x="63" y="11"/>
                  </a:cubicBezTo>
                  <a:cubicBezTo>
                    <a:pt x="58" y="8"/>
                    <a:pt x="64" y="7"/>
                    <a:pt x="60" y="7"/>
                  </a:cubicBezTo>
                  <a:cubicBezTo>
                    <a:pt x="52" y="7"/>
                    <a:pt x="57" y="5"/>
                    <a:pt x="54" y="5"/>
                  </a:cubicBezTo>
                  <a:cubicBezTo>
                    <a:pt x="51" y="4"/>
                    <a:pt x="51" y="0"/>
                    <a:pt x="49" y="2"/>
                  </a:cubicBezTo>
                  <a:cubicBezTo>
                    <a:pt x="48" y="4"/>
                    <a:pt x="45" y="2"/>
                    <a:pt x="46" y="4"/>
                  </a:cubicBezTo>
                  <a:cubicBezTo>
                    <a:pt x="51" y="7"/>
                    <a:pt x="45" y="4"/>
                    <a:pt x="45" y="7"/>
                  </a:cubicBezTo>
                  <a:cubicBezTo>
                    <a:pt x="45" y="10"/>
                    <a:pt x="39" y="7"/>
                    <a:pt x="37" y="11"/>
                  </a:cubicBezTo>
                  <a:cubicBezTo>
                    <a:pt x="35" y="16"/>
                    <a:pt x="39" y="16"/>
                    <a:pt x="39" y="17"/>
                  </a:cubicBezTo>
                  <a:cubicBezTo>
                    <a:pt x="37" y="19"/>
                    <a:pt x="32" y="17"/>
                    <a:pt x="29" y="17"/>
                  </a:cubicBezTo>
                  <a:cubicBezTo>
                    <a:pt x="26" y="17"/>
                    <a:pt x="25" y="19"/>
                    <a:pt x="25" y="17"/>
                  </a:cubicBezTo>
                  <a:cubicBezTo>
                    <a:pt x="20" y="11"/>
                    <a:pt x="22" y="11"/>
                    <a:pt x="19" y="10"/>
                  </a:cubicBezTo>
                  <a:cubicBezTo>
                    <a:pt x="17" y="8"/>
                    <a:pt x="16" y="5"/>
                    <a:pt x="13" y="7"/>
                  </a:cubicBezTo>
                  <a:cubicBezTo>
                    <a:pt x="9" y="7"/>
                    <a:pt x="7" y="8"/>
                    <a:pt x="5" y="10"/>
                  </a:cubicBezTo>
                  <a:cubicBezTo>
                    <a:pt x="2" y="11"/>
                    <a:pt x="0" y="13"/>
                    <a:pt x="0" y="1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 50"/>
            <p:cNvSpPr>
              <a:spLocks/>
            </p:cNvSpPr>
            <p:nvPr/>
          </p:nvSpPr>
          <p:spPr bwMode="auto">
            <a:xfrm>
              <a:off x="6669676" y="3272688"/>
              <a:ext cx="356709" cy="266408"/>
            </a:xfrm>
            <a:custGeom>
              <a:avLst/>
              <a:gdLst/>
              <a:ahLst/>
              <a:cxnLst>
                <a:cxn ang="0">
                  <a:pos x="41" y="20"/>
                </a:cxn>
                <a:cxn ang="0">
                  <a:pos x="32" y="25"/>
                </a:cxn>
                <a:cxn ang="0">
                  <a:pos x="20" y="22"/>
                </a:cxn>
                <a:cxn ang="0">
                  <a:pos x="21" y="0"/>
                </a:cxn>
                <a:cxn ang="0">
                  <a:pos x="1" y="11"/>
                </a:cxn>
                <a:cxn ang="0">
                  <a:pos x="11" y="48"/>
                </a:cxn>
                <a:cxn ang="0">
                  <a:pos x="17" y="37"/>
                </a:cxn>
                <a:cxn ang="0">
                  <a:pos x="21" y="33"/>
                </a:cxn>
                <a:cxn ang="0">
                  <a:pos x="32" y="37"/>
                </a:cxn>
                <a:cxn ang="0">
                  <a:pos x="33" y="45"/>
                </a:cxn>
                <a:cxn ang="0">
                  <a:pos x="43" y="50"/>
                </a:cxn>
                <a:cxn ang="0">
                  <a:pos x="50" y="58"/>
                </a:cxn>
                <a:cxn ang="0">
                  <a:pos x="67" y="75"/>
                </a:cxn>
                <a:cxn ang="0">
                  <a:pos x="85" y="86"/>
                </a:cxn>
                <a:cxn ang="0">
                  <a:pos x="91" y="93"/>
                </a:cxn>
                <a:cxn ang="0">
                  <a:pos x="96" y="89"/>
                </a:cxn>
                <a:cxn ang="0">
                  <a:pos x="97" y="75"/>
                </a:cxn>
                <a:cxn ang="0">
                  <a:pos x="91" y="72"/>
                </a:cxn>
                <a:cxn ang="0">
                  <a:pos x="102" y="65"/>
                </a:cxn>
                <a:cxn ang="0">
                  <a:pos x="108" y="54"/>
                </a:cxn>
                <a:cxn ang="0">
                  <a:pos x="116" y="51"/>
                </a:cxn>
                <a:cxn ang="0">
                  <a:pos x="117" y="56"/>
                </a:cxn>
                <a:cxn ang="0">
                  <a:pos x="120" y="61"/>
                </a:cxn>
                <a:cxn ang="0">
                  <a:pos x="130" y="59"/>
                </a:cxn>
                <a:cxn ang="0">
                  <a:pos x="131" y="51"/>
                </a:cxn>
                <a:cxn ang="0">
                  <a:pos x="114" y="47"/>
                </a:cxn>
                <a:cxn ang="0">
                  <a:pos x="119" y="39"/>
                </a:cxn>
                <a:cxn ang="0">
                  <a:pos x="116" y="40"/>
                </a:cxn>
                <a:cxn ang="0">
                  <a:pos x="107" y="47"/>
                </a:cxn>
                <a:cxn ang="0">
                  <a:pos x="101" y="54"/>
                </a:cxn>
                <a:cxn ang="0">
                  <a:pos x="96" y="54"/>
                </a:cxn>
                <a:cxn ang="0">
                  <a:pos x="96" y="51"/>
                </a:cxn>
                <a:cxn ang="0">
                  <a:pos x="85" y="47"/>
                </a:cxn>
                <a:cxn ang="0">
                  <a:pos x="81" y="40"/>
                </a:cxn>
                <a:cxn ang="0">
                  <a:pos x="81" y="31"/>
                </a:cxn>
                <a:cxn ang="0">
                  <a:pos x="70" y="22"/>
                </a:cxn>
                <a:cxn ang="0">
                  <a:pos x="46" y="22"/>
                </a:cxn>
                <a:cxn ang="0">
                  <a:pos x="43" y="14"/>
                </a:cxn>
              </a:cxnLst>
              <a:rect l="0" t="0" r="r" b="b"/>
              <a:pathLst>
                <a:path w="140" h="95">
                  <a:moveTo>
                    <a:pt x="43" y="14"/>
                  </a:moveTo>
                  <a:cubicBezTo>
                    <a:pt x="36" y="20"/>
                    <a:pt x="40" y="19"/>
                    <a:pt x="41" y="20"/>
                  </a:cubicBezTo>
                  <a:cubicBezTo>
                    <a:pt x="43" y="22"/>
                    <a:pt x="38" y="23"/>
                    <a:pt x="36" y="23"/>
                  </a:cubicBezTo>
                  <a:cubicBezTo>
                    <a:pt x="33" y="22"/>
                    <a:pt x="35" y="25"/>
                    <a:pt x="32" y="25"/>
                  </a:cubicBezTo>
                  <a:cubicBezTo>
                    <a:pt x="29" y="25"/>
                    <a:pt x="33" y="22"/>
                    <a:pt x="29" y="20"/>
                  </a:cubicBezTo>
                  <a:cubicBezTo>
                    <a:pt x="23" y="20"/>
                    <a:pt x="20" y="25"/>
                    <a:pt x="20" y="22"/>
                  </a:cubicBezTo>
                  <a:cubicBezTo>
                    <a:pt x="20" y="17"/>
                    <a:pt x="18" y="14"/>
                    <a:pt x="20" y="12"/>
                  </a:cubicBezTo>
                  <a:cubicBezTo>
                    <a:pt x="20" y="11"/>
                    <a:pt x="17" y="11"/>
                    <a:pt x="21" y="0"/>
                  </a:cubicBezTo>
                  <a:cubicBezTo>
                    <a:pt x="20" y="0"/>
                    <a:pt x="6" y="5"/>
                    <a:pt x="3" y="6"/>
                  </a:cubicBezTo>
                  <a:cubicBezTo>
                    <a:pt x="0" y="6"/>
                    <a:pt x="1" y="6"/>
                    <a:pt x="1" y="11"/>
                  </a:cubicBezTo>
                  <a:cubicBezTo>
                    <a:pt x="1" y="14"/>
                    <a:pt x="1" y="48"/>
                    <a:pt x="1" y="48"/>
                  </a:cubicBezTo>
                  <a:cubicBezTo>
                    <a:pt x="4" y="48"/>
                    <a:pt x="9" y="50"/>
                    <a:pt x="11" y="48"/>
                  </a:cubicBezTo>
                  <a:cubicBezTo>
                    <a:pt x="11" y="47"/>
                    <a:pt x="7" y="47"/>
                    <a:pt x="9" y="42"/>
                  </a:cubicBezTo>
                  <a:cubicBezTo>
                    <a:pt x="11" y="37"/>
                    <a:pt x="17" y="40"/>
                    <a:pt x="17" y="37"/>
                  </a:cubicBezTo>
                  <a:cubicBezTo>
                    <a:pt x="17" y="34"/>
                    <a:pt x="23" y="37"/>
                    <a:pt x="18" y="34"/>
                  </a:cubicBezTo>
                  <a:cubicBezTo>
                    <a:pt x="17" y="33"/>
                    <a:pt x="20" y="34"/>
                    <a:pt x="21" y="33"/>
                  </a:cubicBezTo>
                  <a:cubicBezTo>
                    <a:pt x="23" y="31"/>
                    <a:pt x="23" y="34"/>
                    <a:pt x="26" y="36"/>
                  </a:cubicBezTo>
                  <a:cubicBezTo>
                    <a:pt x="29" y="36"/>
                    <a:pt x="24" y="37"/>
                    <a:pt x="32" y="37"/>
                  </a:cubicBezTo>
                  <a:cubicBezTo>
                    <a:pt x="36" y="37"/>
                    <a:pt x="30" y="39"/>
                    <a:pt x="35" y="42"/>
                  </a:cubicBezTo>
                  <a:cubicBezTo>
                    <a:pt x="36" y="44"/>
                    <a:pt x="32" y="44"/>
                    <a:pt x="33" y="45"/>
                  </a:cubicBezTo>
                  <a:cubicBezTo>
                    <a:pt x="35" y="47"/>
                    <a:pt x="32" y="45"/>
                    <a:pt x="35" y="48"/>
                  </a:cubicBezTo>
                  <a:cubicBezTo>
                    <a:pt x="38" y="51"/>
                    <a:pt x="40" y="48"/>
                    <a:pt x="43" y="50"/>
                  </a:cubicBezTo>
                  <a:cubicBezTo>
                    <a:pt x="44" y="51"/>
                    <a:pt x="43" y="48"/>
                    <a:pt x="47" y="50"/>
                  </a:cubicBezTo>
                  <a:cubicBezTo>
                    <a:pt x="50" y="51"/>
                    <a:pt x="49" y="56"/>
                    <a:pt x="50" y="58"/>
                  </a:cubicBezTo>
                  <a:cubicBezTo>
                    <a:pt x="53" y="59"/>
                    <a:pt x="52" y="62"/>
                    <a:pt x="56" y="65"/>
                  </a:cubicBezTo>
                  <a:cubicBezTo>
                    <a:pt x="61" y="70"/>
                    <a:pt x="64" y="75"/>
                    <a:pt x="67" y="75"/>
                  </a:cubicBezTo>
                  <a:cubicBezTo>
                    <a:pt x="68" y="75"/>
                    <a:pt x="76" y="84"/>
                    <a:pt x="79" y="83"/>
                  </a:cubicBezTo>
                  <a:cubicBezTo>
                    <a:pt x="81" y="81"/>
                    <a:pt x="82" y="84"/>
                    <a:pt x="85" y="86"/>
                  </a:cubicBezTo>
                  <a:cubicBezTo>
                    <a:pt x="87" y="86"/>
                    <a:pt x="84" y="86"/>
                    <a:pt x="85" y="92"/>
                  </a:cubicBezTo>
                  <a:cubicBezTo>
                    <a:pt x="90" y="90"/>
                    <a:pt x="90" y="95"/>
                    <a:pt x="91" y="93"/>
                  </a:cubicBezTo>
                  <a:cubicBezTo>
                    <a:pt x="93" y="93"/>
                    <a:pt x="93" y="93"/>
                    <a:pt x="94" y="95"/>
                  </a:cubicBezTo>
                  <a:cubicBezTo>
                    <a:pt x="94" y="93"/>
                    <a:pt x="94" y="92"/>
                    <a:pt x="96" y="89"/>
                  </a:cubicBezTo>
                  <a:cubicBezTo>
                    <a:pt x="99" y="84"/>
                    <a:pt x="101" y="84"/>
                    <a:pt x="97" y="81"/>
                  </a:cubicBezTo>
                  <a:cubicBezTo>
                    <a:pt x="96" y="78"/>
                    <a:pt x="99" y="76"/>
                    <a:pt x="97" y="75"/>
                  </a:cubicBezTo>
                  <a:cubicBezTo>
                    <a:pt x="96" y="73"/>
                    <a:pt x="94" y="76"/>
                    <a:pt x="94" y="73"/>
                  </a:cubicBezTo>
                  <a:cubicBezTo>
                    <a:pt x="94" y="72"/>
                    <a:pt x="93" y="72"/>
                    <a:pt x="91" y="72"/>
                  </a:cubicBezTo>
                  <a:cubicBezTo>
                    <a:pt x="90" y="72"/>
                    <a:pt x="93" y="67"/>
                    <a:pt x="96" y="67"/>
                  </a:cubicBezTo>
                  <a:cubicBezTo>
                    <a:pt x="99" y="69"/>
                    <a:pt x="101" y="69"/>
                    <a:pt x="102" y="65"/>
                  </a:cubicBezTo>
                  <a:cubicBezTo>
                    <a:pt x="105" y="61"/>
                    <a:pt x="101" y="61"/>
                    <a:pt x="105" y="61"/>
                  </a:cubicBezTo>
                  <a:cubicBezTo>
                    <a:pt x="108" y="61"/>
                    <a:pt x="105" y="56"/>
                    <a:pt x="108" y="54"/>
                  </a:cubicBezTo>
                  <a:cubicBezTo>
                    <a:pt x="108" y="53"/>
                    <a:pt x="108" y="56"/>
                    <a:pt x="113" y="54"/>
                  </a:cubicBezTo>
                  <a:cubicBezTo>
                    <a:pt x="116" y="53"/>
                    <a:pt x="114" y="51"/>
                    <a:pt x="116" y="51"/>
                  </a:cubicBezTo>
                  <a:cubicBezTo>
                    <a:pt x="117" y="51"/>
                    <a:pt x="117" y="54"/>
                    <a:pt x="117" y="54"/>
                  </a:cubicBezTo>
                  <a:cubicBezTo>
                    <a:pt x="119" y="54"/>
                    <a:pt x="119" y="54"/>
                    <a:pt x="117" y="56"/>
                  </a:cubicBezTo>
                  <a:cubicBezTo>
                    <a:pt x="116" y="58"/>
                    <a:pt x="114" y="59"/>
                    <a:pt x="116" y="59"/>
                  </a:cubicBezTo>
                  <a:cubicBezTo>
                    <a:pt x="117" y="59"/>
                    <a:pt x="116" y="62"/>
                    <a:pt x="120" y="61"/>
                  </a:cubicBezTo>
                  <a:cubicBezTo>
                    <a:pt x="122" y="59"/>
                    <a:pt x="122" y="59"/>
                    <a:pt x="125" y="62"/>
                  </a:cubicBezTo>
                  <a:cubicBezTo>
                    <a:pt x="128" y="64"/>
                    <a:pt x="128" y="58"/>
                    <a:pt x="130" y="59"/>
                  </a:cubicBezTo>
                  <a:cubicBezTo>
                    <a:pt x="133" y="59"/>
                    <a:pt x="133" y="58"/>
                    <a:pt x="136" y="54"/>
                  </a:cubicBezTo>
                  <a:cubicBezTo>
                    <a:pt x="140" y="53"/>
                    <a:pt x="136" y="54"/>
                    <a:pt x="131" y="51"/>
                  </a:cubicBezTo>
                  <a:cubicBezTo>
                    <a:pt x="125" y="48"/>
                    <a:pt x="126" y="44"/>
                    <a:pt x="123" y="48"/>
                  </a:cubicBezTo>
                  <a:cubicBezTo>
                    <a:pt x="122" y="53"/>
                    <a:pt x="117" y="48"/>
                    <a:pt x="114" y="47"/>
                  </a:cubicBezTo>
                  <a:cubicBezTo>
                    <a:pt x="111" y="45"/>
                    <a:pt x="126" y="39"/>
                    <a:pt x="120" y="37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7" y="39"/>
                    <a:pt x="119" y="40"/>
                    <a:pt x="117" y="40"/>
                  </a:cubicBezTo>
                  <a:cubicBezTo>
                    <a:pt x="116" y="40"/>
                    <a:pt x="117" y="39"/>
                    <a:pt x="116" y="40"/>
                  </a:cubicBezTo>
                  <a:cubicBezTo>
                    <a:pt x="113" y="42"/>
                    <a:pt x="111" y="44"/>
                    <a:pt x="110" y="45"/>
                  </a:cubicBezTo>
                  <a:cubicBezTo>
                    <a:pt x="108" y="47"/>
                    <a:pt x="108" y="47"/>
                    <a:pt x="107" y="47"/>
                  </a:cubicBezTo>
                  <a:cubicBezTo>
                    <a:pt x="104" y="48"/>
                    <a:pt x="105" y="50"/>
                    <a:pt x="104" y="50"/>
                  </a:cubicBezTo>
                  <a:cubicBezTo>
                    <a:pt x="102" y="51"/>
                    <a:pt x="101" y="53"/>
                    <a:pt x="101" y="54"/>
                  </a:cubicBezTo>
                  <a:cubicBezTo>
                    <a:pt x="102" y="56"/>
                    <a:pt x="101" y="58"/>
                    <a:pt x="99" y="56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3"/>
                    <a:pt x="96" y="51"/>
                  </a:cubicBezTo>
                  <a:cubicBezTo>
                    <a:pt x="96" y="50"/>
                    <a:pt x="96" y="50"/>
                    <a:pt x="90" y="50"/>
                  </a:cubicBezTo>
                  <a:cubicBezTo>
                    <a:pt x="85" y="51"/>
                    <a:pt x="85" y="50"/>
                    <a:pt x="85" y="47"/>
                  </a:cubicBezTo>
                  <a:cubicBezTo>
                    <a:pt x="85" y="44"/>
                    <a:pt x="85" y="40"/>
                    <a:pt x="84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39"/>
                    <a:pt x="81" y="36"/>
                  </a:cubicBezTo>
                  <a:cubicBezTo>
                    <a:pt x="82" y="31"/>
                    <a:pt x="82" y="28"/>
                    <a:pt x="81" y="31"/>
                  </a:cubicBezTo>
                  <a:cubicBezTo>
                    <a:pt x="78" y="33"/>
                    <a:pt x="79" y="26"/>
                    <a:pt x="76" y="25"/>
                  </a:cubicBezTo>
                  <a:cubicBezTo>
                    <a:pt x="73" y="23"/>
                    <a:pt x="73" y="20"/>
                    <a:pt x="70" y="22"/>
                  </a:cubicBezTo>
                  <a:cubicBezTo>
                    <a:pt x="65" y="25"/>
                    <a:pt x="62" y="22"/>
                    <a:pt x="55" y="23"/>
                  </a:cubicBezTo>
                  <a:cubicBezTo>
                    <a:pt x="49" y="25"/>
                    <a:pt x="49" y="25"/>
                    <a:pt x="46" y="22"/>
                  </a:cubicBezTo>
                  <a:cubicBezTo>
                    <a:pt x="44" y="19"/>
                    <a:pt x="43" y="17"/>
                    <a:pt x="43" y="16"/>
                  </a:cubicBezTo>
                  <a:cubicBezTo>
                    <a:pt x="41" y="16"/>
                    <a:pt x="43" y="14"/>
                    <a:pt x="43" y="1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 51"/>
            <p:cNvSpPr>
              <a:spLocks/>
            </p:cNvSpPr>
            <p:nvPr/>
          </p:nvSpPr>
          <p:spPr bwMode="auto">
            <a:xfrm>
              <a:off x="6942144" y="3347979"/>
              <a:ext cx="219818" cy="128861"/>
            </a:xfrm>
            <a:custGeom>
              <a:avLst/>
              <a:gdLst/>
              <a:ahLst/>
              <a:cxnLst>
                <a:cxn ang="0">
                  <a:pos x="13" y="10"/>
                </a:cxn>
                <a:cxn ang="0">
                  <a:pos x="7" y="20"/>
                </a:cxn>
                <a:cxn ang="0">
                  <a:pos x="16" y="21"/>
                </a:cxn>
                <a:cxn ang="0">
                  <a:pos x="24" y="24"/>
                </a:cxn>
                <a:cxn ang="0">
                  <a:pos x="29" y="27"/>
                </a:cxn>
                <a:cxn ang="0">
                  <a:pos x="22" y="32"/>
                </a:cxn>
                <a:cxn ang="0">
                  <a:pos x="18" y="35"/>
                </a:cxn>
                <a:cxn ang="0">
                  <a:pos x="13" y="34"/>
                </a:cxn>
                <a:cxn ang="0">
                  <a:pos x="10" y="37"/>
                </a:cxn>
                <a:cxn ang="0">
                  <a:pos x="9" y="35"/>
                </a:cxn>
                <a:cxn ang="0">
                  <a:pos x="1" y="35"/>
                </a:cxn>
                <a:cxn ang="0">
                  <a:pos x="0" y="38"/>
                </a:cxn>
                <a:cxn ang="0">
                  <a:pos x="10" y="41"/>
                </a:cxn>
                <a:cxn ang="0">
                  <a:pos x="18" y="41"/>
                </a:cxn>
                <a:cxn ang="0">
                  <a:pos x="22" y="44"/>
                </a:cxn>
                <a:cxn ang="0">
                  <a:pos x="29" y="43"/>
                </a:cxn>
                <a:cxn ang="0">
                  <a:pos x="35" y="43"/>
                </a:cxn>
                <a:cxn ang="0">
                  <a:pos x="39" y="35"/>
                </a:cxn>
                <a:cxn ang="0">
                  <a:pos x="45" y="31"/>
                </a:cxn>
                <a:cxn ang="0">
                  <a:pos x="50" y="31"/>
                </a:cxn>
                <a:cxn ang="0">
                  <a:pos x="54" y="32"/>
                </a:cxn>
                <a:cxn ang="0">
                  <a:pos x="59" y="26"/>
                </a:cxn>
                <a:cxn ang="0">
                  <a:pos x="71" y="21"/>
                </a:cxn>
                <a:cxn ang="0">
                  <a:pos x="83" y="15"/>
                </a:cxn>
                <a:cxn ang="0">
                  <a:pos x="86" y="12"/>
                </a:cxn>
                <a:cxn ang="0">
                  <a:pos x="79" y="7"/>
                </a:cxn>
                <a:cxn ang="0">
                  <a:pos x="62" y="4"/>
                </a:cxn>
                <a:cxn ang="0">
                  <a:pos x="47" y="4"/>
                </a:cxn>
                <a:cxn ang="0">
                  <a:pos x="36" y="1"/>
                </a:cxn>
                <a:cxn ang="0">
                  <a:pos x="32" y="9"/>
                </a:cxn>
                <a:cxn ang="0">
                  <a:pos x="18" y="4"/>
                </a:cxn>
                <a:cxn ang="0">
                  <a:pos x="13" y="10"/>
                </a:cxn>
              </a:cxnLst>
              <a:rect l="0" t="0" r="r" b="b"/>
              <a:pathLst>
                <a:path w="86" h="46">
                  <a:moveTo>
                    <a:pt x="13" y="10"/>
                  </a:moveTo>
                  <a:cubicBezTo>
                    <a:pt x="19" y="12"/>
                    <a:pt x="4" y="18"/>
                    <a:pt x="7" y="20"/>
                  </a:cubicBezTo>
                  <a:cubicBezTo>
                    <a:pt x="10" y="21"/>
                    <a:pt x="15" y="26"/>
                    <a:pt x="16" y="21"/>
                  </a:cubicBezTo>
                  <a:cubicBezTo>
                    <a:pt x="19" y="17"/>
                    <a:pt x="18" y="21"/>
                    <a:pt x="24" y="24"/>
                  </a:cubicBezTo>
                  <a:cubicBezTo>
                    <a:pt x="29" y="27"/>
                    <a:pt x="33" y="26"/>
                    <a:pt x="29" y="27"/>
                  </a:cubicBezTo>
                  <a:cubicBezTo>
                    <a:pt x="25" y="31"/>
                    <a:pt x="25" y="32"/>
                    <a:pt x="22" y="32"/>
                  </a:cubicBezTo>
                  <a:cubicBezTo>
                    <a:pt x="21" y="31"/>
                    <a:pt x="21" y="37"/>
                    <a:pt x="18" y="35"/>
                  </a:cubicBezTo>
                  <a:cubicBezTo>
                    <a:pt x="15" y="32"/>
                    <a:pt x="15" y="32"/>
                    <a:pt x="13" y="34"/>
                  </a:cubicBezTo>
                  <a:cubicBezTo>
                    <a:pt x="12" y="35"/>
                    <a:pt x="12" y="34"/>
                    <a:pt x="10" y="37"/>
                  </a:cubicBezTo>
                  <a:cubicBezTo>
                    <a:pt x="9" y="38"/>
                    <a:pt x="10" y="35"/>
                    <a:pt x="9" y="35"/>
                  </a:cubicBezTo>
                  <a:cubicBezTo>
                    <a:pt x="6" y="34"/>
                    <a:pt x="1" y="34"/>
                    <a:pt x="1" y="35"/>
                  </a:cubicBezTo>
                  <a:cubicBezTo>
                    <a:pt x="1" y="38"/>
                    <a:pt x="0" y="35"/>
                    <a:pt x="0" y="38"/>
                  </a:cubicBezTo>
                  <a:cubicBezTo>
                    <a:pt x="0" y="43"/>
                    <a:pt x="10" y="40"/>
                    <a:pt x="10" y="41"/>
                  </a:cubicBezTo>
                  <a:cubicBezTo>
                    <a:pt x="12" y="44"/>
                    <a:pt x="16" y="38"/>
                    <a:pt x="18" y="41"/>
                  </a:cubicBezTo>
                  <a:cubicBezTo>
                    <a:pt x="19" y="46"/>
                    <a:pt x="21" y="43"/>
                    <a:pt x="22" y="44"/>
                  </a:cubicBezTo>
                  <a:cubicBezTo>
                    <a:pt x="24" y="46"/>
                    <a:pt x="24" y="41"/>
                    <a:pt x="29" y="43"/>
                  </a:cubicBezTo>
                  <a:cubicBezTo>
                    <a:pt x="33" y="44"/>
                    <a:pt x="32" y="41"/>
                    <a:pt x="35" y="43"/>
                  </a:cubicBezTo>
                  <a:cubicBezTo>
                    <a:pt x="41" y="41"/>
                    <a:pt x="32" y="37"/>
                    <a:pt x="39" y="35"/>
                  </a:cubicBezTo>
                  <a:cubicBezTo>
                    <a:pt x="45" y="34"/>
                    <a:pt x="42" y="31"/>
                    <a:pt x="45" y="31"/>
                  </a:cubicBezTo>
                  <a:cubicBezTo>
                    <a:pt x="50" y="32"/>
                    <a:pt x="48" y="26"/>
                    <a:pt x="50" y="31"/>
                  </a:cubicBezTo>
                  <a:cubicBezTo>
                    <a:pt x="51" y="35"/>
                    <a:pt x="53" y="31"/>
                    <a:pt x="54" y="32"/>
                  </a:cubicBezTo>
                  <a:cubicBezTo>
                    <a:pt x="57" y="34"/>
                    <a:pt x="57" y="31"/>
                    <a:pt x="59" y="26"/>
                  </a:cubicBezTo>
                  <a:cubicBezTo>
                    <a:pt x="60" y="23"/>
                    <a:pt x="69" y="27"/>
                    <a:pt x="71" y="21"/>
                  </a:cubicBezTo>
                  <a:cubicBezTo>
                    <a:pt x="72" y="18"/>
                    <a:pt x="80" y="17"/>
                    <a:pt x="83" y="15"/>
                  </a:cubicBezTo>
                  <a:cubicBezTo>
                    <a:pt x="85" y="13"/>
                    <a:pt x="85" y="15"/>
                    <a:pt x="86" y="12"/>
                  </a:cubicBezTo>
                  <a:cubicBezTo>
                    <a:pt x="83" y="7"/>
                    <a:pt x="80" y="10"/>
                    <a:pt x="79" y="7"/>
                  </a:cubicBezTo>
                  <a:cubicBezTo>
                    <a:pt x="79" y="4"/>
                    <a:pt x="72" y="4"/>
                    <a:pt x="62" y="4"/>
                  </a:cubicBezTo>
                  <a:cubicBezTo>
                    <a:pt x="50" y="3"/>
                    <a:pt x="50" y="6"/>
                    <a:pt x="47" y="4"/>
                  </a:cubicBezTo>
                  <a:cubicBezTo>
                    <a:pt x="45" y="3"/>
                    <a:pt x="41" y="0"/>
                    <a:pt x="36" y="1"/>
                  </a:cubicBezTo>
                  <a:cubicBezTo>
                    <a:pt x="30" y="3"/>
                    <a:pt x="35" y="10"/>
                    <a:pt x="32" y="9"/>
                  </a:cubicBezTo>
                  <a:cubicBezTo>
                    <a:pt x="29" y="7"/>
                    <a:pt x="22" y="4"/>
                    <a:pt x="18" y="4"/>
                  </a:cubicBezTo>
                  <a:cubicBezTo>
                    <a:pt x="13" y="6"/>
                    <a:pt x="13" y="9"/>
                    <a:pt x="13" y="1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 52"/>
            <p:cNvSpPr>
              <a:spLocks/>
            </p:cNvSpPr>
            <p:nvPr/>
          </p:nvSpPr>
          <p:spPr bwMode="auto">
            <a:xfrm>
              <a:off x="6898707" y="3416028"/>
              <a:ext cx="163218" cy="140444"/>
            </a:xfrm>
            <a:custGeom>
              <a:avLst/>
              <a:gdLst/>
              <a:ahLst/>
              <a:cxnLst>
                <a:cxn ang="0">
                  <a:pos x="31" y="9"/>
                </a:cxn>
                <a:cxn ang="0">
                  <a:pos x="26" y="8"/>
                </a:cxn>
                <a:cxn ang="0">
                  <a:pos x="27" y="5"/>
                </a:cxn>
                <a:cxn ang="0">
                  <a:pos x="27" y="3"/>
                </a:cxn>
                <a:cxn ang="0">
                  <a:pos x="26" y="0"/>
                </a:cxn>
                <a:cxn ang="0">
                  <a:pos x="23" y="3"/>
                </a:cxn>
                <a:cxn ang="0">
                  <a:pos x="18" y="3"/>
                </a:cxn>
                <a:cxn ang="0">
                  <a:pos x="15" y="9"/>
                </a:cxn>
                <a:cxn ang="0">
                  <a:pos x="12" y="14"/>
                </a:cxn>
                <a:cxn ang="0">
                  <a:pos x="6" y="16"/>
                </a:cxn>
                <a:cxn ang="0">
                  <a:pos x="1" y="20"/>
                </a:cxn>
                <a:cxn ang="0">
                  <a:pos x="4" y="22"/>
                </a:cxn>
                <a:cxn ang="0">
                  <a:pos x="7" y="23"/>
                </a:cxn>
                <a:cxn ang="0">
                  <a:pos x="7" y="30"/>
                </a:cxn>
                <a:cxn ang="0">
                  <a:pos x="6" y="37"/>
                </a:cxn>
                <a:cxn ang="0">
                  <a:pos x="4" y="44"/>
                </a:cxn>
                <a:cxn ang="0">
                  <a:pos x="7" y="44"/>
                </a:cxn>
                <a:cxn ang="0">
                  <a:pos x="14" y="42"/>
                </a:cxn>
                <a:cxn ang="0">
                  <a:pos x="17" y="44"/>
                </a:cxn>
                <a:cxn ang="0">
                  <a:pos x="18" y="39"/>
                </a:cxn>
                <a:cxn ang="0">
                  <a:pos x="24" y="39"/>
                </a:cxn>
                <a:cxn ang="0">
                  <a:pos x="24" y="34"/>
                </a:cxn>
                <a:cxn ang="0">
                  <a:pos x="31" y="30"/>
                </a:cxn>
                <a:cxn ang="0">
                  <a:pos x="32" y="34"/>
                </a:cxn>
                <a:cxn ang="0">
                  <a:pos x="35" y="37"/>
                </a:cxn>
                <a:cxn ang="0">
                  <a:pos x="38" y="47"/>
                </a:cxn>
                <a:cxn ang="0">
                  <a:pos x="44" y="44"/>
                </a:cxn>
                <a:cxn ang="0">
                  <a:pos x="47" y="41"/>
                </a:cxn>
                <a:cxn ang="0">
                  <a:pos x="52" y="41"/>
                </a:cxn>
                <a:cxn ang="0">
                  <a:pos x="55" y="41"/>
                </a:cxn>
                <a:cxn ang="0">
                  <a:pos x="60" y="42"/>
                </a:cxn>
                <a:cxn ang="0">
                  <a:pos x="63" y="39"/>
                </a:cxn>
                <a:cxn ang="0">
                  <a:pos x="61" y="33"/>
                </a:cxn>
                <a:cxn ang="0">
                  <a:pos x="61" y="28"/>
                </a:cxn>
                <a:cxn ang="0">
                  <a:pos x="55" y="28"/>
                </a:cxn>
                <a:cxn ang="0">
                  <a:pos x="54" y="23"/>
                </a:cxn>
                <a:cxn ang="0">
                  <a:pos x="52" y="19"/>
                </a:cxn>
                <a:cxn ang="0">
                  <a:pos x="46" y="19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7" y="17"/>
                </a:cxn>
                <a:cxn ang="0">
                  <a:pos x="17" y="14"/>
                </a:cxn>
                <a:cxn ang="0">
                  <a:pos x="18" y="11"/>
                </a:cxn>
                <a:cxn ang="0">
                  <a:pos x="26" y="11"/>
                </a:cxn>
                <a:cxn ang="0">
                  <a:pos x="27" y="13"/>
                </a:cxn>
                <a:cxn ang="0">
                  <a:pos x="31" y="9"/>
                </a:cxn>
              </a:cxnLst>
              <a:rect l="0" t="0" r="r" b="b"/>
              <a:pathLst>
                <a:path w="64" h="50">
                  <a:moveTo>
                    <a:pt x="31" y="9"/>
                  </a:moveTo>
                  <a:cubicBezTo>
                    <a:pt x="26" y="11"/>
                    <a:pt x="27" y="8"/>
                    <a:pt x="26" y="8"/>
                  </a:cubicBezTo>
                  <a:cubicBezTo>
                    <a:pt x="24" y="8"/>
                    <a:pt x="26" y="6"/>
                    <a:pt x="27" y="5"/>
                  </a:cubicBezTo>
                  <a:cubicBezTo>
                    <a:pt x="29" y="3"/>
                    <a:pt x="29" y="3"/>
                    <a:pt x="27" y="3"/>
                  </a:cubicBezTo>
                  <a:cubicBezTo>
                    <a:pt x="27" y="3"/>
                    <a:pt x="27" y="0"/>
                    <a:pt x="26" y="0"/>
                  </a:cubicBezTo>
                  <a:cubicBezTo>
                    <a:pt x="24" y="0"/>
                    <a:pt x="26" y="2"/>
                    <a:pt x="23" y="3"/>
                  </a:cubicBezTo>
                  <a:cubicBezTo>
                    <a:pt x="18" y="5"/>
                    <a:pt x="18" y="2"/>
                    <a:pt x="18" y="3"/>
                  </a:cubicBezTo>
                  <a:cubicBezTo>
                    <a:pt x="15" y="5"/>
                    <a:pt x="18" y="9"/>
                    <a:pt x="15" y="9"/>
                  </a:cubicBezTo>
                  <a:cubicBezTo>
                    <a:pt x="10" y="9"/>
                    <a:pt x="15" y="9"/>
                    <a:pt x="12" y="14"/>
                  </a:cubicBezTo>
                  <a:cubicBezTo>
                    <a:pt x="10" y="17"/>
                    <a:pt x="9" y="17"/>
                    <a:pt x="6" y="16"/>
                  </a:cubicBezTo>
                  <a:cubicBezTo>
                    <a:pt x="3" y="16"/>
                    <a:pt x="0" y="20"/>
                    <a:pt x="1" y="20"/>
                  </a:cubicBezTo>
                  <a:cubicBezTo>
                    <a:pt x="3" y="20"/>
                    <a:pt x="4" y="20"/>
                    <a:pt x="4" y="22"/>
                  </a:cubicBezTo>
                  <a:cubicBezTo>
                    <a:pt x="4" y="25"/>
                    <a:pt x="6" y="22"/>
                    <a:pt x="7" y="23"/>
                  </a:cubicBezTo>
                  <a:cubicBezTo>
                    <a:pt x="9" y="25"/>
                    <a:pt x="6" y="27"/>
                    <a:pt x="7" y="30"/>
                  </a:cubicBezTo>
                  <a:cubicBezTo>
                    <a:pt x="10" y="33"/>
                    <a:pt x="9" y="33"/>
                    <a:pt x="6" y="37"/>
                  </a:cubicBezTo>
                  <a:cubicBezTo>
                    <a:pt x="4" y="41"/>
                    <a:pt x="4" y="42"/>
                    <a:pt x="4" y="44"/>
                  </a:cubicBezTo>
                  <a:cubicBezTo>
                    <a:pt x="6" y="47"/>
                    <a:pt x="7" y="47"/>
                    <a:pt x="7" y="44"/>
                  </a:cubicBezTo>
                  <a:cubicBezTo>
                    <a:pt x="9" y="42"/>
                    <a:pt x="10" y="42"/>
                    <a:pt x="14" y="42"/>
                  </a:cubicBezTo>
                  <a:cubicBezTo>
                    <a:pt x="15" y="41"/>
                    <a:pt x="17" y="44"/>
                    <a:pt x="17" y="44"/>
                  </a:cubicBezTo>
                  <a:cubicBezTo>
                    <a:pt x="18" y="44"/>
                    <a:pt x="17" y="41"/>
                    <a:pt x="18" y="39"/>
                  </a:cubicBezTo>
                  <a:cubicBezTo>
                    <a:pt x="21" y="37"/>
                    <a:pt x="23" y="41"/>
                    <a:pt x="24" y="39"/>
                  </a:cubicBezTo>
                  <a:cubicBezTo>
                    <a:pt x="26" y="37"/>
                    <a:pt x="23" y="36"/>
                    <a:pt x="24" y="34"/>
                  </a:cubicBezTo>
                  <a:cubicBezTo>
                    <a:pt x="27" y="33"/>
                    <a:pt x="26" y="28"/>
                    <a:pt x="31" y="30"/>
                  </a:cubicBezTo>
                  <a:cubicBezTo>
                    <a:pt x="35" y="31"/>
                    <a:pt x="32" y="33"/>
                    <a:pt x="32" y="34"/>
                  </a:cubicBezTo>
                  <a:cubicBezTo>
                    <a:pt x="33" y="36"/>
                    <a:pt x="35" y="31"/>
                    <a:pt x="35" y="37"/>
                  </a:cubicBezTo>
                  <a:cubicBezTo>
                    <a:pt x="33" y="47"/>
                    <a:pt x="35" y="50"/>
                    <a:pt x="38" y="47"/>
                  </a:cubicBezTo>
                  <a:cubicBezTo>
                    <a:pt x="41" y="45"/>
                    <a:pt x="44" y="45"/>
                    <a:pt x="44" y="44"/>
                  </a:cubicBezTo>
                  <a:cubicBezTo>
                    <a:pt x="44" y="42"/>
                    <a:pt x="46" y="42"/>
                    <a:pt x="47" y="41"/>
                  </a:cubicBezTo>
                  <a:cubicBezTo>
                    <a:pt x="49" y="39"/>
                    <a:pt x="54" y="39"/>
                    <a:pt x="52" y="41"/>
                  </a:cubicBezTo>
                  <a:cubicBezTo>
                    <a:pt x="50" y="44"/>
                    <a:pt x="52" y="44"/>
                    <a:pt x="55" y="41"/>
                  </a:cubicBezTo>
                  <a:cubicBezTo>
                    <a:pt x="58" y="39"/>
                    <a:pt x="61" y="41"/>
                    <a:pt x="60" y="42"/>
                  </a:cubicBezTo>
                  <a:cubicBezTo>
                    <a:pt x="63" y="42"/>
                    <a:pt x="64" y="41"/>
                    <a:pt x="63" y="39"/>
                  </a:cubicBezTo>
                  <a:cubicBezTo>
                    <a:pt x="60" y="37"/>
                    <a:pt x="63" y="34"/>
                    <a:pt x="61" y="33"/>
                  </a:cubicBezTo>
                  <a:cubicBezTo>
                    <a:pt x="60" y="31"/>
                    <a:pt x="61" y="30"/>
                    <a:pt x="61" y="28"/>
                  </a:cubicBezTo>
                  <a:cubicBezTo>
                    <a:pt x="60" y="27"/>
                    <a:pt x="55" y="25"/>
                    <a:pt x="55" y="28"/>
                  </a:cubicBezTo>
                  <a:cubicBezTo>
                    <a:pt x="55" y="30"/>
                    <a:pt x="52" y="27"/>
                    <a:pt x="54" y="23"/>
                  </a:cubicBezTo>
                  <a:cubicBezTo>
                    <a:pt x="54" y="22"/>
                    <a:pt x="50" y="22"/>
                    <a:pt x="52" y="19"/>
                  </a:cubicBezTo>
                  <a:cubicBezTo>
                    <a:pt x="49" y="17"/>
                    <a:pt x="50" y="20"/>
                    <a:pt x="46" y="19"/>
                  </a:cubicBezTo>
                  <a:cubicBezTo>
                    <a:pt x="41" y="17"/>
                    <a:pt x="41" y="22"/>
                    <a:pt x="40" y="20"/>
                  </a:cubicBezTo>
                  <a:cubicBezTo>
                    <a:pt x="38" y="19"/>
                    <a:pt x="37" y="22"/>
                    <a:pt x="35" y="17"/>
                  </a:cubicBezTo>
                  <a:cubicBezTo>
                    <a:pt x="33" y="14"/>
                    <a:pt x="29" y="20"/>
                    <a:pt x="27" y="17"/>
                  </a:cubicBezTo>
                  <a:cubicBezTo>
                    <a:pt x="27" y="16"/>
                    <a:pt x="17" y="19"/>
                    <a:pt x="17" y="14"/>
                  </a:cubicBezTo>
                  <a:cubicBezTo>
                    <a:pt x="17" y="11"/>
                    <a:pt x="18" y="14"/>
                    <a:pt x="18" y="11"/>
                  </a:cubicBezTo>
                  <a:cubicBezTo>
                    <a:pt x="18" y="9"/>
                    <a:pt x="23" y="9"/>
                    <a:pt x="26" y="11"/>
                  </a:cubicBezTo>
                  <a:cubicBezTo>
                    <a:pt x="27" y="11"/>
                    <a:pt x="26" y="14"/>
                    <a:pt x="27" y="13"/>
                  </a:cubicBezTo>
                  <a:cubicBezTo>
                    <a:pt x="29" y="9"/>
                    <a:pt x="29" y="11"/>
                    <a:pt x="31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 53"/>
            <p:cNvSpPr>
              <a:spLocks/>
            </p:cNvSpPr>
            <p:nvPr/>
          </p:nvSpPr>
          <p:spPr bwMode="auto">
            <a:xfrm>
              <a:off x="7966202" y="3885138"/>
              <a:ext cx="43437" cy="114381"/>
            </a:xfrm>
            <a:custGeom>
              <a:avLst/>
              <a:gdLst/>
              <a:ahLst/>
              <a:cxnLst>
                <a:cxn ang="0">
                  <a:pos x="3" y="12"/>
                </a:cxn>
                <a:cxn ang="0">
                  <a:pos x="11" y="3"/>
                </a:cxn>
                <a:cxn ang="0">
                  <a:pos x="14" y="3"/>
                </a:cxn>
                <a:cxn ang="0">
                  <a:pos x="16" y="9"/>
                </a:cxn>
                <a:cxn ang="0">
                  <a:pos x="13" y="22"/>
                </a:cxn>
                <a:cxn ang="0">
                  <a:pos x="8" y="34"/>
                </a:cxn>
                <a:cxn ang="0">
                  <a:pos x="5" y="33"/>
                </a:cxn>
                <a:cxn ang="0">
                  <a:pos x="2" y="26"/>
                </a:cxn>
                <a:cxn ang="0">
                  <a:pos x="3" y="12"/>
                </a:cxn>
              </a:cxnLst>
              <a:rect l="0" t="0" r="r" b="b"/>
              <a:pathLst>
                <a:path w="17" h="41">
                  <a:moveTo>
                    <a:pt x="3" y="12"/>
                  </a:moveTo>
                  <a:cubicBezTo>
                    <a:pt x="8" y="6"/>
                    <a:pt x="10" y="4"/>
                    <a:pt x="11" y="3"/>
                  </a:cubicBezTo>
                  <a:cubicBezTo>
                    <a:pt x="13" y="3"/>
                    <a:pt x="13" y="0"/>
                    <a:pt x="14" y="3"/>
                  </a:cubicBezTo>
                  <a:cubicBezTo>
                    <a:pt x="17" y="6"/>
                    <a:pt x="14" y="6"/>
                    <a:pt x="16" y="9"/>
                  </a:cubicBezTo>
                  <a:cubicBezTo>
                    <a:pt x="16" y="11"/>
                    <a:pt x="14" y="14"/>
                    <a:pt x="13" y="22"/>
                  </a:cubicBezTo>
                  <a:cubicBezTo>
                    <a:pt x="11" y="31"/>
                    <a:pt x="8" y="28"/>
                    <a:pt x="8" y="34"/>
                  </a:cubicBezTo>
                  <a:cubicBezTo>
                    <a:pt x="8" y="41"/>
                    <a:pt x="7" y="36"/>
                    <a:pt x="5" y="33"/>
                  </a:cubicBezTo>
                  <a:cubicBezTo>
                    <a:pt x="5" y="30"/>
                    <a:pt x="3" y="33"/>
                    <a:pt x="2" y="26"/>
                  </a:cubicBezTo>
                  <a:cubicBezTo>
                    <a:pt x="0" y="22"/>
                    <a:pt x="0" y="19"/>
                    <a:pt x="3" y="1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9" name="Freeform 54"/>
            <p:cNvSpPr>
              <a:spLocks/>
            </p:cNvSpPr>
            <p:nvPr/>
          </p:nvSpPr>
          <p:spPr bwMode="auto">
            <a:xfrm>
              <a:off x="8058341" y="3356665"/>
              <a:ext cx="127678" cy="170849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3" y="37"/>
                </a:cxn>
                <a:cxn ang="0">
                  <a:pos x="7" y="42"/>
                </a:cxn>
                <a:cxn ang="0">
                  <a:pos x="6" y="48"/>
                </a:cxn>
                <a:cxn ang="0">
                  <a:pos x="4" y="51"/>
                </a:cxn>
                <a:cxn ang="0">
                  <a:pos x="4" y="54"/>
                </a:cxn>
                <a:cxn ang="0">
                  <a:pos x="6" y="57"/>
                </a:cxn>
                <a:cxn ang="0">
                  <a:pos x="9" y="59"/>
                </a:cxn>
                <a:cxn ang="0">
                  <a:pos x="12" y="57"/>
                </a:cxn>
                <a:cxn ang="0">
                  <a:pos x="14" y="57"/>
                </a:cxn>
                <a:cxn ang="0">
                  <a:pos x="18" y="57"/>
                </a:cxn>
                <a:cxn ang="0">
                  <a:pos x="21" y="53"/>
                </a:cxn>
                <a:cxn ang="0">
                  <a:pos x="30" y="51"/>
                </a:cxn>
                <a:cxn ang="0">
                  <a:pos x="32" y="48"/>
                </a:cxn>
                <a:cxn ang="0">
                  <a:pos x="27" y="45"/>
                </a:cxn>
                <a:cxn ang="0">
                  <a:pos x="24" y="42"/>
                </a:cxn>
                <a:cxn ang="0">
                  <a:pos x="24" y="39"/>
                </a:cxn>
                <a:cxn ang="0">
                  <a:pos x="27" y="34"/>
                </a:cxn>
                <a:cxn ang="0">
                  <a:pos x="33" y="31"/>
                </a:cxn>
                <a:cxn ang="0">
                  <a:pos x="41" y="25"/>
                </a:cxn>
                <a:cxn ang="0">
                  <a:pos x="43" y="19"/>
                </a:cxn>
                <a:cxn ang="0">
                  <a:pos x="43" y="14"/>
                </a:cxn>
                <a:cxn ang="0">
                  <a:pos x="47" y="8"/>
                </a:cxn>
                <a:cxn ang="0">
                  <a:pos x="50" y="8"/>
                </a:cxn>
                <a:cxn ang="0">
                  <a:pos x="49" y="6"/>
                </a:cxn>
                <a:cxn ang="0">
                  <a:pos x="47" y="5"/>
                </a:cxn>
                <a:cxn ang="0">
                  <a:pos x="44" y="0"/>
                </a:cxn>
                <a:cxn ang="0">
                  <a:pos x="41" y="6"/>
                </a:cxn>
                <a:cxn ang="0">
                  <a:pos x="36" y="11"/>
                </a:cxn>
                <a:cxn ang="0">
                  <a:pos x="33" y="11"/>
                </a:cxn>
                <a:cxn ang="0">
                  <a:pos x="29" y="12"/>
                </a:cxn>
                <a:cxn ang="0">
                  <a:pos x="30" y="17"/>
                </a:cxn>
                <a:cxn ang="0">
                  <a:pos x="27" y="17"/>
                </a:cxn>
                <a:cxn ang="0">
                  <a:pos x="23" y="17"/>
                </a:cxn>
                <a:cxn ang="0">
                  <a:pos x="20" y="14"/>
                </a:cxn>
                <a:cxn ang="0">
                  <a:pos x="18" y="15"/>
                </a:cxn>
                <a:cxn ang="0">
                  <a:pos x="17" y="19"/>
                </a:cxn>
                <a:cxn ang="0">
                  <a:pos x="12" y="23"/>
                </a:cxn>
                <a:cxn ang="0">
                  <a:pos x="9" y="25"/>
                </a:cxn>
                <a:cxn ang="0">
                  <a:pos x="7" y="26"/>
                </a:cxn>
                <a:cxn ang="0">
                  <a:pos x="4" y="28"/>
                </a:cxn>
                <a:cxn ang="0">
                  <a:pos x="0" y="33"/>
                </a:cxn>
                <a:cxn ang="0">
                  <a:pos x="0" y="34"/>
                </a:cxn>
              </a:cxnLst>
              <a:rect l="0" t="0" r="r" b="b"/>
              <a:pathLst>
                <a:path w="50" h="61">
                  <a:moveTo>
                    <a:pt x="0" y="34"/>
                  </a:moveTo>
                  <a:cubicBezTo>
                    <a:pt x="0" y="36"/>
                    <a:pt x="1" y="39"/>
                    <a:pt x="3" y="37"/>
                  </a:cubicBezTo>
                  <a:cubicBezTo>
                    <a:pt x="4" y="36"/>
                    <a:pt x="9" y="39"/>
                    <a:pt x="7" y="42"/>
                  </a:cubicBezTo>
                  <a:cubicBezTo>
                    <a:pt x="7" y="45"/>
                    <a:pt x="4" y="47"/>
                    <a:pt x="6" y="48"/>
                  </a:cubicBezTo>
                  <a:cubicBezTo>
                    <a:pt x="7" y="50"/>
                    <a:pt x="4" y="48"/>
                    <a:pt x="4" y="51"/>
                  </a:cubicBezTo>
                  <a:cubicBezTo>
                    <a:pt x="3" y="54"/>
                    <a:pt x="0" y="54"/>
                    <a:pt x="4" y="54"/>
                  </a:cubicBezTo>
                  <a:cubicBezTo>
                    <a:pt x="7" y="56"/>
                    <a:pt x="1" y="56"/>
                    <a:pt x="6" y="57"/>
                  </a:cubicBezTo>
                  <a:cubicBezTo>
                    <a:pt x="9" y="57"/>
                    <a:pt x="6" y="61"/>
                    <a:pt x="9" y="59"/>
                  </a:cubicBezTo>
                  <a:cubicBezTo>
                    <a:pt x="11" y="57"/>
                    <a:pt x="9" y="54"/>
                    <a:pt x="12" y="57"/>
                  </a:cubicBezTo>
                  <a:cubicBezTo>
                    <a:pt x="14" y="59"/>
                    <a:pt x="14" y="59"/>
                    <a:pt x="14" y="57"/>
                  </a:cubicBezTo>
                  <a:cubicBezTo>
                    <a:pt x="15" y="56"/>
                    <a:pt x="17" y="57"/>
                    <a:pt x="18" y="57"/>
                  </a:cubicBezTo>
                  <a:cubicBezTo>
                    <a:pt x="18" y="56"/>
                    <a:pt x="18" y="54"/>
                    <a:pt x="21" y="53"/>
                  </a:cubicBezTo>
                  <a:cubicBezTo>
                    <a:pt x="26" y="51"/>
                    <a:pt x="27" y="53"/>
                    <a:pt x="30" y="51"/>
                  </a:cubicBezTo>
                  <a:cubicBezTo>
                    <a:pt x="32" y="51"/>
                    <a:pt x="29" y="50"/>
                    <a:pt x="32" y="48"/>
                  </a:cubicBezTo>
                  <a:cubicBezTo>
                    <a:pt x="30" y="47"/>
                    <a:pt x="30" y="48"/>
                    <a:pt x="27" y="45"/>
                  </a:cubicBezTo>
                  <a:cubicBezTo>
                    <a:pt x="26" y="42"/>
                    <a:pt x="24" y="43"/>
                    <a:pt x="24" y="42"/>
                  </a:cubicBezTo>
                  <a:cubicBezTo>
                    <a:pt x="23" y="40"/>
                    <a:pt x="26" y="43"/>
                    <a:pt x="24" y="39"/>
                  </a:cubicBezTo>
                  <a:cubicBezTo>
                    <a:pt x="24" y="34"/>
                    <a:pt x="26" y="37"/>
                    <a:pt x="27" y="34"/>
                  </a:cubicBezTo>
                  <a:cubicBezTo>
                    <a:pt x="29" y="31"/>
                    <a:pt x="29" y="36"/>
                    <a:pt x="33" y="31"/>
                  </a:cubicBezTo>
                  <a:cubicBezTo>
                    <a:pt x="38" y="28"/>
                    <a:pt x="40" y="25"/>
                    <a:pt x="41" y="25"/>
                  </a:cubicBezTo>
                  <a:cubicBezTo>
                    <a:pt x="43" y="25"/>
                    <a:pt x="43" y="20"/>
                    <a:pt x="43" y="19"/>
                  </a:cubicBezTo>
                  <a:cubicBezTo>
                    <a:pt x="43" y="17"/>
                    <a:pt x="41" y="17"/>
                    <a:pt x="43" y="14"/>
                  </a:cubicBezTo>
                  <a:cubicBezTo>
                    <a:pt x="46" y="11"/>
                    <a:pt x="46" y="9"/>
                    <a:pt x="47" y="8"/>
                  </a:cubicBezTo>
                  <a:cubicBezTo>
                    <a:pt x="49" y="8"/>
                    <a:pt x="49" y="9"/>
                    <a:pt x="50" y="8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3"/>
                    <a:pt x="49" y="6"/>
                    <a:pt x="47" y="5"/>
                  </a:cubicBezTo>
                  <a:cubicBezTo>
                    <a:pt x="46" y="3"/>
                    <a:pt x="47" y="2"/>
                    <a:pt x="44" y="0"/>
                  </a:cubicBezTo>
                  <a:cubicBezTo>
                    <a:pt x="41" y="0"/>
                    <a:pt x="44" y="8"/>
                    <a:pt x="41" y="6"/>
                  </a:cubicBezTo>
                  <a:cubicBezTo>
                    <a:pt x="38" y="6"/>
                    <a:pt x="40" y="9"/>
                    <a:pt x="36" y="11"/>
                  </a:cubicBezTo>
                  <a:cubicBezTo>
                    <a:pt x="35" y="12"/>
                    <a:pt x="36" y="11"/>
                    <a:pt x="33" y="11"/>
                  </a:cubicBezTo>
                  <a:cubicBezTo>
                    <a:pt x="32" y="12"/>
                    <a:pt x="29" y="9"/>
                    <a:pt x="29" y="12"/>
                  </a:cubicBezTo>
                  <a:cubicBezTo>
                    <a:pt x="29" y="15"/>
                    <a:pt x="32" y="15"/>
                    <a:pt x="30" y="17"/>
                  </a:cubicBezTo>
                  <a:cubicBezTo>
                    <a:pt x="29" y="19"/>
                    <a:pt x="29" y="17"/>
                    <a:pt x="27" y="17"/>
                  </a:cubicBezTo>
                  <a:cubicBezTo>
                    <a:pt x="26" y="19"/>
                    <a:pt x="24" y="17"/>
                    <a:pt x="23" y="17"/>
                  </a:cubicBezTo>
                  <a:cubicBezTo>
                    <a:pt x="21" y="17"/>
                    <a:pt x="21" y="12"/>
                    <a:pt x="20" y="14"/>
                  </a:cubicBezTo>
                  <a:cubicBezTo>
                    <a:pt x="18" y="15"/>
                    <a:pt x="20" y="14"/>
                    <a:pt x="18" y="15"/>
                  </a:cubicBezTo>
                  <a:cubicBezTo>
                    <a:pt x="17" y="17"/>
                    <a:pt x="18" y="17"/>
                    <a:pt x="17" y="19"/>
                  </a:cubicBezTo>
                  <a:cubicBezTo>
                    <a:pt x="15" y="20"/>
                    <a:pt x="14" y="23"/>
                    <a:pt x="12" y="23"/>
                  </a:cubicBezTo>
                  <a:cubicBezTo>
                    <a:pt x="9" y="23"/>
                    <a:pt x="11" y="25"/>
                    <a:pt x="9" y="25"/>
                  </a:cubicBezTo>
                  <a:cubicBezTo>
                    <a:pt x="7" y="25"/>
                    <a:pt x="9" y="26"/>
                    <a:pt x="7" y="26"/>
                  </a:cubicBezTo>
                  <a:cubicBezTo>
                    <a:pt x="4" y="28"/>
                    <a:pt x="6" y="28"/>
                    <a:pt x="4" y="28"/>
                  </a:cubicBezTo>
                  <a:cubicBezTo>
                    <a:pt x="3" y="28"/>
                    <a:pt x="1" y="31"/>
                    <a:pt x="0" y="33"/>
                  </a:cubicBezTo>
                  <a:cubicBezTo>
                    <a:pt x="0" y="34"/>
                    <a:pt x="0" y="34"/>
                    <a:pt x="0" y="3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Freeform 55"/>
            <p:cNvSpPr>
              <a:spLocks/>
            </p:cNvSpPr>
            <p:nvPr/>
          </p:nvSpPr>
          <p:spPr bwMode="auto">
            <a:xfrm>
              <a:off x="8091248" y="3491316"/>
              <a:ext cx="72396" cy="134652"/>
            </a:xfrm>
            <a:custGeom>
              <a:avLst/>
              <a:gdLst/>
              <a:ahLst/>
              <a:cxnLst>
                <a:cxn ang="0">
                  <a:pos x="5" y="9"/>
                </a:cxn>
                <a:cxn ang="0">
                  <a:pos x="3" y="10"/>
                </a:cxn>
                <a:cxn ang="0">
                  <a:pos x="5" y="15"/>
                </a:cxn>
                <a:cxn ang="0">
                  <a:pos x="6" y="20"/>
                </a:cxn>
                <a:cxn ang="0">
                  <a:pos x="5" y="18"/>
                </a:cxn>
                <a:cxn ang="0">
                  <a:pos x="2" y="18"/>
                </a:cxn>
                <a:cxn ang="0">
                  <a:pos x="2" y="20"/>
                </a:cxn>
                <a:cxn ang="0">
                  <a:pos x="0" y="21"/>
                </a:cxn>
                <a:cxn ang="0">
                  <a:pos x="3" y="23"/>
                </a:cxn>
                <a:cxn ang="0">
                  <a:pos x="3" y="28"/>
                </a:cxn>
                <a:cxn ang="0">
                  <a:pos x="5" y="31"/>
                </a:cxn>
                <a:cxn ang="0">
                  <a:pos x="3" y="34"/>
                </a:cxn>
                <a:cxn ang="0">
                  <a:pos x="2" y="39"/>
                </a:cxn>
                <a:cxn ang="0">
                  <a:pos x="2" y="42"/>
                </a:cxn>
                <a:cxn ang="0">
                  <a:pos x="2" y="43"/>
                </a:cxn>
                <a:cxn ang="0">
                  <a:pos x="3" y="45"/>
                </a:cxn>
                <a:cxn ang="0">
                  <a:pos x="5" y="45"/>
                </a:cxn>
                <a:cxn ang="0">
                  <a:pos x="6" y="47"/>
                </a:cxn>
                <a:cxn ang="0">
                  <a:pos x="8" y="43"/>
                </a:cxn>
                <a:cxn ang="0">
                  <a:pos x="9" y="43"/>
                </a:cxn>
                <a:cxn ang="0">
                  <a:pos x="11" y="45"/>
                </a:cxn>
                <a:cxn ang="0">
                  <a:pos x="11" y="43"/>
                </a:cxn>
                <a:cxn ang="0">
                  <a:pos x="11" y="42"/>
                </a:cxn>
                <a:cxn ang="0">
                  <a:pos x="13" y="43"/>
                </a:cxn>
                <a:cxn ang="0">
                  <a:pos x="13" y="40"/>
                </a:cxn>
                <a:cxn ang="0">
                  <a:pos x="19" y="42"/>
                </a:cxn>
                <a:cxn ang="0">
                  <a:pos x="20" y="39"/>
                </a:cxn>
                <a:cxn ang="0">
                  <a:pos x="25" y="39"/>
                </a:cxn>
                <a:cxn ang="0">
                  <a:pos x="28" y="29"/>
                </a:cxn>
                <a:cxn ang="0">
                  <a:pos x="26" y="28"/>
                </a:cxn>
                <a:cxn ang="0">
                  <a:pos x="26" y="20"/>
                </a:cxn>
                <a:cxn ang="0">
                  <a:pos x="22" y="7"/>
                </a:cxn>
                <a:cxn ang="0">
                  <a:pos x="19" y="0"/>
                </a:cxn>
                <a:cxn ang="0">
                  <a:pos x="17" y="3"/>
                </a:cxn>
                <a:cxn ang="0">
                  <a:pos x="8" y="4"/>
                </a:cxn>
                <a:cxn ang="0">
                  <a:pos x="5" y="9"/>
                </a:cxn>
              </a:cxnLst>
              <a:rect l="0" t="0" r="r" b="b"/>
              <a:pathLst>
                <a:path w="28" h="48">
                  <a:moveTo>
                    <a:pt x="5" y="9"/>
                  </a:moveTo>
                  <a:cubicBezTo>
                    <a:pt x="5" y="10"/>
                    <a:pt x="5" y="9"/>
                    <a:pt x="3" y="10"/>
                  </a:cubicBezTo>
                  <a:cubicBezTo>
                    <a:pt x="3" y="12"/>
                    <a:pt x="6" y="14"/>
                    <a:pt x="5" y="15"/>
                  </a:cubicBezTo>
                  <a:cubicBezTo>
                    <a:pt x="3" y="17"/>
                    <a:pt x="8" y="17"/>
                    <a:pt x="6" y="20"/>
                  </a:cubicBezTo>
                  <a:cubicBezTo>
                    <a:pt x="6" y="21"/>
                    <a:pt x="6" y="18"/>
                    <a:pt x="5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3" y="20"/>
                    <a:pt x="2" y="20"/>
                    <a:pt x="2" y="20"/>
                  </a:cubicBezTo>
                  <a:cubicBezTo>
                    <a:pt x="0" y="18"/>
                    <a:pt x="0" y="21"/>
                    <a:pt x="0" y="21"/>
                  </a:cubicBezTo>
                  <a:cubicBezTo>
                    <a:pt x="2" y="23"/>
                    <a:pt x="3" y="20"/>
                    <a:pt x="3" y="23"/>
                  </a:cubicBezTo>
                  <a:cubicBezTo>
                    <a:pt x="3" y="25"/>
                    <a:pt x="3" y="28"/>
                    <a:pt x="3" y="28"/>
                  </a:cubicBezTo>
                  <a:cubicBezTo>
                    <a:pt x="5" y="29"/>
                    <a:pt x="3" y="29"/>
                    <a:pt x="5" y="31"/>
                  </a:cubicBezTo>
                  <a:cubicBezTo>
                    <a:pt x="6" y="32"/>
                    <a:pt x="3" y="31"/>
                    <a:pt x="3" y="34"/>
                  </a:cubicBezTo>
                  <a:cubicBezTo>
                    <a:pt x="2" y="37"/>
                    <a:pt x="0" y="39"/>
                    <a:pt x="2" y="39"/>
                  </a:cubicBezTo>
                  <a:cubicBezTo>
                    <a:pt x="2" y="40"/>
                    <a:pt x="2" y="40"/>
                    <a:pt x="2" y="42"/>
                  </a:cubicBezTo>
                  <a:cubicBezTo>
                    <a:pt x="3" y="43"/>
                    <a:pt x="2" y="42"/>
                    <a:pt x="2" y="43"/>
                  </a:cubicBezTo>
                  <a:cubicBezTo>
                    <a:pt x="2" y="45"/>
                    <a:pt x="3" y="43"/>
                    <a:pt x="3" y="45"/>
                  </a:cubicBezTo>
                  <a:cubicBezTo>
                    <a:pt x="3" y="48"/>
                    <a:pt x="3" y="48"/>
                    <a:pt x="5" y="45"/>
                  </a:cubicBezTo>
                  <a:cubicBezTo>
                    <a:pt x="6" y="42"/>
                    <a:pt x="5" y="47"/>
                    <a:pt x="6" y="47"/>
                  </a:cubicBezTo>
                  <a:cubicBezTo>
                    <a:pt x="6" y="47"/>
                    <a:pt x="6" y="45"/>
                    <a:pt x="8" y="43"/>
                  </a:cubicBezTo>
                  <a:cubicBezTo>
                    <a:pt x="9" y="42"/>
                    <a:pt x="11" y="42"/>
                    <a:pt x="9" y="43"/>
                  </a:cubicBezTo>
                  <a:cubicBezTo>
                    <a:pt x="8" y="45"/>
                    <a:pt x="9" y="47"/>
                    <a:pt x="11" y="45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2"/>
                    <a:pt x="11" y="40"/>
                    <a:pt x="11" y="4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4" y="42"/>
                    <a:pt x="11" y="42"/>
                    <a:pt x="13" y="40"/>
                  </a:cubicBezTo>
                  <a:cubicBezTo>
                    <a:pt x="16" y="40"/>
                    <a:pt x="17" y="42"/>
                    <a:pt x="19" y="42"/>
                  </a:cubicBezTo>
                  <a:cubicBezTo>
                    <a:pt x="20" y="40"/>
                    <a:pt x="19" y="40"/>
                    <a:pt x="20" y="39"/>
                  </a:cubicBezTo>
                  <a:cubicBezTo>
                    <a:pt x="22" y="39"/>
                    <a:pt x="23" y="40"/>
                    <a:pt x="25" y="39"/>
                  </a:cubicBezTo>
                  <a:cubicBezTo>
                    <a:pt x="25" y="37"/>
                    <a:pt x="28" y="32"/>
                    <a:pt x="28" y="29"/>
                  </a:cubicBezTo>
                  <a:cubicBezTo>
                    <a:pt x="28" y="26"/>
                    <a:pt x="26" y="31"/>
                    <a:pt x="26" y="28"/>
                  </a:cubicBezTo>
                  <a:cubicBezTo>
                    <a:pt x="26" y="23"/>
                    <a:pt x="28" y="23"/>
                    <a:pt x="26" y="20"/>
                  </a:cubicBezTo>
                  <a:cubicBezTo>
                    <a:pt x="26" y="15"/>
                    <a:pt x="23" y="10"/>
                    <a:pt x="22" y="7"/>
                  </a:cubicBezTo>
                  <a:cubicBezTo>
                    <a:pt x="20" y="4"/>
                    <a:pt x="19" y="1"/>
                    <a:pt x="19" y="0"/>
                  </a:cubicBezTo>
                  <a:cubicBezTo>
                    <a:pt x="16" y="1"/>
                    <a:pt x="19" y="3"/>
                    <a:pt x="17" y="3"/>
                  </a:cubicBezTo>
                  <a:cubicBezTo>
                    <a:pt x="14" y="4"/>
                    <a:pt x="13" y="3"/>
                    <a:pt x="8" y="4"/>
                  </a:cubicBezTo>
                  <a:cubicBezTo>
                    <a:pt x="5" y="6"/>
                    <a:pt x="5" y="7"/>
                    <a:pt x="5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1" name="Freeform 56"/>
            <p:cNvSpPr>
              <a:spLocks/>
            </p:cNvSpPr>
            <p:nvPr/>
          </p:nvSpPr>
          <p:spPr bwMode="auto">
            <a:xfrm>
              <a:off x="8088616" y="3646239"/>
              <a:ext cx="23693" cy="15926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8" y="1"/>
                </a:cxn>
                <a:cxn ang="0">
                  <a:pos x="1" y="4"/>
                </a:cxn>
              </a:cxnLst>
              <a:rect l="0" t="0" r="r" b="b"/>
              <a:pathLst>
                <a:path w="9" h="6">
                  <a:moveTo>
                    <a:pt x="1" y="4"/>
                  </a:moveTo>
                  <a:cubicBezTo>
                    <a:pt x="0" y="1"/>
                    <a:pt x="8" y="0"/>
                    <a:pt x="8" y="1"/>
                  </a:cubicBezTo>
                  <a:cubicBezTo>
                    <a:pt x="9" y="3"/>
                    <a:pt x="3" y="6"/>
                    <a:pt x="1" y="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2" name="Freeform 57"/>
            <p:cNvSpPr>
              <a:spLocks/>
            </p:cNvSpPr>
            <p:nvPr/>
          </p:nvSpPr>
          <p:spPr bwMode="auto">
            <a:xfrm>
              <a:off x="8155745" y="3611490"/>
              <a:ext cx="7898" cy="2027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0" y="3"/>
                </a:cxn>
                <a:cxn ang="0">
                  <a:pos x="1" y="0"/>
                </a:cxn>
                <a:cxn ang="0">
                  <a:pos x="1" y="3"/>
                </a:cxn>
                <a:cxn ang="0">
                  <a:pos x="0" y="7"/>
                </a:cxn>
              </a:cxnLst>
              <a:rect l="0" t="0" r="r" b="b"/>
              <a:pathLst>
                <a:path w="3" h="7">
                  <a:moveTo>
                    <a:pt x="0" y="7"/>
                  </a:move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  <a:cubicBezTo>
                    <a:pt x="0" y="5"/>
                    <a:pt x="1" y="7"/>
                    <a:pt x="0" y="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3" name="Freeform 58"/>
            <p:cNvSpPr>
              <a:spLocks/>
            </p:cNvSpPr>
            <p:nvPr/>
          </p:nvSpPr>
          <p:spPr bwMode="auto">
            <a:xfrm>
              <a:off x="8088616" y="3617282"/>
              <a:ext cx="10530" cy="5791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0"/>
                </a:cxn>
                <a:cxn ang="0">
                  <a:pos x="1" y="2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0" y="2"/>
                    <a:pt x="3" y="0"/>
                    <a:pt x="3" y="0"/>
                  </a:cubicBezTo>
                  <a:cubicBezTo>
                    <a:pt x="4" y="2"/>
                    <a:pt x="1" y="2"/>
                    <a:pt x="1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4" name="Freeform 59"/>
            <p:cNvSpPr>
              <a:spLocks/>
            </p:cNvSpPr>
            <p:nvPr/>
          </p:nvSpPr>
          <p:spPr bwMode="auto">
            <a:xfrm>
              <a:off x="8088616" y="3604252"/>
              <a:ext cx="2632" cy="72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cubicBezTo>
                    <a:pt x="1" y="2"/>
                    <a:pt x="0" y="2"/>
                    <a:pt x="1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5" name="Freeform 60"/>
            <p:cNvSpPr>
              <a:spLocks/>
            </p:cNvSpPr>
            <p:nvPr/>
          </p:nvSpPr>
          <p:spPr bwMode="auto">
            <a:xfrm>
              <a:off x="8096513" y="3556471"/>
              <a:ext cx="2632" cy="579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2"/>
                    <a:pt x="0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6" name="Freeform 61"/>
            <p:cNvSpPr>
              <a:spLocks/>
            </p:cNvSpPr>
            <p:nvPr/>
          </p:nvSpPr>
          <p:spPr bwMode="auto">
            <a:xfrm>
              <a:off x="8139951" y="3604252"/>
              <a:ext cx="7898" cy="7240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1" y="0"/>
                </a:cxn>
                <a:cxn ang="0">
                  <a:pos x="1" y="3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0" y="3"/>
                    <a:pt x="0" y="0"/>
                    <a:pt x="1" y="0"/>
                  </a:cubicBezTo>
                  <a:cubicBezTo>
                    <a:pt x="3" y="0"/>
                    <a:pt x="3" y="2"/>
                    <a:pt x="1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7" name="Freeform 62"/>
            <p:cNvSpPr>
              <a:spLocks/>
            </p:cNvSpPr>
            <p:nvPr/>
          </p:nvSpPr>
          <p:spPr bwMode="auto">
            <a:xfrm>
              <a:off x="8126788" y="3604252"/>
              <a:ext cx="5265" cy="7240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0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0" y="0"/>
                    <a:pt x="2" y="0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8" name="Freeform 63"/>
            <p:cNvSpPr>
              <a:spLocks/>
            </p:cNvSpPr>
            <p:nvPr/>
          </p:nvSpPr>
          <p:spPr bwMode="auto">
            <a:xfrm>
              <a:off x="8099146" y="3625969"/>
              <a:ext cx="5265" cy="5791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0" y="0"/>
                </a:cxn>
                <a:cxn ang="0">
                  <a:pos x="2" y="2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cubicBezTo>
                    <a:pt x="0" y="2"/>
                    <a:pt x="0" y="2"/>
                    <a:pt x="0" y="0"/>
                  </a:cubicBezTo>
                  <a:cubicBezTo>
                    <a:pt x="2" y="0"/>
                    <a:pt x="2" y="2"/>
                    <a:pt x="2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9" name="Freeform 64"/>
            <p:cNvSpPr>
              <a:spLocks/>
            </p:cNvSpPr>
            <p:nvPr/>
          </p:nvSpPr>
          <p:spPr bwMode="auto">
            <a:xfrm>
              <a:off x="8096513" y="3517379"/>
              <a:ext cx="2632" cy="10135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0"/>
                </a:cxn>
                <a:cxn ang="0">
                  <a:pos x="1" y="4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0" y="4"/>
                    <a:pt x="0" y="0"/>
                    <a:pt x="0" y="0"/>
                  </a:cubicBezTo>
                  <a:cubicBezTo>
                    <a:pt x="1" y="0"/>
                    <a:pt x="1" y="4"/>
                    <a:pt x="1" y="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0" name="Freeform 65"/>
            <p:cNvSpPr>
              <a:spLocks/>
            </p:cNvSpPr>
            <p:nvPr/>
          </p:nvSpPr>
          <p:spPr bwMode="auto">
            <a:xfrm>
              <a:off x="7734538" y="4035716"/>
              <a:ext cx="50019" cy="59363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6" y="3"/>
                </a:cxn>
                <a:cxn ang="0">
                  <a:pos x="9" y="2"/>
                </a:cxn>
                <a:cxn ang="0">
                  <a:pos x="12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6"/>
                </a:cxn>
                <a:cxn ang="0">
                  <a:pos x="17" y="13"/>
                </a:cxn>
                <a:cxn ang="0">
                  <a:pos x="12" y="17"/>
                </a:cxn>
                <a:cxn ang="0">
                  <a:pos x="9" y="19"/>
                </a:cxn>
                <a:cxn ang="0">
                  <a:pos x="8" y="19"/>
                </a:cxn>
                <a:cxn ang="0">
                  <a:pos x="3" y="17"/>
                </a:cxn>
                <a:cxn ang="0">
                  <a:pos x="2" y="13"/>
                </a:cxn>
                <a:cxn ang="0">
                  <a:pos x="3" y="6"/>
                </a:cxn>
              </a:cxnLst>
              <a:rect l="0" t="0" r="r" b="b"/>
              <a:pathLst>
                <a:path w="20" h="21">
                  <a:moveTo>
                    <a:pt x="3" y="6"/>
                  </a:moveTo>
                  <a:cubicBezTo>
                    <a:pt x="6" y="3"/>
                    <a:pt x="5" y="5"/>
                    <a:pt x="6" y="3"/>
                  </a:cubicBezTo>
                  <a:cubicBezTo>
                    <a:pt x="8" y="2"/>
                    <a:pt x="8" y="5"/>
                    <a:pt x="9" y="2"/>
                  </a:cubicBezTo>
                  <a:cubicBezTo>
                    <a:pt x="9" y="0"/>
                    <a:pt x="11" y="3"/>
                    <a:pt x="12" y="2"/>
                  </a:cubicBezTo>
                  <a:cubicBezTo>
                    <a:pt x="14" y="0"/>
                    <a:pt x="15" y="2"/>
                    <a:pt x="17" y="2"/>
                  </a:cubicBezTo>
                  <a:cubicBezTo>
                    <a:pt x="17" y="0"/>
                    <a:pt x="18" y="2"/>
                    <a:pt x="18" y="2"/>
                  </a:cubicBezTo>
                  <a:cubicBezTo>
                    <a:pt x="20" y="2"/>
                    <a:pt x="20" y="5"/>
                    <a:pt x="20" y="6"/>
                  </a:cubicBezTo>
                  <a:cubicBezTo>
                    <a:pt x="18" y="6"/>
                    <a:pt x="17" y="10"/>
                    <a:pt x="17" y="13"/>
                  </a:cubicBezTo>
                  <a:cubicBezTo>
                    <a:pt x="17" y="16"/>
                    <a:pt x="14" y="14"/>
                    <a:pt x="12" y="17"/>
                  </a:cubicBezTo>
                  <a:cubicBezTo>
                    <a:pt x="12" y="19"/>
                    <a:pt x="11" y="17"/>
                    <a:pt x="9" y="19"/>
                  </a:cubicBezTo>
                  <a:cubicBezTo>
                    <a:pt x="9" y="21"/>
                    <a:pt x="8" y="21"/>
                    <a:pt x="8" y="19"/>
                  </a:cubicBezTo>
                  <a:cubicBezTo>
                    <a:pt x="6" y="19"/>
                    <a:pt x="6" y="21"/>
                    <a:pt x="3" y="17"/>
                  </a:cubicBezTo>
                  <a:cubicBezTo>
                    <a:pt x="0" y="16"/>
                    <a:pt x="2" y="16"/>
                    <a:pt x="2" y="13"/>
                  </a:cubicBezTo>
                  <a:cubicBezTo>
                    <a:pt x="0" y="8"/>
                    <a:pt x="3" y="8"/>
                    <a:pt x="3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1" name="Freeform 66"/>
            <p:cNvSpPr>
              <a:spLocks/>
            </p:cNvSpPr>
            <p:nvPr/>
          </p:nvSpPr>
          <p:spPr bwMode="auto">
            <a:xfrm>
              <a:off x="7151430" y="4325291"/>
              <a:ext cx="46069" cy="112933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0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3" y="4"/>
                </a:cxn>
                <a:cxn ang="0">
                  <a:pos x="1" y="0"/>
                </a:cxn>
                <a:cxn ang="0">
                  <a:pos x="7" y="1"/>
                </a:cxn>
                <a:cxn ang="0">
                  <a:pos x="11" y="9"/>
                </a:cxn>
                <a:cxn ang="0">
                  <a:pos x="15" y="18"/>
                </a:cxn>
                <a:cxn ang="0">
                  <a:pos x="17" y="21"/>
                </a:cxn>
                <a:cxn ang="0">
                  <a:pos x="13" y="34"/>
                </a:cxn>
                <a:cxn ang="0">
                  <a:pos x="4" y="37"/>
                </a:cxn>
              </a:cxnLst>
              <a:rect l="0" t="0" r="r" b="b"/>
              <a:pathLst>
                <a:path w="18" h="40">
                  <a:moveTo>
                    <a:pt x="4" y="37"/>
                  </a:moveTo>
                  <a:cubicBezTo>
                    <a:pt x="0" y="32"/>
                    <a:pt x="1" y="23"/>
                    <a:pt x="0" y="18"/>
                  </a:cubicBezTo>
                  <a:cubicBezTo>
                    <a:pt x="0" y="14"/>
                    <a:pt x="1" y="14"/>
                    <a:pt x="1" y="15"/>
                  </a:cubicBezTo>
                  <a:cubicBezTo>
                    <a:pt x="1" y="17"/>
                    <a:pt x="1" y="12"/>
                    <a:pt x="1" y="9"/>
                  </a:cubicBezTo>
                  <a:cubicBezTo>
                    <a:pt x="1" y="8"/>
                    <a:pt x="3" y="8"/>
                    <a:pt x="3" y="4"/>
                  </a:cubicBezTo>
                  <a:cubicBezTo>
                    <a:pt x="3" y="1"/>
                    <a:pt x="1" y="1"/>
                    <a:pt x="1" y="0"/>
                  </a:cubicBezTo>
                  <a:cubicBezTo>
                    <a:pt x="1" y="0"/>
                    <a:pt x="4" y="0"/>
                    <a:pt x="7" y="1"/>
                  </a:cubicBezTo>
                  <a:cubicBezTo>
                    <a:pt x="9" y="4"/>
                    <a:pt x="9" y="6"/>
                    <a:pt x="11" y="9"/>
                  </a:cubicBezTo>
                  <a:cubicBezTo>
                    <a:pt x="13" y="11"/>
                    <a:pt x="13" y="17"/>
                    <a:pt x="15" y="18"/>
                  </a:cubicBezTo>
                  <a:cubicBezTo>
                    <a:pt x="17" y="20"/>
                    <a:pt x="15" y="20"/>
                    <a:pt x="17" y="21"/>
                  </a:cubicBezTo>
                  <a:cubicBezTo>
                    <a:pt x="18" y="25"/>
                    <a:pt x="18" y="32"/>
                    <a:pt x="13" y="34"/>
                  </a:cubicBezTo>
                  <a:cubicBezTo>
                    <a:pt x="11" y="37"/>
                    <a:pt x="7" y="40"/>
                    <a:pt x="4" y="3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2" name="Freeform 67"/>
            <p:cNvSpPr>
              <a:spLocks/>
            </p:cNvSpPr>
            <p:nvPr/>
          </p:nvSpPr>
          <p:spPr bwMode="auto">
            <a:xfrm>
              <a:off x="7404154" y="3789578"/>
              <a:ext cx="184278" cy="535713"/>
            </a:xfrm>
            <a:custGeom>
              <a:avLst/>
              <a:gdLst/>
              <a:ahLst/>
              <a:cxnLst>
                <a:cxn ang="0">
                  <a:pos x="7" y="68"/>
                </a:cxn>
                <a:cxn ang="0">
                  <a:pos x="9" y="52"/>
                </a:cxn>
                <a:cxn ang="0">
                  <a:pos x="16" y="46"/>
                </a:cxn>
                <a:cxn ang="0">
                  <a:pos x="24" y="29"/>
                </a:cxn>
                <a:cxn ang="0">
                  <a:pos x="27" y="20"/>
                </a:cxn>
                <a:cxn ang="0">
                  <a:pos x="38" y="14"/>
                </a:cxn>
                <a:cxn ang="0">
                  <a:pos x="46" y="4"/>
                </a:cxn>
                <a:cxn ang="0">
                  <a:pos x="52" y="15"/>
                </a:cxn>
                <a:cxn ang="0">
                  <a:pos x="52" y="31"/>
                </a:cxn>
                <a:cxn ang="0">
                  <a:pos x="46" y="35"/>
                </a:cxn>
                <a:cxn ang="0">
                  <a:pos x="44" y="48"/>
                </a:cxn>
                <a:cxn ang="0">
                  <a:pos x="52" y="48"/>
                </a:cxn>
                <a:cxn ang="0">
                  <a:pos x="56" y="59"/>
                </a:cxn>
                <a:cxn ang="0">
                  <a:pos x="56" y="66"/>
                </a:cxn>
                <a:cxn ang="0">
                  <a:pos x="62" y="73"/>
                </a:cxn>
                <a:cxn ang="0">
                  <a:pos x="68" y="73"/>
                </a:cxn>
                <a:cxn ang="0">
                  <a:pos x="67" y="79"/>
                </a:cxn>
                <a:cxn ang="0">
                  <a:pos x="59" y="87"/>
                </a:cxn>
                <a:cxn ang="0">
                  <a:pos x="55" y="90"/>
                </a:cxn>
                <a:cxn ang="0">
                  <a:pos x="47" y="93"/>
                </a:cxn>
                <a:cxn ang="0">
                  <a:pos x="44" y="102"/>
                </a:cxn>
                <a:cxn ang="0">
                  <a:pos x="44" y="108"/>
                </a:cxn>
                <a:cxn ang="0">
                  <a:pos x="50" y="121"/>
                </a:cxn>
                <a:cxn ang="0">
                  <a:pos x="52" y="129"/>
                </a:cxn>
                <a:cxn ang="0">
                  <a:pos x="49" y="136"/>
                </a:cxn>
                <a:cxn ang="0">
                  <a:pos x="55" y="158"/>
                </a:cxn>
                <a:cxn ang="0">
                  <a:pos x="59" y="169"/>
                </a:cxn>
                <a:cxn ang="0">
                  <a:pos x="55" y="180"/>
                </a:cxn>
                <a:cxn ang="0">
                  <a:pos x="50" y="188"/>
                </a:cxn>
                <a:cxn ang="0">
                  <a:pos x="52" y="172"/>
                </a:cxn>
                <a:cxn ang="0">
                  <a:pos x="52" y="161"/>
                </a:cxn>
                <a:cxn ang="0">
                  <a:pos x="47" y="149"/>
                </a:cxn>
                <a:cxn ang="0">
                  <a:pos x="42" y="127"/>
                </a:cxn>
                <a:cxn ang="0">
                  <a:pos x="41" y="122"/>
                </a:cxn>
                <a:cxn ang="0">
                  <a:pos x="38" y="115"/>
                </a:cxn>
                <a:cxn ang="0">
                  <a:pos x="24" y="132"/>
                </a:cxn>
                <a:cxn ang="0">
                  <a:pos x="20" y="127"/>
                </a:cxn>
                <a:cxn ang="0">
                  <a:pos x="20" y="116"/>
                </a:cxn>
                <a:cxn ang="0">
                  <a:pos x="13" y="101"/>
                </a:cxn>
                <a:cxn ang="0">
                  <a:pos x="13" y="96"/>
                </a:cxn>
                <a:cxn ang="0">
                  <a:pos x="7" y="90"/>
                </a:cxn>
                <a:cxn ang="0">
                  <a:pos x="0" y="79"/>
                </a:cxn>
              </a:cxnLst>
              <a:rect l="0" t="0" r="r" b="b"/>
              <a:pathLst>
                <a:path w="72" h="191">
                  <a:moveTo>
                    <a:pt x="3" y="69"/>
                  </a:moveTo>
                  <a:cubicBezTo>
                    <a:pt x="6" y="65"/>
                    <a:pt x="4" y="73"/>
                    <a:pt x="7" y="68"/>
                  </a:cubicBezTo>
                  <a:cubicBezTo>
                    <a:pt x="9" y="63"/>
                    <a:pt x="7" y="65"/>
                    <a:pt x="7" y="62"/>
                  </a:cubicBezTo>
                  <a:cubicBezTo>
                    <a:pt x="7" y="54"/>
                    <a:pt x="10" y="65"/>
                    <a:pt x="9" y="52"/>
                  </a:cubicBezTo>
                  <a:cubicBezTo>
                    <a:pt x="9" y="45"/>
                    <a:pt x="9" y="48"/>
                    <a:pt x="12" y="49"/>
                  </a:cubicBezTo>
                  <a:cubicBezTo>
                    <a:pt x="15" y="49"/>
                    <a:pt x="15" y="54"/>
                    <a:pt x="16" y="46"/>
                  </a:cubicBezTo>
                  <a:cubicBezTo>
                    <a:pt x="18" y="40"/>
                    <a:pt x="23" y="40"/>
                    <a:pt x="20" y="37"/>
                  </a:cubicBezTo>
                  <a:cubicBezTo>
                    <a:pt x="18" y="35"/>
                    <a:pt x="21" y="35"/>
                    <a:pt x="24" y="29"/>
                  </a:cubicBezTo>
                  <a:cubicBezTo>
                    <a:pt x="26" y="24"/>
                    <a:pt x="23" y="26"/>
                    <a:pt x="24" y="23"/>
                  </a:cubicBezTo>
                  <a:cubicBezTo>
                    <a:pt x="24" y="20"/>
                    <a:pt x="24" y="23"/>
                    <a:pt x="27" y="20"/>
                  </a:cubicBezTo>
                  <a:cubicBezTo>
                    <a:pt x="30" y="17"/>
                    <a:pt x="35" y="12"/>
                    <a:pt x="38" y="15"/>
                  </a:cubicBezTo>
                  <a:cubicBezTo>
                    <a:pt x="39" y="18"/>
                    <a:pt x="41" y="18"/>
                    <a:pt x="38" y="14"/>
                  </a:cubicBezTo>
                  <a:cubicBezTo>
                    <a:pt x="36" y="11"/>
                    <a:pt x="42" y="11"/>
                    <a:pt x="41" y="6"/>
                  </a:cubicBezTo>
                  <a:cubicBezTo>
                    <a:pt x="42" y="4"/>
                    <a:pt x="41" y="0"/>
                    <a:pt x="46" y="4"/>
                  </a:cubicBezTo>
                  <a:cubicBezTo>
                    <a:pt x="50" y="7"/>
                    <a:pt x="47" y="14"/>
                    <a:pt x="50" y="12"/>
                  </a:cubicBezTo>
                  <a:cubicBezTo>
                    <a:pt x="52" y="11"/>
                    <a:pt x="53" y="14"/>
                    <a:pt x="52" y="15"/>
                  </a:cubicBezTo>
                  <a:cubicBezTo>
                    <a:pt x="50" y="17"/>
                    <a:pt x="53" y="18"/>
                    <a:pt x="52" y="23"/>
                  </a:cubicBezTo>
                  <a:cubicBezTo>
                    <a:pt x="50" y="28"/>
                    <a:pt x="53" y="31"/>
                    <a:pt x="52" y="31"/>
                  </a:cubicBezTo>
                  <a:cubicBezTo>
                    <a:pt x="49" y="31"/>
                    <a:pt x="50" y="34"/>
                    <a:pt x="49" y="32"/>
                  </a:cubicBezTo>
                  <a:cubicBezTo>
                    <a:pt x="47" y="32"/>
                    <a:pt x="49" y="35"/>
                    <a:pt x="46" y="35"/>
                  </a:cubicBezTo>
                  <a:cubicBezTo>
                    <a:pt x="42" y="37"/>
                    <a:pt x="46" y="40"/>
                    <a:pt x="44" y="41"/>
                  </a:cubicBezTo>
                  <a:cubicBezTo>
                    <a:pt x="39" y="43"/>
                    <a:pt x="46" y="46"/>
                    <a:pt x="44" y="48"/>
                  </a:cubicBezTo>
                  <a:cubicBezTo>
                    <a:pt x="42" y="49"/>
                    <a:pt x="42" y="51"/>
                    <a:pt x="46" y="49"/>
                  </a:cubicBezTo>
                  <a:cubicBezTo>
                    <a:pt x="49" y="46"/>
                    <a:pt x="50" y="49"/>
                    <a:pt x="52" y="48"/>
                  </a:cubicBezTo>
                  <a:cubicBezTo>
                    <a:pt x="55" y="46"/>
                    <a:pt x="50" y="49"/>
                    <a:pt x="52" y="52"/>
                  </a:cubicBezTo>
                  <a:cubicBezTo>
                    <a:pt x="53" y="56"/>
                    <a:pt x="52" y="59"/>
                    <a:pt x="56" y="59"/>
                  </a:cubicBezTo>
                  <a:cubicBezTo>
                    <a:pt x="61" y="59"/>
                    <a:pt x="58" y="59"/>
                    <a:pt x="56" y="60"/>
                  </a:cubicBezTo>
                  <a:cubicBezTo>
                    <a:pt x="56" y="63"/>
                    <a:pt x="58" y="62"/>
                    <a:pt x="56" y="66"/>
                  </a:cubicBezTo>
                  <a:cubicBezTo>
                    <a:pt x="55" y="69"/>
                    <a:pt x="59" y="68"/>
                    <a:pt x="61" y="68"/>
                  </a:cubicBezTo>
                  <a:cubicBezTo>
                    <a:pt x="62" y="69"/>
                    <a:pt x="61" y="71"/>
                    <a:pt x="62" y="73"/>
                  </a:cubicBezTo>
                  <a:cubicBezTo>
                    <a:pt x="64" y="73"/>
                    <a:pt x="62" y="76"/>
                    <a:pt x="64" y="74"/>
                  </a:cubicBezTo>
                  <a:cubicBezTo>
                    <a:pt x="65" y="74"/>
                    <a:pt x="65" y="77"/>
                    <a:pt x="68" y="73"/>
                  </a:cubicBezTo>
                  <a:cubicBezTo>
                    <a:pt x="72" y="69"/>
                    <a:pt x="72" y="73"/>
                    <a:pt x="72" y="74"/>
                  </a:cubicBezTo>
                  <a:cubicBezTo>
                    <a:pt x="70" y="76"/>
                    <a:pt x="67" y="74"/>
                    <a:pt x="67" y="79"/>
                  </a:cubicBezTo>
                  <a:cubicBezTo>
                    <a:pt x="65" y="84"/>
                    <a:pt x="64" y="79"/>
                    <a:pt x="64" y="85"/>
                  </a:cubicBezTo>
                  <a:cubicBezTo>
                    <a:pt x="61" y="85"/>
                    <a:pt x="62" y="87"/>
                    <a:pt x="59" y="87"/>
                  </a:cubicBezTo>
                  <a:cubicBezTo>
                    <a:pt x="56" y="85"/>
                    <a:pt x="59" y="88"/>
                    <a:pt x="58" y="88"/>
                  </a:cubicBezTo>
                  <a:cubicBezTo>
                    <a:pt x="56" y="90"/>
                    <a:pt x="56" y="87"/>
                    <a:pt x="55" y="90"/>
                  </a:cubicBezTo>
                  <a:cubicBezTo>
                    <a:pt x="55" y="93"/>
                    <a:pt x="53" y="91"/>
                    <a:pt x="50" y="93"/>
                  </a:cubicBezTo>
                  <a:cubicBezTo>
                    <a:pt x="47" y="94"/>
                    <a:pt x="47" y="90"/>
                    <a:pt x="47" y="93"/>
                  </a:cubicBezTo>
                  <a:cubicBezTo>
                    <a:pt x="46" y="96"/>
                    <a:pt x="44" y="94"/>
                    <a:pt x="46" y="97"/>
                  </a:cubicBezTo>
                  <a:cubicBezTo>
                    <a:pt x="47" y="101"/>
                    <a:pt x="42" y="97"/>
                    <a:pt x="44" y="102"/>
                  </a:cubicBezTo>
                  <a:cubicBezTo>
                    <a:pt x="46" y="107"/>
                    <a:pt x="41" y="102"/>
                    <a:pt x="41" y="105"/>
                  </a:cubicBezTo>
                  <a:cubicBezTo>
                    <a:pt x="42" y="108"/>
                    <a:pt x="44" y="104"/>
                    <a:pt x="44" y="108"/>
                  </a:cubicBezTo>
                  <a:cubicBezTo>
                    <a:pt x="44" y="113"/>
                    <a:pt x="46" y="115"/>
                    <a:pt x="49" y="118"/>
                  </a:cubicBezTo>
                  <a:cubicBezTo>
                    <a:pt x="50" y="121"/>
                    <a:pt x="50" y="118"/>
                    <a:pt x="50" y="121"/>
                  </a:cubicBezTo>
                  <a:cubicBezTo>
                    <a:pt x="50" y="124"/>
                    <a:pt x="52" y="127"/>
                    <a:pt x="52" y="127"/>
                  </a:cubicBezTo>
                  <a:cubicBezTo>
                    <a:pt x="55" y="122"/>
                    <a:pt x="55" y="129"/>
                    <a:pt x="52" y="129"/>
                  </a:cubicBezTo>
                  <a:cubicBezTo>
                    <a:pt x="50" y="129"/>
                    <a:pt x="52" y="136"/>
                    <a:pt x="50" y="136"/>
                  </a:cubicBezTo>
                  <a:cubicBezTo>
                    <a:pt x="49" y="135"/>
                    <a:pt x="50" y="138"/>
                    <a:pt x="49" y="136"/>
                  </a:cubicBezTo>
                  <a:cubicBezTo>
                    <a:pt x="47" y="136"/>
                    <a:pt x="47" y="141"/>
                    <a:pt x="52" y="146"/>
                  </a:cubicBezTo>
                  <a:cubicBezTo>
                    <a:pt x="56" y="150"/>
                    <a:pt x="58" y="153"/>
                    <a:pt x="55" y="158"/>
                  </a:cubicBezTo>
                  <a:cubicBezTo>
                    <a:pt x="58" y="163"/>
                    <a:pt x="58" y="166"/>
                    <a:pt x="58" y="167"/>
                  </a:cubicBezTo>
                  <a:cubicBezTo>
                    <a:pt x="58" y="169"/>
                    <a:pt x="59" y="167"/>
                    <a:pt x="59" y="169"/>
                  </a:cubicBezTo>
                  <a:cubicBezTo>
                    <a:pt x="59" y="172"/>
                    <a:pt x="61" y="170"/>
                    <a:pt x="59" y="172"/>
                  </a:cubicBezTo>
                  <a:cubicBezTo>
                    <a:pt x="56" y="175"/>
                    <a:pt x="58" y="175"/>
                    <a:pt x="55" y="180"/>
                  </a:cubicBezTo>
                  <a:cubicBezTo>
                    <a:pt x="52" y="183"/>
                    <a:pt x="53" y="183"/>
                    <a:pt x="52" y="186"/>
                  </a:cubicBezTo>
                  <a:cubicBezTo>
                    <a:pt x="52" y="189"/>
                    <a:pt x="50" y="191"/>
                    <a:pt x="50" y="188"/>
                  </a:cubicBezTo>
                  <a:cubicBezTo>
                    <a:pt x="50" y="178"/>
                    <a:pt x="52" y="181"/>
                    <a:pt x="52" y="178"/>
                  </a:cubicBezTo>
                  <a:cubicBezTo>
                    <a:pt x="52" y="175"/>
                    <a:pt x="55" y="172"/>
                    <a:pt x="52" y="172"/>
                  </a:cubicBezTo>
                  <a:cubicBezTo>
                    <a:pt x="49" y="172"/>
                    <a:pt x="53" y="169"/>
                    <a:pt x="52" y="167"/>
                  </a:cubicBezTo>
                  <a:cubicBezTo>
                    <a:pt x="50" y="166"/>
                    <a:pt x="52" y="164"/>
                    <a:pt x="52" y="161"/>
                  </a:cubicBezTo>
                  <a:cubicBezTo>
                    <a:pt x="50" y="160"/>
                    <a:pt x="50" y="157"/>
                    <a:pt x="49" y="153"/>
                  </a:cubicBezTo>
                  <a:cubicBezTo>
                    <a:pt x="47" y="149"/>
                    <a:pt x="47" y="158"/>
                    <a:pt x="47" y="149"/>
                  </a:cubicBezTo>
                  <a:cubicBezTo>
                    <a:pt x="47" y="146"/>
                    <a:pt x="44" y="144"/>
                    <a:pt x="44" y="136"/>
                  </a:cubicBezTo>
                  <a:cubicBezTo>
                    <a:pt x="44" y="130"/>
                    <a:pt x="42" y="130"/>
                    <a:pt x="42" y="127"/>
                  </a:cubicBezTo>
                  <a:cubicBezTo>
                    <a:pt x="42" y="125"/>
                    <a:pt x="46" y="124"/>
                    <a:pt x="44" y="124"/>
                  </a:cubicBezTo>
                  <a:cubicBezTo>
                    <a:pt x="42" y="124"/>
                    <a:pt x="41" y="125"/>
                    <a:pt x="41" y="122"/>
                  </a:cubicBezTo>
                  <a:cubicBezTo>
                    <a:pt x="39" y="118"/>
                    <a:pt x="39" y="119"/>
                    <a:pt x="39" y="118"/>
                  </a:cubicBezTo>
                  <a:cubicBezTo>
                    <a:pt x="39" y="116"/>
                    <a:pt x="38" y="116"/>
                    <a:pt x="38" y="115"/>
                  </a:cubicBezTo>
                  <a:cubicBezTo>
                    <a:pt x="39" y="122"/>
                    <a:pt x="35" y="124"/>
                    <a:pt x="32" y="125"/>
                  </a:cubicBezTo>
                  <a:cubicBezTo>
                    <a:pt x="27" y="127"/>
                    <a:pt x="27" y="135"/>
                    <a:pt x="24" y="132"/>
                  </a:cubicBezTo>
                  <a:cubicBezTo>
                    <a:pt x="21" y="129"/>
                    <a:pt x="23" y="133"/>
                    <a:pt x="20" y="130"/>
                  </a:cubicBezTo>
                  <a:cubicBezTo>
                    <a:pt x="18" y="129"/>
                    <a:pt x="21" y="127"/>
                    <a:pt x="20" y="127"/>
                  </a:cubicBezTo>
                  <a:cubicBezTo>
                    <a:pt x="18" y="125"/>
                    <a:pt x="18" y="130"/>
                    <a:pt x="16" y="130"/>
                  </a:cubicBezTo>
                  <a:cubicBezTo>
                    <a:pt x="15" y="130"/>
                    <a:pt x="18" y="122"/>
                    <a:pt x="20" y="116"/>
                  </a:cubicBezTo>
                  <a:cubicBezTo>
                    <a:pt x="21" y="111"/>
                    <a:pt x="16" y="105"/>
                    <a:pt x="15" y="101"/>
                  </a:cubicBezTo>
                  <a:cubicBezTo>
                    <a:pt x="15" y="96"/>
                    <a:pt x="13" y="99"/>
                    <a:pt x="13" y="101"/>
                  </a:cubicBezTo>
                  <a:cubicBezTo>
                    <a:pt x="13" y="102"/>
                    <a:pt x="9" y="97"/>
                    <a:pt x="10" y="96"/>
                  </a:cubicBezTo>
                  <a:cubicBezTo>
                    <a:pt x="12" y="94"/>
                    <a:pt x="12" y="97"/>
                    <a:pt x="13" y="96"/>
                  </a:cubicBezTo>
                  <a:cubicBezTo>
                    <a:pt x="16" y="94"/>
                    <a:pt x="13" y="94"/>
                    <a:pt x="12" y="93"/>
                  </a:cubicBezTo>
                  <a:cubicBezTo>
                    <a:pt x="10" y="90"/>
                    <a:pt x="9" y="87"/>
                    <a:pt x="7" y="90"/>
                  </a:cubicBezTo>
                  <a:cubicBezTo>
                    <a:pt x="7" y="93"/>
                    <a:pt x="7" y="90"/>
                    <a:pt x="4" y="87"/>
                  </a:cubicBezTo>
                  <a:cubicBezTo>
                    <a:pt x="1" y="84"/>
                    <a:pt x="1" y="79"/>
                    <a:pt x="0" y="79"/>
                  </a:cubicBezTo>
                  <a:cubicBezTo>
                    <a:pt x="0" y="68"/>
                    <a:pt x="4" y="85"/>
                    <a:pt x="3" y="6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" name="Freeform 68"/>
            <p:cNvSpPr>
              <a:spLocks/>
            </p:cNvSpPr>
            <p:nvPr/>
          </p:nvSpPr>
          <p:spPr bwMode="auto">
            <a:xfrm>
              <a:off x="7509456" y="4028477"/>
              <a:ext cx="171115" cy="415539"/>
            </a:xfrm>
            <a:custGeom>
              <a:avLst/>
              <a:gdLst/>
              <a:ahLst/>
              <a:cxnLst>
                <a:cxn ang="0">
                  <a:pos x="41" y="82"/>
                </a:cxn>
                <a:cxn ang="0">
                  <a:pos x="32" y="78"/>
                </a:cxn>
                <a:cxn ang="0">
                  <a:pos x="26" y="69"/>
                </a:cxn>
                <a:cxn ang="0">
                  <a:pos x="18" y="89"/>
                </a:cxn>
                <a:cxn ang="0">
                  <a:pos x="15" y="110"/>
                </a:cxn>
                <a:cxn ang="0">
                  <a:pos x="23" y="120"/>
                </a:cxn>
                <a:cxn ang="0">
                  <a:pos x="34" y="135"/>
                </a:cxn>
                <a:cxn ang="0">
                  <a:pos x="35" y="145"/>
                </a:cxn>
                <a:cxn ang="0">
                  <a:pos x="30" y="142"/>
                </a:cxn>
                <a:cxn ang="0">
                  <a:pos x="24" y="137"/>
                </a:cxn>
                <a:cxn ang="0">
                  <a:pos x="20" y="135"/>
                </a:cxn>
                <a:cxn ang="0">
                  <a:pos x="15" y="129"/>
                </a:cxn>
                <a:cxn ang="0">
                  <a:pos x="8" y="121"/>
                </a:cxn>
                <a:cxn ang="0">
                  <a:pos x="9" y="109"/>
                </a:cxn>
                <a:cxn ang="0">
                  <a:pos x="11" y="101"/>
                </a:cxn>
                <a:cxn ang="0">
                  <a:pos x="18" y="87"/>
                </a:cxn>
                <a:cxn ang="0">
                  <a:pos x="17" y="82"/>
                </a:cxn>
                <a:cxn ang="0">
                  <a:pos x="11" y="61"/>
                </a:cxn>
                <a:cxn ang="0">
                  <a:pos x="9" y="51"/>
                </a:cxn>
                <a:cxn ang="0">
                  <a:pos x="11" y="42"/>
                </a:cxn>
                <a:cxn ang="0">
                  <a:pos x="8" y="33"/>
                </a:cxn>
                <a:cxn ang="0">
                  <a:pos x="0" y="20"/>
                </a:cxn>
                <a:cxn ang="0">
                  <a:pos x="5" y="13"/>
                </a:cxn>
                <a:cxn ang="0">
                  <a:pos x="9" y="8"/>
                </a:cxn>
                <a:cxn ang="0">
                  <a:pos x="17" y="3"/>
                </a:cxn>
                <a:cxn ang="0">
                  <a:pos x="23" y="0"/>
                </a:cxn>
                <a:cxn ang="0">
                  <a:pos x="26" y="9"/>
                </a:cxn>
                <a:cxn ang="0">
                  <a:pos x="32" y="13"/>
                </a:cxn>
                <a:cxn ang="0">
                  <a:pos x="29" y="30"/>
                </a:cxn>
                <a:cxn ang="0">
                  <a:pos x="41" y="25"/>
                </a:cxn>
                <a:cxn ang="0">
                  <a:pos x="50" y="20"/>
                </a:cxn>
                <a:cxn ang="0">
                  <a:pos x="59" y="36"/>
                </a:cxn>
                <a:cxn ang="0">
                  <a:pos x="65" y="56"/>
                </a:cxn>
                <a:cxn ang="0">
                  <a:pos x="58" y="61"/>
                </a:cxn>
                <a:cxn ang="0">
                  <a:pos x="41" y="69"/>
                </a:cxn>
                <a:cxn ang="0">
                  <a:pos x="43" y="79"/>
                </a:cxn>
              </a:cxnLst>
              <a:rect l="0" t="0" r="r" b="b"/>
              <a:pathLst>
                <a:path w="67" h="148">
                  <a:moveTo>
                    <a:pt x="44" y="87"/>
                  </a:moveTo>
                  <a:cubicBezTo>
                    <a:pt x="43" y="87"/>
                    <a:pt x="44" y="84"/>
                    <a:pt x="41" y="82"/>
                  </a:cubicBezTo>
                  <a:cubicBezTo>
                    <a:pt x="40" y="82"/>
                    <a:pt x="38" y="79"/>
                    <a:pt x="35" y="78"/>
                  </a:cubicBezTo>
                  <a:cubicBezTo>
                    <a:pt x="34" y="76"/>
                    <a:pt x="34" y="79"/>
                    <a:pt x="32" y="78"/>
                  </a:cubicBezTo>
                  <a:cubicBezTo>
                    <a:pt x="29" y="76"/>
                    <a:pt x="27" y="81"/>
                    <a:pt x="27" y="76"/>
                  </a:cubicBezTo>
                  <a:cubicBezTo>
                    <a:pt x="29" y="70"/>
                    <a:pt x="30" y="69"/>
                    <a:pt x="26" y="69"/>
                  </a:cubicBezTo>
                  <a:cubicBezTo>
                    <a:pt x="21" y="69"/>
                    <a:pt x="20" y="72"/>
                    <a:pt x="21" y="73"/>
                  </a:cubicBezTo>
                  <a:cubicBezTo>
                    <a:pt x="23" y="73"/>
                    <a:pt x="20" y="86"/>
                    <a:pt x="18" y="89"/>
                  </a:cubicBezTo>
                  <a:cubicBezTo>
                    <a:pt x="18" y="90"/>
                    <a:pt x="18" y="95"/>
                    <a:pt x="17" y="96"/>
                  </a:cubicBezTo>
                  <a:cubicBezTo>
                    <a:pt x="14" y="100"/>
                    <a:pt x="15" y="109"/>
                    <a:pt x="15" y="110"/>
                  </a:cubicBezTo>
                  <a:cubicBezTo>
                    <a:pt x="15" y="115"/>
                    <a:pt x="20" y="109"/>
                    <a:pt x="20" y="112"/>
                  </a:cubicBezTo>
                  <a:cubicBezTo>
                    <a:pt x="20" y="115"/>
                    <a:pt x="21" y="120"/>
                    <a:pt x="23" y="120"/>
                  </a:cubicBezTo>
                  <a:cubicBezTo>
                    <a:pt x="24" y="118"/>
                    <a:pt x="24" y="129"/>
                    <a:pt x="27" y="132"/>
                  </a:cubicBezTo>
                  <a:cubicBezTo>
                    <a:pt x="32" y="138"/>
                    <a:pt x="30" y="132"/>
                    <a:pt x="34" y="135"/>
                  </a:cubicBezTo>
                  <a:cubicBezTo>
                    <a:pt x="37" y="138"/>
                    <a:pt x="37" y="140"/>
                    <a:pt x="38" y="142"/>
                  </a:cubicBezTo>
                  <a:cubicBezTo>
                    <a:pt x="37" y="146"/>
                    <a:pt x="37" y="146"/>
                    <a:pt x="35" y="145"/>
                  </a:cubicBezTo>
                  <a:cubicBezTo>
                    <a:pt x="32" y="142"/>
                    <a:pt x="32" y="148"/>
                    <a:pt x="30" y="146"/>
                  </a:cubicBezTo>
                  <a:cubicBezTo>
                    <a:pt x="29" y="145"/>
                    <a:pt x="30" y="143"/>
                    <a:pt x="30" y="142"/>
                  </a:cubicBezTo>
                  <a:cubicBezTo>
                    <a:pt x="30" y="138"/>
                    <a:pt x="29" y="142"/>
                    <a:pt x="27" y="140"/>
                  </a:cubicBezTo>
                  <a:cubicBezTo>
                    <a:pt x="27" y="137"/>
                    <a:pt x="26" y="138"/>
                    <a:pt x="24" y="137"/>
                  </a:cubicBezTo>
                  <a:cubicBezTo>
                    <a:pt x="23" y="135"/>
                    <a:pt x="23" y="135"/>
                    <a:pt x="23" y="138"/>
                  </a:cubicBezTo>
                  <a:cubicBezTo>
                    <a:pt x="21" y="137"/>
                    <a:pt x="21" y="137"/>
                    <a:pt x="20" y="135"/>
                  </a:cubicBezTo>
                  <a:cubicBezTo>
                    <a:pt x="18" y="134"/>
                    <a:pt x="18" y="132"/>
                    <a:pt x="18" y="131"/>
                  </a:cubicBezTo>
                  <a:cubicBezTo>
                    <a:pt x="18" y="131"/>
                    <a:pt x="17" y="132"/>
                    <a:pt x="15" y="129"/>
                  </a:cubicBezTo>
                  <a:cubicBezTo>
                    <a:pt x="12" y="126"/>
                    <a:pt x="12" y="121"/>
                    <a:pt x="11" y="120"/>
                  </a:cubicBezTo>
                  <a:cubicBezTo>
                    <a:pt x="9" y="120"/>
                    <a:pt x="9" y="124"/>
                    <a:pt x="8" y="121"/>
                  </a:cubicBezTo>
                  <a:cubicBezTo>
                    <a:pt x="8" y="121"/>
                    <a:pt x="6" y="118"/>
                    <a:pt x="8" y="115"/>
                  </a:cubicBezTo>
                  <a:cubicBezTo>
                    <a:pt x="9" y="112"/>
                    <a:pt x="8" y="114"/>
                    <a:pt x="9" y="109"/>
                  </a:cubicBezTo>
                  <a:cubicBezTo>
                    <a:pt x="11" y="107"/>
                    <a:pt x="8" y="109"/>
                    <a:pt x="9" y="106"/>
                  </a:cubicBezTo>
                  <a:cubicBezTo>
                    <a:pt x="11" y="103"/>
                    <a:pt x="12" y="103"/>
                    <a:pt x="11" y="101"/>
                  </a:cubicBezTo>
                  <a:cubicBezTo>
                    <a:pt x="12" y="98"/>
                    <a:pt x="11" y="98"/>
                    <a:pt x="14" y="95"/>
                  </a:cubicBezTo>
                  <a:cubicBezTo>
                    <a:pt x="17" y="90"/>
                    <a:pt x="15" y="90"/>
                    <a:pt x="18" y="87"/>
                  </a:cubicBezTo>
                  <a:cubicBezTo>
                    <a:pt x="20" y="86"/>
                    <a:pt x="18" y="87"/>
                    <a:pt x="18" y="84"/>
                  </a:cubicBezTo>
                  <a:cubicBezTo>
                    <a:pt x="18" y="82"/>
                    <a:pt x="17" y="84"/>
                    <a:pt x="17" y="82"/>
                  </a:cubicBezTo>
                  <a:cubicBezTo>
                    <a:pt x="17" y="81"/>
                    <a:pt x="17" y="78"/>
                    <a:pt x="14" y="73"/>
                  </a:cubicBezTo>
                  <a:cubicBezTo>
                    <a:pt x="17" y="69"/>
                    <a:pt x="15" y="65"/>
                    <a:pt x="11" y="61"/>
                  </a:cubicBezTo>
                  <a:cubicBezTo>
                    <a:pt x="6" y="56"/>
                    <a:pt x="6" y="51"/>
                    <a:pt x="8" y="51"/>
                  </a:cubicBezTo>
                  <a:cubicBezTo>
                    <a:pt x="9" y="53"/>
                    <a:pt x="8" y="50"/>
                    <a:pt x="9" y="51"/>
                  </a:cubicBezTo>
                  <a:cubicBezTo>
                    <a:pt x="11" y="51"/>
                    <a:pt x="9" y="44"/>
                    <a:pt x="11" y="44"/>
                  </a:cubicBezTo>
                  <a:cubicBezTo>
                    <a:pt x="14" y="44"/>
                    <a:pt x="14" y="37"/>
                    <a:pt x="11" y="42"/>
                  </a:cubicBezTo>
                  <a:cubicBezTo>
                    <a:pt x="11" y="42"/>
                    <a:pt x="9" y="39"/>
                    <a:pt x="9" y="36"/>
                  </a:cubicBezTo>
                  <a:cubicBezTo>
                    <a:pt x="9" y="33"/>
                    <a:pt x="9" y="36"/>
                    <a:pt x="8" y="33"/>
                  </a:cubicBezTo>
                  <a:cubicBezTo>
                    <a:pt x="5" y="30"/>
                    <a:pt x="3" y="28"/>
                    <a:pt x="3" y="23"/>
                  </a:cubicBezTo>
                  <a:cubicBezTo>
                    <a:pt x="3" y="19"/>
                    <a:pt x="2" y="23"/>
                    <a:pt x="0" y="20"/>
                  </a:cubicBezTo>
                  <a:cubicBezTo>
                    <a:pt x="0" y="17"/>
                    <a:pt x="5" y="22"/>
                    <a:pt x="3" y="17"/>
                  </a:cubicBezTo>
                  <a:cubicBezTo>
                    <a:pt x="2" y="13"/>
                    <a:pt x="6" y="16"/>
                    <a:pt x="5" y="13"/>
                  </a:cubicBezTo>
                  <a:cubicBezTo>
                    <a:pt x="3" y="9"/>
                    <a:pt x="5" y="11"/>
                    <a:pt x="6" y="8"/>
                  </a:cubicBezTo>
                  <a:cubicBezTo>
                    <a:pt x="6" y="5"/>
                    <a:pt x="6" y="9"/>
                    <a:pt x="9" y="8"/>
                  </a:cubicBezTo>
                  <a:cubicBezTo>
                    <a:pt x="12" y="6"/>
                    <a:pt x="14" y="8"/>
                    <a:pt x="14" y="5"/>
                  </a:cubicBezTo>
                  <a:cubicBezTo>
                    <a:pt x="15" y="2"/>
                    <a:pt x="15" y="5"/>
                    <a:pt x="17" y="3"/>
                  </a:cubicBezTo>
                  <a:cubicBezTo>
                    <a:pt x="18" y="3"/>
                    <a:pt x="15" y="0"/>
                    <a:pt x="18" y="2"/>
                  </a:cubicBezTo>
                  <a:cubicBezTo>
                    <a:pt x="21" y="2"/>
                    <a:pt x="20" y="0"/>
                    <a:pt x="23" y="0"/>
                  </a:cubicBezTo>
                  <a:cubicBezTo>
                    <a:pt x="23" y="3"/>
                    <a:pt x="23" y="0"/>
                    <a:pt x="24" y="2"/>
                  </a:cubicBezTo>
                  <a:cubicBezTo>
                    <a:pt x="27" y="5"/>
                    <a:pt x="23" y="9"/>
                    <a:pt x="26" y="9"/>
                  </a:cubicBezTo>
                  <a:cubicBezTo>
                    <a:pt x="29" y="9"/>
                    <a:pt x="27" y="8"/>
                    <a:pt x="30" y="8"/>
                  </a:cubicBezTo>
                  <a:cubicBezTo>
                    <a:pt x="34" y="9"/>
                    <a:pt x="30" y="11"/>
                    <a:pt x="32" y="13"/>
                  </a:cubicBezTo>
                  <a:cubicBezTo>
                    <a:pt x="34" y="16"/>
                    <a:pt x="29" y="20"/>
                    <a:pt x="30" y="22"/>
                  </a:cubicBezTo>
                  <a:cubicBezTo>
                    <a:pt x="32" y="23"/>
                    <a:pt x="27" y="28"/>
                    <a:pt x="29" y="30"/>
                  </a:cubicBezTo>
                  <a:cubicBezTo>
                    <a:pt x="30" y="30"/>
                    <a:pt x="30" y="30"/>
                    <a:pt x="35" y="25"/>
                  </a:cubicBezTo>
                  <a:cubicBezTo>
                    <a:pt x="40" y="20"/>
                    <a:pt x="38" y="25"/>
                    <a:pt x="41" y="25"/>
                  </a:cubicBezTo>
                  <a:cubicBezTo>
                    <a:pt x="43" y="25"/>
                    <a:pt x="41" y="26"/>
                    <a:pt x="43" y="25"/>
                  </a:cubicBezTo>
                  <a:cubicBezTo>
                    <a:pt x="47" y="23"/>
                    <a:pt x="46" y="19"/>
                    <a:pt x="50" y="20"/>
                  </a:cubicBezTo>
                  <a:cubicBezTo>
                    <a:pt x="53" y="22"/>
                    <a:pt x="53" y="20"/>
                    <a:pt x="55" y="23"/>
                  </a:cubicBezTo>
                  <a:cubicBezTo>
                    <a:pt x="56" y="30"/>
                    <a:pt x="61" y="28"/>
                    <a:pt x="59" y="36"/>
                  </a:cubicBezTo>
                  <a:cubicBezTo>
                    <a:pt x="58" y="44"/>
                    <a:pt x="64" y="44"/>
                    <a:pt x="64" y="45"/>
                  </a:cubicBezTo>
                  <a:cubicBezTo>
                    <a:pt x="64" y="47"/>
                    <a:pt x="67" y="47"/>
                    <a:pt x="65" y="56"/>
                  </a:cubicBezTo>
                  <a:cubicBezTo>
                    <a:pt x="65" y="58"/>
                    <a:pt x="67" y="59"/>
                    <a:pt x="62" y="61"/>
                  </a:cubicBezTo>
                  <a:cubicBezTo>
                    <a:pt x="61" y="62"/>
                    <a:pt x="62" y="59"/>
                    <a:pt x="58" y="61"/>
                  </a:cubicBezTo>
                  <a:cubicBezTo>
                    <a:pt x="53" y="61"/>
                    <a:pt x="46" y="59"/>
                    <a:pt x="44" y="64"/>
                  </a:cubicBezTo>
                  <a:cubicBezTo>
                    <a:pt x="43" y="69"/>
                    <a:pt x="41" y="67"/>
                    <a:pt x="41" y="69"/>
                  </a:cubicBezTo>
                  <a:cubicBezTo>
                    <a:pt x="41" y="70"/>
                    <a:pt x="38" y="67"/>
                    <a:pt x="40" y="72"/>
                  </a:cubicBezTo>
                  <a:cubicBezTo>
                    <a:pt x="43" y="76"/>
                    <a:pt x="40" y="78"/>
                    <a:pt x="43" y="79"/>
                  </a:cubicBezTo>
                  <a:cubicBezTo>
                    <a:pt x="44" y="81"/>
                    <a:pt x="41" y="82"/>
                    <a:pt x="44" y="8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4" name="Freeform 69"/>
            <p:cNvSpPr>
              <a:spLocks/>
            </p:cNvSpPr>
            <p:nvPr/>
          </p:nvSpPr>
          <p:spPr bwMode="auto">
            <a:xfrm>
              <a:off x="7412052" y="4221044"/>
              <a:ext cx="13163" cy="65154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6"/>
                </a:cxn>
                <a:cxn ang="0">
                  <a:pos x="3" y="11"/>
                </a:cxn>
                <a:cxn ang="0">
                  <a:pos x="3" y="15"/>
                </a:cxn>
                <a:cxn ang="0">
                  <a:pos x="1" y="20"/>
                </a:cxn>
                <a:cxn ang="0">
                  <a:pos x="1" y="9"/>
                </a:cxn>
                <a:cxn ang="0">
                  <a:pos x="3" y="0"/>
                </a:cxn>
              </a:cxnLst>
              <a:rect l="0" t="0" r="r" b="b"/>
              <a:pathLst>
                <a:path w="5" h="23">
                  <a:moveTo>
                    <a:pt x="3" y="0"/>
                  </a:moveTo>
                  <a:cubicBezTo>
                    <a:pt x="5" y="1"/>
                    <a:pt x="5" y="4"/>
                    <a:pt x="3" y="6"/>
                  </a:cubicBezTo>
                  <a:cubicBezTo>
                    <a:pt x="3" y="6"/>
                    <a:pt x="5" y="11"/>
                    <a:pt x="3" y="11"/>
                  </a:cubicBezTo>
                  <a:cubicBezTo>
                    <a:pt x="1" y="12"/>
                    <a:pt x="3" y="12"/>
                    <a:pt x="3" y="15"/>
                  </a:cubicBezTo>
                  <a:cubicBezTo>
                    <a:pt x="1" y="17"/>
                    <a:pt x="1" y="23"/>
                    <a:pt x="1" y="20"/>
                  </a:cubicBezTo>
                  <a:cubicBezTo>
                    <a:pt x="0" y="15"/>
                    <a:pt x="1" y="17"/>
                    <a:pt x="1" y="9"/>
                  </a:cubicBezTo>
                  <a:cubicBezTo>
                    <a:pt x="1" y="3"/>
                    <a:pt x="3" y="0"/>
                    <a:pt x="3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5" name="Freeform 70"/>
            <p:cNvSpPr>
              <a:spLocks/>
            </p:cNvSpPr>
            <p:nvPr/>
          </p:nvSpPr>
          <p:spPr bwMode="auto">
            <a:xfrm>
              <a:off x="7406788" y="4294886"/>
              <a:ext cx="7898" cy="14479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5"/>
                </a:cxn>
                <a:cxn ang="0">
                  <a:pos x="2" y="0"/>
                </a:cxn>
              </a:cxnLst>
              <a:rect l="0" t="0" r="r" b="b"/>
              <a:pathLst>
                <a:path w="3" h="5">
                  <a:moveTo>
                    <a:pt x="2" y="0"/>
                  </a:moveTo>
                  <a:cubicBezTo>
                    <a:pt x="3" y="0"/>
                    <a:pt x="2" y="5"/>
                    <a:pt x="0" y="5"/>
                  </a:cubicBezTo>
                  <a:cubicBezTo>
                    <a:pt x="0" y="3"/>
                    <a:pt x="0" y="0"/>
                    <a:pt x="2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6" name="Freeform 71"/>
            <p:cNvSpPr>
              <a:spLocks/>
            </p:cNvSpPr>
            <p:nvPr/>
          </p:nvSpPr>
          <p:spPr bwMode="auto">
            <a:xfrm>
              <a:off x="7433113" y="4396236"/>
              <a:ext cx="10530" cy="15926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3" y="4"/>
                </a:cxn>
                <a:cxn ang="0">
                  <a:pos x="1" y="1"/>
                </a:cxn>
              </a:cxnLst>
              <a:rect l="0" t="0" r="r" b="b"/>
              <a:pathLst>
                <a:path w="4" h="6">
                  <a:moveTo>
                    <a:pt x="1" y="1"/>
                  </a:moveTo>
                  <a:cubicBezTo>
                    <a:pt x="3" y="0"/>
                    <a:pt x="4" y="3"/>
                    <a:pt x="3" y="4"/>
                  </a:cubicBezTo>
                  <a:cubicBezTo>
                    <a:pt x="1" y="6"/>
                    <a:pt x="0" y="1"/>
                    <a:pt x="1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7" name="Freeform 72"/>
            <p:cNvSpPr>
              <a:spLocks/>
            </p:cNvSpPr>
            <p:nvPr/>
          </p:nvSpPr>
          <p:spPr bwMode="auto">
            <a:xfrm>
              <a:off x="7412052" y="4336873"/>
              <a:ext cx="7898" cy="11583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4"/>
                </a:cxn>
                <a:cxn ang="0">
                  <a:pos x="1" y="0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1" y="0"/>
                    <a:pt x="3" y="2"/>
                    <a:pt x="1" y="4"/>
                  </a:cubicBezTo>
                  <a:cubicBezTo>
                    <a:pt x="1" y="4"/>
                    <a:pt x="0" y="2"/>
                    <a:pt x="1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8" name="Freeform 73"/>
            <p:cNvSpPr>
              <a:spLocks/>
            </p:cNvSpPr>
            <p:nvPr/>
          </p:nvSpPr>
          <p:spPr bwMode="auto">
            <a:xfrm>
              <a:off x="7427847" y="4373070"/>
              <a:ext cx="5265" cy="5791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0"/>
                </a:cxn>
                <a:cxn ang="0">
                  <a:pos x="0" y="2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0"/>
                    <a:pt x="2" y="0"/>
                  </a:cubicBezTo>
                  <a:cubicBezTo>
                    <a:pt x="2" y="2"/>
                    <a:pt x="2" y="2"/>
                    <a:pt x="0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9" name="Freeform 74"/>
            <p:cNvSpPr>
              <a:spLocks/>
            </p:cNvSpPr>
            <p:nvPr/>
          </p:nvSpPr>
          <p:spPr bwMode="auto">
            <a:xfrm>
              <a:off x="7606861" y="3940157"/>
              <a:ext cx="150055" cy="427122"/>
            </a:xfrm>
            <a:custGeom>
              <a:avLst/>
              <a:gdLst/>
              <a:ahLst/>
              <a:cxnLst>
                <a:cxn ang="0">
                  <a:pos x="41" y="25"/>
                </a:cxn>
                <a:cxn ang="0">
                  <a:pos x="34" y="34"/>
                </a:cxn>
                <a:cxn ang="0">
                  <a:pos x="35" y="56"/>
                </a:cxn>
                <a:cxn ang="0">
                  <a:pos x="49" y="76"/>
                </a:cxn>
                <a:cxn ang="0">
                  <a:pos x="56" y="104"/>
                </a:cxn>
                <a:cxn ang="0">
                  <a:pos x="56" y="118"/>
                </a:cxn>
                <a:cxn ang="0">
                  <a:pos x="38" y="129"/>
                </a:cxn>
                <a:cxn ang="0">
                  <a:pos x="32" y="141"/>
                </a:cxn>
                <a:cxn ang="0">
                  <a:pos x="21" y="143"/>
                </a:cxn>
                <a:cxn ang="0">
                  <a:pos x="18" y="130"/>
                </a:cxn>
                <a:cxn ang="0">
                  <a:pos x="24" y="126"/>
                </a:cxn>
                <a:cxn ang="0">
                  <a:pos x="31" y="124"/>
                </a:cxn>
                <a:cxn ang="0">
                  <a:pos x="34" y="118"/>
                </a:cxn>
                <a:cxn ang="0">
                  <a:pos x="41" y="112"/>
                </a:cxn>
                <a:cxn ang="0">
                  <a:pos x="43" y="99"/>
                </a:cxn>
                <a:cxn ang="0">
                  <a:pos x="43" y="89"/>
                </a:cxn>
                <a:cxn ang="0">
                  <a:pos x="41" y="76"/>
                </a:cxn>
                <a:cxn ang="0">
                  <a:pos x="37" y="72"/>
                </a:cxn>
                <a:cxn ang="0">
                  <a:pos x="27" y="56"/>
                </a:cxn>
                <a:cxn ang="0">
                  <a:pos x="24" y="48"/>
                </a:cxn>
                <a:cxn ang="0">
                  <a:pos x="15" y="40"/>
                </a:cxn>
                <a:cxn ang="0">
                  <a:pos x="23" y="34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6" y="23"/>
                </a:cxn>
                <a:cxn ang="0">
                  <a:pos x="6" y="19"/>
                </a:cxn>
                <a:cxn ang="0">
                  <a:pos x="0" y="11"/>
                </a:cxn>
                <a:cxn ang="0">
                  <a:pos x="8" y="11"/>
                </a:cxn>
                <a:cxn ang="0">
                  <a:pos x="12" y="8"/>
                </a:cxn>
                <a:cxn ang="0">
                  <a:pos x="17" y="8"/>
                </a:cxn>
                <a:cxn ang="0">
                  <a:pos x="24" y="2"/>
                </a:cxn>
                <a:cxn ang="0">
                  <a:pos x="35" y="6"/>
                </a:cxn>
                <a:cxn ang="0">
                  <a:pos x="37" y="14"/>
                </a:cxn>
                <a:cxn ang="0">
                  <a:pos x="41" y="19"/>
                </a:cxn>
                <a:cxn ang="0">
                  <a:pos x="43" y="22"/>
                </a:cxn>
              </a:cxnLst>
              <a:rect l="0" t="0" r="r" b="b"/>
              <a:pathLst>
                <a:path w="59" h="152">
                  <a:moveTo>
                    <a:pt x="43" y="22"/>
                  </a:moveTo>
                  <a:cubicBezTo>
                    <a:pt x="41" y="23"/>
                    <a:pt x="43" y="25"/>
                    <a:pt x="41" y="25"/>
                  </a:cubicBezTo>
                  <a:cubicBezTo>
                    <a:pt x="40" y="27"/>
                    <a:pt x="40" y="25"/>
                    <a:pt x="38" y="27"/>
                  </a:cubicBezTo>
                  <a:cubicBezTo>
                    <a:pt x="35" y="28"/>
                    <a:pt x="38" y="31"/>
                    <a:pt x="34" y="34"/>
                  </a:cubicBezTo>
                  <a:cubicBezTo>
                    <a:pt x="31" y="37"/>
                    <a:pt x="27" y="44"/>
                    <a:pt x="29" y="50"/>
                  </a:cubicBezTo>
                  <a:cubicBezTo>
                    <a:pt x="32" y="54"/>
                    <a:pt x="34" y="53"/>
                    <a:pt x="35" y="56"/>
                  </a:cubicBezTo>
                  <a:cubicBezTo>
                    <a:pt x="35" y="59"/>
                    <a:pt x="38" y="64"/>
                    <a:pt x="43" y="68"/>
                  </a:cubicBezTo>
                  <a:cubicBezTo>
                    <a:pt x="47" y="73"/>
                    <a:pt x="49" y="72"/>
                    <a:pt x="49" y="76"/>
                  </a:cubicBezTo>
                  <a:cubicBezTo>
                    <a:pt x="50" y="79"/>
                    <a:pt x="53" y="79"/>
                    <a:pt x="56" y="89"/>
                  </a:cubicBezTo>
                  <a:cubicBezTo>
                    <a:pt x="58" y="98"/>
                    <a:pt x="56" y="103"/>
                    <a:pt x="56" y="104"/>
                  </a:cubicBezTo>
                  <a:cubicBezTo>
                    <a:pt x="58" y="106"/>
                    <a:pt x="59" y="109"/>
                    <a:pt x="58" y="109"/>
                  </a:cubicBezTo>
                  <a:cubicBezTo>
                    <a:pt x="56" y="109"/>
                    <a:pt x="58" y="113"/>
                    <a:pt x="56" y="118"/>
                  </a:cubicBezTo>
                  <a:cubicBezTo>
                    <a:pt x="55" y="124"/>
                    <a:pt x="50" y="123"/>
                    <a:pt x="46" y="127"/>
                  </a:cubicBezTo>
                  <a:cubicBezTo>
                    <a:pt x="40" y="134"/>
                    <a:pt x="40" y="130"/>
                    <a:pt x="38" y="129"/>
                  </a:cubicBezTo>
                  <a:cubicBezTo>
                    <a:pt x="37" y="127"/>
                    <a:pt x="37" y="138"/>
                    <a:pt x="34" y="140"/>
                  </a:cubicBezTo>
                  <a:cubicBezTo>
                    <a:pt x="32" y="140"/>
                    <a:pt x="35" y="140"/>
                    <a:pt x="32" y="141"/>
                  </a:cubicBezTo>
                  <a:cubicBezTo>
                    <a:pt x="29" y="143"/>
                    <a:pt x="27" y="144"/>
                    <a:pt x="24" y="148"/>
                  </a:cubicBezTo>
                  <a:cubicBezTo>
                    <a:pt x="21" y="152"/>
                    <a:pt x="21" y="149"/>
                    <a:pt x="21" y="143"/>
                  </a:cubicBezTo>
                  <a:cubicBezTo>
                    <a:pt x="21" y="135"/>
                    <a:pt x="24" y="137"/>
                    <a:pt x="23" y="134"/>
                  </a:cubicBezTo>
                  <a:cubicBezTo>
                    <a:pt x="21" y="130"/>
                    <a:pt x="20" y="135"/>
                    <a:pt x="18" y="130"/>
                  </a:cubicBezTo>
                  <a:cubicBezTo>
                    <a:pt x="20" y="129"/>
                    <a:pt x="24" y="130"/>
                    <a:pt x="23" y="127"/>
                  </a:cubicBezTo>
                  <a:cubicBezTo>
                    <a:pt x="23" y="127"/>
                    <a:pt x="24" y="124"/>
                    <a:pt x="24" y="126"/>
                  </a:cubicBezTo>
                  <a:cubicBezTo>
                    <a:pt x="26" y="127"/>
                    <a:pt x="29" y="123"/>
                    <a:pt x="29" y="126"/>
                  </a:cubicBezTo>
                  <a:cubicBezTo>
                    <a:pt x="31" y="127"/>
                    <a:pt x="35" y="127"/>
                    <a:pt x="31" y="124"/>
                  </a:cubicBezTo>
                  <a:cubicBezTo>
                    <a:pt x="29" y="123"/>
                    <a:pt x="31" y="121"/>
                    <a:pt x="31" y="120"/>
                  </a:cubicBezTo>
                  <a:cubicBezTo>
                    <a:pt x="29" y="118"/>
                    <a:pt x="31" y="117"/>
                    <a:pt x="34" y="118"/>
                  </a:cubicBezTo>
                  <a:cubicBezTo>
                    <a:pt x="37" y="120"/>
                    <a:pt x="32" y="115"/>
                    <a:pt x="37" y="115"/>
                  </a:cubicBezTo>
                  <a:cubicBezTo>
                    <a:pt x="40" y="115"/>
                    <a:pt x="40" y="112"/>
                    <a:pt x="41" y="112"/>
                  </a:cubicBezTo>
                  <a:cubicBezTo>
                    <a:pt x="44" y="113"/>
                    <a:pt x="44" y="110"/>
                    <a:pt x="43" y="107"/>
                  </a:cubicBezTo>
                  <a:cubicBezTo>
                    <a:pt x="43" y="104"/>
                    <a:pt x="44" y="103"/>
                    <a:pt x="43" y="99"/>
                  </a:cubicBezTo>
                  <a:cubicBezTo>
                    <a:pt x="43" y="96"/>
                    <a:pt x="43" y="96"/>
                    <a:pt x="41" y="95"/>
                  </a:cubicBezTo>
                  <a:cubicBezTo>
                    <a:pt x="41" y="95"/>
                    <a:pt x="43" y="90"/>
                    <a:pt x="43" y="89"/>
                  </a:cubicBezTo>
                  <a:cubicBezTo>
                    <a:pt x="43" y="85"/>
                    <a:pt x="46" y="84"/>
                    <a:pt x="43" y="81"/>
                  </a:cubicBezTo>
                  <a:cubicBezTo>
                    <a:pt x="40" y="78"/>
                    <a:pt x="40" y="78"/>
                    <a:pt x="41" y="76"/>
                  </a:cubicBezTo>
                  <a:cubicBezTo>
                    <a:pt x="43" y="76"/>
                    <a:pt x="43" y="75"/>
                    <a:pt x="41" y="75"/>
                  </a:cubicBezTo>
                  <a:cubicBezTo>
                    <a:pt x="41" y="76"/>
                    <a:pt x="38" y="70"/>
                    <a:pt x="37" y="72"/>
                  </a:cubicBezTo>
                  <a:cubicBezTo>
                    <a:pt x="35" y="72"/>
                    <a:pt x="37" y="64"/>
                    <a:pt x="34" y="62"/>
                  </a:cubicBezTo>
                  <a:cubicBezTo>
                    <a:pt x="31" y="62"/>
                    <a:pt x="27" y="59"/>
                    <a:pt x="27" y="56"/>
                  </a:cubicBezTo>
                  <a:cubicBezTo>
                    <a:pt x="26" y="51"/>
                    <a:pt x="26" y="54"/>
                    <a:pt x="24" y="51"/>
                  </a:cubicBezTo>
                  <a:cubicBezTo>
                    <a:pt x="23" y="50"/>
                    <a:pt x="24" y="50"/>
                    <a:pt x="24" y="48"/>
                  </a:cubicBezTo>
                  <a:cubicBezTo>
                    <a:pt x="23" y="48"/>
                    <a:pt x="21" y="48"/>
                    <a:pt x="17" y="45"/>
                  </a:cubicBezTo>
                  <a:cubicBezTo>
                    <a:pt x="12" y="40"/>
                    <a:pt x="17" y="42"/>
                    <a:pt x="15" y="40"/>
                  </a:cubicBezTo>
                  <a:cubicBezTo>
                    <a:pt x="14" y="36"/>
                    <a:pt x="20" y="40"/>
                    <a:pt x="21" y="39"/>
                  </a:cubicBezTo>
                  <a:cubicBezTo>
                    <a:pt x="21" y="36"/>
                    <a:pt x="24" y="36"/>
                    <a:pt x="23" y="34"/>
                  </a:cubicBezTo>
                  <a:cubicBezTo>
                    <a:pt x="21" y="33"/>
                    <a:pt x="21" y="34"/>
                    <a:pt x="20" y="33"/>
                  </a:cubicBezTo>
                  <a:cubicBezTo>
                    <a:pt x="20" y="31"/>
                    <a:pt x="17" y="33"/>
                    <a:pt x="18" y="31"/>
                  </a:cubicBezTo>
                  <a:cubicBezTo>
                    <a:pt x="21" y="30"/>
                    <a:pt x="21" y="28"/>
                    <a:pt x="18" y="27"/>
                  </a:cubicBezTo>
                  <a:cubicBezTo>
                    <a:pt x="15" y="25"/>
                    <a:pt x="15" y="25"/>
                    <a:pt x="14" y="27"/>
                  </a:cubicBezTo>
                  <a:cubicBezTo>
                    <a:pt x="12" y="31"/>
                    <a:pt x="11" y="27"/>
                    <a:pt x="9" y="27"/>
                  </a:cubicBezTo>
                  <a:cubicBezTo>
                    <a:pt x="8" y="28"/>
                    <a:pt x="8" y="25"/>
                    <a:pt x="6" y="23"/>
                  </a:cubicBezTo>
                  <a:cubicBezTo>
                    <a:pt x="6" y="22"/>
                    <a:pt x="8" y="22"/>
                    <a:pt x="6" y="22"/>
                  </a:cubicBezTo>
                  <a:cubicBezTo>
                    <a:pt x="6" y="20"/>
                    <a:pt x="8" y="19"/>
                    <a:pt x="6" y="19"/>
                  </a:cubicBezTo>
                  <a:cubicBezTo>
                    <a:pt x="6" y="19"/>
                    <a:pt x="6" y="16"/>
                    <a:pt x="5" y="19"/>
                  </a:cubicBezTo>
                  <a:cubicBezTo>
                    <a:pt x="5" y="20"/>
                    <a:pt x="6" y="17"/>
                    <a:pt x="0" y="11"/>
                  </a:cubicBezTo>
                  <a:cubicBezTo>
                    <a:pt x="3" y="11"/>
                    <a:pt x="2" y="6"/>
                    <a:pt x="5" y="8"/>
                  </a:cubicBezTo>
                  <a:cubicBezTo>
                    <a:pt x="8" y="9"/>
                    <a:pt x="6" y="11"/>
                    <a:pt x="8" y="11"/>
                  </a:cubicBezTo>
                  <a:cubicBezTo>
                    <a:pt x="9" y="11"/>
                    <a:pt x="9" y="5"/>
                    <a:pt x="11" y="8"/>
                  </a:cubicBezTo>
                  <a:cubicBezTo>
                    <a:pt x="12" y="9"/>
                    <a:pt x="12" y="8"/>
                    <a:pt x="12" y="8"/>
                  </a:cubicBezTo>
                  <a:cubicBezTo>
                    <a:pt x="14" y="9"/>
                    <a:pt x="15" y="13"/>
                    <a:pt x="15" y="9"/>
                  </a:cubicBezTo>
                  <a:cubicBezTo>
                    <a:pt x="15" y="6"/>
                    <a:pt x="17" y="6"/>
                    <a:pt x="17" y="8"/>
                  </a:cubicBezTo>
                  <a:cubicBezTo>
                    <a:pt x="18" y="9"/>
                    <a:pt x="23" y="6"/>
                    <a:pt x="21" y="5"/>
                  </a:cubicBezTo>
                  <a:cubicBezTo>
                    <a:pt x="21" y="3"/>
                    <a:pt x="23" y="5"/>
                    <a:pt x="24" y="2"/>
                  </a:cubicBezTo>
                  <a:cubicBezTo>
                    <a:pt x="26" y="0"/>
                    <a:pt x="27" y="6"/>
                    <a:pt x="31" y="6"/>
                  </a:cubicBezTo>
                  <a:cubicBezTo>
                    <a:pt x="34" y="5"/>
                    <a:pt x="32" y="8"/>
                    <a:pt x="35" y="6"/>
                  </a:cubicBezTo>
                  <a:cubicBezTo>
                    <a:pt x="37" y="6"/>
                    <a:pt x="38" y="6"/>
                    <a:pt x="37" y="9"/>
                  </a:cubicBezTo>
                  <a:cubicBezTo>
                    <a:pt x="34" y="13"/>
                    <a:pt x="37" y="11"/>
                    <a:pt x="37" y="14"/>
                  </a:cubicBezTo>
                  <a:cubicBezTo>
                    <a:pt x="37" y="16"/>
                    <a:pt x="38" y="14"/>
                    <a:pt x="40" y="17"/>
                  </a:cubicBezTo>
                  <a:cubicBezTo>
                    <a:pt x="40" y="19"/>
                    <a:pt x="41" y="17"/>
                    <a:pt x="41" y="19"/>
                  </a:cubicBezTo>
                  <a:cubicBezTo>
                    <a:pt x="43" y="20"/>
                    <a:pt x="44" y="19"/>
                    <a:pt x="47" y="20"/>
                  </a:cubicBezTo>
                  <a:cubicBezTo>
                    <a:pt x="47" y="20"/>
                    <a:pt x="46" y="20"/>
                    <a:pt x="43" y="2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0" name="Freeform 75"/>
            <p:cNvSpPr>
              <a:spLocks/>
            </p:cNvSpPr>
            <p:nvPr/>
          </p:nvSpPr>
          <p:spPr bwMode="auto">
            <a:xfrm>
              <a:off x="7568688" y="3972011"/>
              <a:ext cx="152688" cy="244690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" y="22"/>
                </a:cxn>
                <a:cxn ang="0">
                  <a:pos x="3" y="29"/>
                </a:cxn>
                <a:cxn ang="0">
                  <a:pos x="8" y="28"/>
                </a:cxn>
                <a:cxn ang="0">
                  <a:pos x="9" y="32"/>
                </a:cxn>
                <a:cxn ang="0">
                  <a:pos x="8" y="42"/>
                </a:cxn>
                <a:cxn ang="0">
                  <a:pos x="6" y="50"/>
                </a:cxn>
                <a:cxn ang="0">
                  <a:pos x="12" y="45"/>
                </a:cxn>
                <a:cxn ang="0">
                  <a:pos x="18" y="45"/>
                </a:cxn>
                <a:cxn ang="0">
                  <a:pos x="20" y="45"/>
                </a:cxn>
                <a:cxn ang="0">
                  <a:pos x="27" y="40"/>
                </a:cxn>
                <a:cxn ang="0">
                  <a:pos x="32" y="43"/>
                </a:cxn>
                <a:cxn ang="0">
                  <a:pos x="36" y="56"/>
                </a:cxn>
                <a:cxn ang="0">
                  <a:pos x="41" y="65"/>
                </a:cxn>
                <a:cxn ang="0">
                  <a:pos x="42" y="76"/>
                </a:cxn>
                <a:cxn ang="0">
                  <a:pos x="39" y="81"/>
                </a:cxn>
                <a:cxn ang="0">
                  <a:pos x="44" y="84"/>
                </a:cxn>
                <a:cxn ang="0">
                  <a:pos x="47" y="83"/>
                </a:cxn>
                <a:cxn ang="0">
                  <a:pos x="50" y="79"/>
                </a:cxn>
                <a:cxn ang="0">
                  <a:pos x="53" y="81"/>
                </a:cxn>
                <a:cxn ang="0">
                  <a:pos x="56" y="79"/>
                </a:cxn>
                <a:cxn ang="0">
                  <a:pos x="57" y="78"/>
                </a:cxn>
                <a:cxn ang="0">
                  <a:pos x="57" y="70"/>
                </a:cxn>
                <a:cxn ang="0">
                  <a:pos x="56" y="65"/>
                </a:cxn>
                <a:cxn ang="0">
                  <a:pos x="56" y="64"/>
                </a:cxn>
                <a:cxn ang="0">
                  <a:pos x="51" y="61"/>
                </a:cxn>
                <a:cxn ang="0">
                  <a:pos x="48" y="51"/>
                </a:cxn>
                <a:cxn ang="0">
                  <a:pos x="42" y="45"/>
                </a:cxn>
                <a:cxn ang="0">
                  <a:pos x="39" y="40"/>
                </a:cxn>
                <a:cxn ang="0">
                  <a:pos x="39" y="37"/>
                </a:cxn>
                <a:cxn ang="0">
                  <a:pos x="32" y="34"/>
                </a:cxn>
                <a:cxn ang="0">
                  <a:pos x="30" y="29"/>
                </a:cxn>
                <a:cxn ang="0">
                  <a:pos x="36" y="28"/>
                </a:cxn>
                <a:cxn ang="0">
                  <a:pos x="38" y="23"/>
                </a:cxn>
                <a:cxn ang="0">
                  <a:pos x="35" y="22"/>
                </a:cxn>
                <a:cxn ang="0">
                  <a:pos x="33" y="20"/>
                </a:cxn>
                <a:cxn ang="0">
                  <a:pos x="33" y="15"/>
                </a:cxn>
                <a:cxn ang="0">
                  <a:pos x="29" y="15"/>
                </a:cxn>
                <a:cxn ang="0">
                  <a:pos x="24" y="15"/>
                </a:cxn>
                <a:cxn ang="0">
                  <a:pos x="21" y="12"/>
                </a:cxn>
                <a:cxn ang="0">
                  <a:pos x="21" y="11"/>
                </a:cxn>
                <a:cxn ang="0">
                  <a:pos x="21" y="7"/>
                </a:cxn>
                <a:cxn ang="0">
                  <a:pos x="20" y="7"/>
                </a:cxn>
                <a:cxn ang="0">
                  <a:pos x="15" y="0"/>
                </a:cxn>
                <a:cxn ang="0">
                  <a:pos x="12" y="4"/>
                </a:cxn>
                <a:cxn ang="0">
                  <a:pos x="12" y="11"/>
                </a:cxn>
                <a:cxn ang="0">
                  <a:pos x="12" y="12"/>
                </a:cxn>
                <a:cxn ang="0">
                  <a:pos x="8" y="9"/>
                </a:cxn>
                <a:cxn ang="0">
                  <a:pos x="3" y="14"/>
                </a:cxn>
                <a:cxn ang="0">
                  <a:pos x="0" y="20"/>
                </a:cxn>
              </a:cxnLst>
              <a:rect l="0" t="0" r="r" b="b"/>
              <a:pathLst>
                <a:path w="60" h="87">
                  <a:moveTo>
                    <a:pt x="0" y="20"/>
                  </a:moveTo>
                  <a:cubicBezTo>
                    <a:pt x="0" y="23"/>
                    <a:pt x="0" y="20"/>
                    <a:pt x="2" y="22"/>
                  </a:cubicBezTo>
                  <a:cubicBezTo>
                    <a:pt x="5" y="25"/>
                    <a:pt x="0" y="29"/>
                    <a:pt x="3" y="29"/>
                  </a:cubicBezTo>
                  <a:cubicBezTo>
                    <a:pt x="6" y="29"/>
                    <a:pt x="5" y="28"/>
                    <a:pt x="8" y="28"/>
                  </a:cubicBezTo>
                  <a:cubicBezTo>
                    <a:pt x="11" y="29"/>
                    <a:pt x="8" y="31"/>
                    <a:pt x="9" y="32"/>
                  </a:cubicBezTo>
                  <a:cubicBezTo>
                    <a:pt x="11" y="36"/>
                    <a:pt x="6" y="40"/>
                    <a:pt x="8" y="42"/>
                  </a:cubicBezTo>
                  <a:cubicBezTo>
                    <a:pt x="9" y="43"/>
                    <a:pt x="5" y="48"/>
                    <a:pt x="6" y="50"/>
                  </a:cubicBezTo>
                  <a:cubicBezTo>
                    <a:pt x="8" y="50"/>
                    <a:pt x="8" y="50"/>
                    <a:pt x="12" y="45"/>
                  </a:cubicBezTo>
                  <a:cubicBezTo>
                    <a:pt x="17" y="40"/>
                    <a:pt x="15" y="45"/>
                    <a:pt x="18" y="45"/>
                  </a:cubicBezTo>
                  <a:cubicBezTo>
                    <a:pt x="20" y="45"/>
                    <a:pt x="18" y="46"/>
                    <a:pt x="20" y="45"/>
                  </a:cubicBezTo>
                  <a:cubicBezTo>
                    <a:pt x="24" y="43"/>
                    <a:pt x="23" y="39"/>
                    <a:pt x="27" y="40"/>
                  </a:cubicBezTo>
                  <a:cubicBezTo>
                    <a:pt x="30" y="42"/>
                    <a:pt x="30" y="40"/>
                    <a:pt x="32" y="43"/>
                  </a:cubicBezTo>
                  <a:cubicBezTo>
                    <a:pt x="33" y="50"/>
                    <a:pt x="38" y="48"/>
                    <a:pt x="36" y="56"/>
                  </a:cubicBezTo>
                  <a:cubicBezTo>
                    <a:pt x="35" y="64"/>
                    <a:pt x="41" y="64"/>
                    <a:pt x="41" y="65"/>
                  </a:cubicBezTo>
                  <a:cubicBezTo>
                    <a:pt x="41" y="67"/>
                    <a:pt x="44" y="67"/>
                    <a:pt x="42" y="76"/>
                  </a:cubicBezTo>
                  <a:cubicBezTo>
                    <a:pt x="42" y="78"/>
                    <a:pt x="44" y="79"/>
                    <a:pt x="39" y="81"/>
                  </a:cubicBezTo>
                  <a:cubicBezTo>
                    <a:pt x="41" y="86"/>
                    <a:pt x="42" y="81"/>
                    <a:pt x="44" y="84"/>
                  </a:cubicBezTo>
                  <a:cubicBezTo>
                    <a:pt x="45" y="87"/>
                    <a:pt x="48" y="86"/>
                    <a:pt x="47" y="83"/>
                  </a:cubicBezTo>
                  <a:cubicBezTo>
                    <a:pt x="44" y="79"/>
                    <a:pt x="48" y="81"/>
                    <a:pt x="50" y="79"/>
                  </a:cubicBezTo>
                  <a:cubicBezTo>
                    <a:pt x="51" y="78"/>
                    <a:pt x="51" y="83"/>
                    <a:pt x="53" y="81"/>
                  </a:cubicBezTo>
                  <a:cubicBezTo>
                    <a:pt x="54" y="81"/>
                    <a:pt x="56" y="78"/>
                    <a:pt x="56" y="79"/>
                  </a:cubicBezTo>
                  <a:cubicBezTo>
                    <a:pt x="57" y="79"/>
                    <a:pt x="57" y="78"/>
                    <a:pt x="57" y="78"/>
                  </a:cubicBezTo>
                  <a:cubicBezTo>
                    <a:pt x="57" y="75"/>
                    <a:pt x="60" y="73"/>
                    <a:pt x="57" y="70"/>
                  </a:cubicBezTo>
                  <a:cubicBezTo>
                    <a:pt x="54" y="67"/>
                    <a:pt x="54" y="67"/>
                    <a:pt x="56" y="65"/>
                  </a:cubicBezTo>
                  <a:cubicBezTo>
                    <a:pt x="57" y="65"/>
                    <a:pt x="57" y="64"/>
                    <a:pt x="56" y="64"/>
                  </a:cubicBezTo>
                  <a:cubicBezTo>
                    <a:pt x="56" y="65"/>
                    <a:pt x="53" y="59"/>
                    <a:pt x="51" y="61"/>
                  </a:cubicBezTo>
                  <a:cubicBezTo>
                    <a:pt x="50" y="61"/>
                    <a:pt x="51" y="53"/>
                    <a:pt x="48" y="51"/>
                  </a:cubicBezTo>
                  <a:cubicBezTo>
                    <a:pt x="45" y="51"/>
                    <a:pt x="42" y="48"/>
                    <a:pt x="42" y="45"/>
                  </a:cubicBezTo>
                  <a:cubicBezTo>
                    <a:pt x="41" y="40"/>
                    <a:pt x="41" y="43"/>
                    <a:pt x="39" y="40"/>
                  </a:cubicBezTo>
                  <a:cubicBezTo>
                    <a:pt x="38" y="39"/>
                    <a:pt x="39" y="39"/>
                    <a:pt x="39" y="37"/>
                  </a:cubicBezTo>
                  <a:cubicBezTo>
                    <a:pt x="38" y="37"/>
                    <a:pt x="36" y="37"/>
                    <a:pt x="32" y="34"/>
                  </a:cubicBezTo>
                  <a:cubicBezTo>
                    <a:pt x="27" y="29"/>
                    <a:pt x="32" y="31"/>
                    <a:pt x="30" y="29"/>
                  </a:cubicBezTo>
                  <a:cubicBezTo>
                    <a:pt x="29" y="25"/>
                    <a:pt x="35" y="29"/>
                    <a:pt x="36" y="28"/>
                  </a:cubicBezTo>
                  <a:cubicBezTo>
                    <a:pt x="36" y="25"/>
                    <a:pt x="39" y="25"/>
                    <a:pt x="38" y="23"/>
                  </a:cubicBezTo>
                  <a:cubicBezTo>
                    <a:pt x="36" y="22"/>
                    <a:pt x="36" y="23"/>
                    <a:pt x="35" y="22"/>
                  </a:cubicBezTo>
                  <a:cubicBezTo>
                    <a:pt x="35" y="20"/>
                    <a:pt x="32" y="22"/>
                    <a:pt x="33" y="20"/>
                  </a:cubicBezTo>
                  <a:cubicBezTo>
                    <a:pt x="36" y="18"/>
                    <a:pt x="36" y="17"/>
                    <a:pt x="33" y="15"/>
                  </a:cubicBezTo>
                  <a:cubicBezTo>
                    <a:pt x="30" y="14"/>
                    <a:pt x="30" y="14"/>
                    <a:pt x="29" y="15"/>
                  </a:cubicBezTo>
                  <a:cubicBezTo>
                    <a:pt x="27" y="20"/>
                    <a:pt x="26" y="15"/>
                    <a:pt x="24" y="15"/>
                  </a:cubicBezTo>
                  <a:cubicBezTo>
                    <a:pt x="23" y="17"/>
                    <a:pt x="23" y="14"/>
                    <a:pt x="21" y="12"/>
                  </a:cubicBezTo>
                  <a:cubicBezTo>
                    <a:pt x="21" y="11"/>
                    <a:pt x="23" y="11"/>
                    <a:pt x="21" y="11"/>
                  </a:cubicBezTo>
                  <a:cubicBezTo>
                    <a:pt x="21" y="9"/>
                    <a:pt x="23" y="7"/>
                    <a:pt x="21" y="7"/>
                  </a:cubicBezTo>
                  <a:cubicBezTo>
                    <a:pt x="21" y="7"/>
                    <a:pt x="21" y="4"/>
                    <a:pt x="20" y="7"/>
                  </a:cubicBezTo>
                  <a:cubicBezTo>
                    <a:pt x="20" y="9"/>
                    <a:pt x="21" y="6"/>
                    <a:pt x="15" y="0"/>
                  </a:cubicBezTo>
                  <a:cubicBezTo>
                    <a:pt x="14" y="0"/>
                    <a:pt x="9" y="0"/>
                    <a:pt x="12" y="4"/>
                  </a:cubicBezTo>
                  <a:cubicBezTo>
                    <a:pt x="14" y="11"/>
                    <a:pt x="12" y="9"/>
                    <a:pt x="12" y="11"/>
                  </a:cubicBezTo>
                  <a:cubicBezTo>
                    <a:pt x="14" y="12"/>
                    <a:pt x="12" y="14"/>
                    <a:pt x="12" y="12"/>
                  </a:cubicBezTo>
                  <a:cubicBezTo>
                    <a:pt x="11" y="11"/>
                    <a:pt x="9" y="15"/>
                    <a:pt x="8" y="9"/>
                  </a:cubicBezTo>
                  <a:cubicBezTo>
                    <a:pt x="6" y="11"/>
                    <a:pt x="3" y="9"/>
                    <a:pt x="3" y="14"/>
                  </a:cubicBezTo>
                  <a:cubicBezTo>
                    <a:pt x="2" y="18"/>
                    <a:pt x="0" y="14"/>
                    <a:pt x="0" y="2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1" name="Freeform 76"/>
            <p:cNvSpPr>
              <a:spLocks/>
            </p:cNvSpPr>
            <p:nvPr/>
          </p:nvSpPr>
          <p:spPr bwMode="auto">
            <a:xfrm>
              <a:off x="7606861" y="4190639"/>
              <a:ext cx="111883" cy="118726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6"/>
                </a:cxn>
                <a:cxn ang="0">
                  <a:pos x="42" y="11"/>
                </a:cxn>
                <a:cxn ang="0">
                  <a:pos x="42" y="18"/>
                </a:cxn>
                <a:cxn ang="0">
                  <a:pos x="41" y="23"/>
                </a:cxn>
                <a:cxn ang="0">
                  <a:pos x="36" y="26"/>
                </a:cxn>
                <a:cxn ang="0">
                  <a:pos x="33" y="29"/>
                </a:cxn>
                <a:cxn ang="0">
                  <a:pos x="30" y="31"/>
                </a:cxn>
                <a:cxn ang="0">
                  <a:pos x="30" y="35"/>
                </a:cxn>
                <a:cxn ang="0">
                  <a:pos x="29" y="37"/>
                </a:cxn>
                <a:cxn ang="0">
                  <a:pos x="24" y="37"/>
                </a:cxn>
                <a:cxn ang="0">
                  <a:pos x="23" y="39"/>
                </a:cxn>
                <a:cxn ang="0">
                  <a:pos x="18" y="42"/>
                </a:cxn>
                <a:cxn ang="0">
                  <a:pos x="14" y="40"/>
                </a:cxn>
                <a:cxn ang="0">
                  <a:pos x="12" y="40"/>
                </a:cxn>
                <a:cxn ang="0">
                  <a:pos x="12" y="35"/>
                </a:cxn>
                <a:cxn ang="0">
                  <a:pos x="11" y="37"/>
                </a:cxn>
                <a:cxn ang="0">
                  <a:pos x="8" y="35"/>
                </a:cxn>
                <a:cxn ang="0">
                  <a:pos x="6" y="29"/>
                </a:cxn>
                <a:cxn ang="0">
                  <a:pos x="5" y="21"/>
                </a:cxn>
                <a:cxn ang="0">
                  <a:pos x="2" y="14"/>
                </a:cxn>
                <a:cxn ang="0">
                  <a:pos x="3" y="11"/>
                </a:cxn>
                <a:cxn ang="0">
                  <a:pos x="6" y="6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9" y="6"/>
                </a:cxn>
                <a:cxn ang="0">
                  <a:pos x="32" y="4"/>
                </a:cxn>
                <a:cxn ang="0">
                  <a:pos x="35" y="1"/>
                </a:cxn>
                <a:cxn ang="0">
                  <a:pos x="38" y="3"/>
                </a:cxn>
                <a:cxn ang="0">
                  <a:pos x="41" y="1"/>
                </a:cxn>
                <a:cxn ang="0">
                  <a:pos x="42" y="0"/>
                </a:cxn>
              </a:cxnLst>
              <a:rect l="0" t="0" r="r" b="b"/>
              <a:pathLst>
                <a:path w="44" h="42">
                  <a:moveTo>
                    <a:pt x="42" y="0"/>
                  </a:moveTo>
                  <a:cubicBezTo>
                    <a:pt x="42" y="1"/>
                    <a:pt x="41" y="6"/>
                    <a:pt x="41" y="6"/>
                  </a:cubicBezTo>
                  <a:cubicBezTo>
                    <a:pt x="42" y="7"/>
                    <a:pt x="42" y="7"/>
                    <a:pt x="42" y="11"/>
                  </a:cubicBezTo>
                  <a:cubicBezTo>
                    <a:pt x="44" y="14"/>
                    <a:pt x="42" y="15"/>
                    <a:pt x="42" y="18"/>
                  </a:cubicBezTo>
                  <a:cubicBezTo>
                    <a:pt x="44" y="21"/>
                    <a:pt x="44" y="25"/>
                    <a:pt x="41" y="23"/>
                  </a:cubicBezTo>
                  <a:cubicBezTo>
                    <a:pt x="39" y="23"/>
                    <a:pt x="39" y="26"/>
                    <a:pt x="36" y="26"/>
                  </a:cubicBezTo>
                  <a:cubicBezTo>
                    <a:pt x="32" y="26"/>
                    <a:pt x="36" y="31"/>
                    <a:pt x="33" y="29"/>
                  </a:cubicBezTo>
                  <a:cubicBezTo>
                    <a:pt x="30" y="28"/>
                    <a:pt x="29" y="29"/>
                    <a:pt x="30" y="31"/>
                  </a:cubicBezTo>
                  <a:cubicBezTo>
                    <a:pt x="30" y="32"/>
                    <a:pt x="29" y="34"/>
                    <a:pt x="30" y="35"/>
                  </a:cubicBezTo>
                  <a:cubicBezTo>
                    <a:pt x="35" y="39"/>
                    <a:pt x="30" y="39"/>
                    <a:pt x="29" y="37"/>
                  </a:cubicBezTo>
                  <a:cubicBezTo>
                    <a:pt x="29" y="34"/>
                    <a:pt x="26" y="39"/>
                    <a:pt x="24" y="37"/>
                  </a:cubicBezTo>
                  <a:cubicBezTo>
                    <a:pt x="24" y="35"/>
                    <a:pt x="23" y="39"/>
                    <a:pt x="23" y="39"/>
                  </a:cubicBezTo>
                  <a:cubicBezTo>
                    <a:pt x="24" y="42"/>
                    <a:pt x="20" y="40"/>
                    <a:pt x="18" y="42"/>
                  </a:cubicBezTo>
                  <a:cubicBezTo>
                    <a:pt x="17" y="40"/>
                    <a:pt x="15" y="42"/>
                    <a:pt x="14" y="40"/>
                  </a:cubicBezTo>
                  <a:cubicBezTo>
                    <a:pt x="14" y="39"/>
                    <a:pt x="14" y="42"/>
                    <a:pt x="12" y="40"/>
                  </a:cubicBezTo>
                  <a:cubicBezTo>
                    <a:pt x="9" y="39"/>
                    <a:pt x="14" y="39"/>
                    <a:pt x="12" y="35"/>
                  </a:cubicBezTo>
                  <a:cubicBezTo>
                    <a:pt x="9" y="32"/>
                    <a:pt x="11" y="37"/>
                    <a:pt x="11" y="37"/>
                  </a:cubicBezTo>
                  <a:cubicBezTo>
                    <a:pt x="9" y="37"/>
                    <a:pt x="8" y="40"/>
                    <a:pt x="8" y="35"/>
                  </a:cubicBezTo>
                  <a:cubicBezTo>
                    <a:pt x="8" y="32"/>
                    <a:pt x="9" y="34"/>
                    <a:pt x="6" y="29"/>
                  </a:cubicBezTo>
                  <a:cubicBezTo>
                    <a:pt x="3" y="25"/>
                    <a:pt x="6" y="23"/>
                    <a:pt x="5" y="21"/>
                  </a:cubicBezTo>
                  <a:cubicBezTo>
                    <a:pt x="2" y="20"/>
                    <a:pt x="5" y="18"/>
                    <a:pt x="2" y="14"/>
                  </a:cubicBezTo>
                  <a:cubicBezTo>
                    <a:pt x="0" y="9"/>
                    <a:pt x="3" y="12"/>
                    <a:pt x="3" y="11"/>
                  </a:cubicBezTo>
                  <a:cubicBezTo>
                    <a:pt x="3" y="9"/>
                    <a:pt x="5" y="11"/>
                    <a:pt x="6" y="6"/>
                  </a:cubicBezTo>
                  <a:cubicBezTo>
                    <a:pt x="8" y="1"/>
                    <a:pt x="15" y="3"/>
                    <a:pt x="20" y="3"/>
                  </a:cubicBezTo>
                  <a:cubicBezTo>
                    <a:pt x="24" y="1"/>
                    <a:pt x="23" y="4"/>
                    <a:pt x="24" y="3"/>
                  </a:cubicBezTo>
                  <a:cubicBezTo>
                    <a:pt x="26" y="7"/>
                    <a:pt x="27" y="3"/>
                    <a:pt x="29" y="6"/>
                  </a:cubicBezTo>
                  <a:cubicBezTo>
                    <a:pt x="30" y="9"/>
                    <a:pt x="33" y="7"/>
                    <a:pt x="32" y="4"/>
                  </a:cubicBezTo>
                  <a:cubicBezTo>
                    <a:pt x="29" y="1"/>
                    <a:pt x="33" y="3"/>
                    <a:pt x="35" y="1"/>
                  </a:cubicBezTo>
                  <a:cubicBezTo>
                    <a:pt x="36" y="0"/>
                    <a:pt x="36" y="4"/>
                    <a:pt x="38" y="3"/>
                  </a:cubicBezTo>
                  <a:cubicBezTo>
                    <a:pt x="39" y="3"/>
                    <a:pt x="41" y="0"/>
                    <a:pt x="41" y="1"/>
                  </a:cubicBezTo>
                  <a:cubicBezTo>
                    <a:pt x="42" y="1"/>
                    <a:pt x="42" y="0"/>
                    <a:pt x="42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2" name="Freeform 77"/>
            <p:cNvSpPr>
              <a:spLocks/>
            </p:cNvSpPr>
            <p:nvPr/>
          </p:nvSpPr>
          <p:spPr bwMode="auto">
            <a:xfrm>
              <a:off x="6240572" y="3685331"/>
              <a:ext cx="423839" cy="477797"/>
            </a:xfrm>
            <a:custGeom>
              <a:avLst/>
              <a:gdLst/>
              <a:ahLst/>
              <a:cxnLst>
                <a:cxn ang="0">
                  <a:pos x="125" y="141"/>
                </a:cxn>
                <a:cxn ang="0">
                  <a:pos x="107" y="151"/>
                </a:cxn>
                <a:cxn ang="0">
                  <a:pos x="92" y="162"/>
                </a:cxn>
                <a:cxn ang="0">
                  <a:pos x="75" y="153"/>
                </a:cxn>
                <a:cxn ang="0">
                  <a:pos x="74" y="153"/>
                </a:cxn>
                <a:cxn ang="0">
                  <a:pos x="72" y="153"/>
                </a:cxn>
                <a:cxn ang="0">
                  <a:pos x="68" y="153"/>
                </a:cxn>
                <a:cxn ang="0">
                  <a:pos x="68" y="158"/>
                </a:cxn>
                <a:cxn ang="0">
                  <a:pos x="65" y="162"/>
                </a:cxn>
                <a:cxn ang="0">
                  <a:pos x="54" y="144"/>
                </a:cxn>
                <a:cxn ang="0">
                  <a:pos x="50" y="133"/>
                </a:cxn>
                <a:cxn ang="0">
                  <a:pos x="36" y="117"/>
                </a:cxn>
                <a:cxn ang="0">
                  <a:pos x="34" y="100"/>
                </a:cxn>
                <a:cxn ang="0">
                  <a:pos x="21" y="77"/>
                </a:cxn>
                <a:cxn ang="0">
                  <a:pos x="15" y="64"/>
                </a:cxn>
                <a:cxn ang="0">
                  <a:pos x="1" y="41"/>
                </a:cxn>
                <a:cxn ang="0">
                  <a:pos x="12" y="32"/>
                </a:cxn>
                <a:cxn ang="0">
                  <a:pos x="24" y="24"/>
                </a:cxn>
                <a:cxn ang="0">
                  <a:pos x="27" y="18"/>
                </a:cxn>
                <a:cxn ang="0">
                  <a:pos x="24" y="7"/>
                </a:cxn>
                <a:cxn ang="0">
                  <a:pos x="47" y="4"/>
                </a:cxn>
                <a:cxn ang="0">
                  <a:pos x="59" y="11"/>
                </a:cxn>
                <a:cxn ang="0">
                  <a:pos x="80" y="32"/>
                </a:cxn>
                <a:cxn ang="0">
                  <a:pos x="101" y="35"/>
                </a:cxn>
                <a:cxn ang="0">
                  <a:pos x="109" y="39"/>
                </a:cxn>
                <a:cxn ang="0">
                  <a:pos x="116" y="50"/>
                </a:cxn>
                <a:cxn ang="0">
                  <a:pos x="122" y="60"/>
                </a:cxn>
                <a:cxn ang="0">
                  <a:pos x="124" y="71"/>
                </a:cxn>
                <a:cxn ang="0">
                  <a:pos x="130" y="80"/>
                </a:cxn>
                <a:cxn ang="0">
                  <a:pos x="136" y="92"/>
                </a:cxn>
                <a:cxn ang="0">
                  <a:pos x="163" y="99"/>
                </a:cxn>
                <a:cxn ang="0">
                  <a:pos x="165" y="113"/>
                </a:cxn>
                <a:cxn ang="0">
                  <a:pos x="150" y="131"/>
                </a:cxn>
              </a:cxnLst>
              <a:rect l="0" t="0" r="r" b="b"/>
              <a:pathLst>
                <a:path w="166" h="170">
                  <a:moveTo>
                    <a:pt x="138" y="136"/>
                  </a:moveTo>
                  <a:cubicBezTo>
                    <a:pt x="133" y="137"/>
                    <a:pt x="130" y="139"/>
                    <a:pt x="125" y="141"/>
                  </a:cubicBezTo>
                  <a:cubicBezTo>
                    <a:pt x="122" y="141"/>
                    <a:pt x="115" y="142"/>
                    <a:pt x="112" y="144"/>
                  </a:cubicBezTo>
                  <a:cubicBezTo>
                    <a:pt x="110" y="145"/>
                    <a:pt x="107" y="150"/>
                    <a:pt x="107" y="151"/>
                  </a:cubicBezTo>
                  <a:cubicBezTo>
                    <a:pt x="103" y="158"/>
                    <a:pt x="97" y="164"/>
                    <a:pt x="92" y="170"/>
                  </a:cubicBezTo>
                  <a:cubicBezTo>
                    <a:pt x="92" y="167"/>
                    <a:pt x="92" y="164"/>
                    <a:pt x="92" y="162"/>
                  </a:cubicBezTo>
                  <a:cubicBezTo>
                    <a:pt x="92" y="161"/>
                    <a:pt x="92" y="159"/>
                    <a:pt x="92" y="159"/>
                  </a:cubicBezTo>
                  <a:cubicBezTo>
                    <a:pt x="92" y="159"/>
                    <a:pt x="77" y="151"/>
                    <a:pt x="75" y="153"/>
                  </a:cubicBezTo>
                  <a:cubicBezTo>
                    <a:pt x="75" y="153"/>
                    <a:pt x="75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4" y="153"/>
                    <a:pt x="74" y="153"/>
                    <a:pt x="74" y="153"/>
                  </a:cubicBezTo>
                  <a:cubicBezTo>
                    <a:pt x="72" y="153"/>
                    <a:pt x="72" y="153"/>
                    <a:pt x="72" y="153"/>
                  </a:cubicBezTo>
                  <a:cubicBezTo>
                    <a:pt x="72" y="153"/>
                    <a:pt x="71" y="151"/>
                    <a:pt x="69" y="151"/>
                  </a:cubicBezTo>
                  <a:cubicBezTo>
                    <a:pt x="68" y="153"/>
                    <a:pt x="68" y="153"/>
                    <a:pt x="68" y="153"/>
                  </a:cubicBezTo>
                  <a:cubicBezTo>
                    <a:pt x="68" y="153"/>
                    <a:pt x="69" y="153"/>
                    <a:pt x="68" y="153"/>
                  </a:cubicBezTo>
                  <a:cubicBezTo>
                    <a:pt x="68" y="155"/>
                    <a:pt x="68" y="156"/>
                    <a:pt x="68" y="158"/>
                  </a:cubicBezTo>
                  <a:cubicBezTo>
                    <a:pt x="68" y="158"/>
                    <a:pt x="68" y="158"/>
                    <a:pt x="68" y="159"/>
                  </a:cubicBezTo>
                  <a:cubicBezTo>
                    <a:pt x="68" y="159"/>
                    <a:pt x="66" y="161"/>
                    <a:pt x="65" y="162"/>
                  </a:cubicBezTo>
                  <a:cubicBezTo>
                    <a:pt x="62" y="151"/>
                    <a:pt x="62" y="159"/>
                    <a:pt x="60" y="155"/>
                  </a:cubicBezTo>
                  <a:cubicBezTo>
                    <a:pt x="60" y="150"/>
                    <a:pt x="54" y="147"/>
                    <a:pt x="54" y="144"/>
                  </a:cubicBezTo>
                  <a:cubicBezTo>
                    <a:pt x="54" y="141"/>
                    <a:pt x="53" y="141"/>
                    <a:pt x="53" y="137"/>
                  </a:cubicBezTo>
                  <a:cubicBezTo>
                    <a:pt x="53" y="134"/>
                    <a:pt x="51" y="136"/>
                    <a:pt x="50" y="133"/>
                  </a:cubicBezTo>
                  <a:cubicBezTo>
                    <a:pt x="48" y="130"/>
                    <a:pt x="47" y="125"/>
                    <a:pt x="44" y="123"/>
                  </a:cubicBezTo>
                  <a:cubicBezTo>
                    <a:pt x="39" y="123"/>
                    <a:pt x="40" y="122"/>
                    <a:pt x="36" y="117"/>
                  </a:cubicBezTo>
                  <a:cubicBezTo>
                    <a:pt x="33" y="111"/>
                    <a:pt x="37" y="114"/>
                    <a:pt x="34" y="109"/>
                  </a:cubicBezTo>
                  <a:cubicBezTo>
                    <a:pt x="33" y="105"/>
                    <a:pt x="37" y="106"/>
                    <a:pt x="34" y="100"/>
                  </a:cubicBezTo>
                  <a:cubicBezTo>
                    <a:pt x="33" y="95"/>
                    <a:pt x="30" y="85"/>
                    <a:pt x="27" y="85"/>
                  </a:cubicBezTo>
                  <a:cubicBezTo>
                    <a:pt x="22" y="83"/>
                    <a:pt x="19" y="78"/>
                    <a:pt x="21" y="77"/>
                  </a:cubicBezTo>
                  <a:cubicBezTo>
                    <a:pt x="22" y="74"/>
                    <a:pt x="21" y="71"/>
                    <a:pt x="18" y="69"/>
                  </a:cubicBezTo>
                  <a:cubicBezTo>
                    <a:pt x="16" y="66"/>
                    <a:pt x="18" y="66"/>
                    <a:pt x="15" y="64"/>
                  </a:cubicBezTo>
                  <a:cubicBezTo>
                    <a:pt x="12" y="60"/>
                    <a:pt x="7" y="44"/>
                    <a:pt x="4" y="44"/>
                  </a:cubicBezTo>
                  <a:cubicBezTo>
                    <a:pt x="0" y="43"/>
                    <a:pt x="0" y="47"/>
                    <a:pt x="1" y="41"/>
                  </a:cubicBezTo>
                  <a:cubicBezTo>
                    <a:pt x="3" y="36"/>
                    <a:pt x="1" y="39"/>
                    <a:pt x="3" y="30"/>
                  </a:cubicBezTo>
                  <a:cubicBezTo>
                    <a:pt x="4" y="30"/>
                    <a:pt x="10" y="32"/>
                    <a:pt x="12" y="32"/>
                  </a:cubicBezTo>
                  <a:cubicBezTo>
                    <a:pt x="15" y="32"/>
                    <a:pt x="15" y="27"/>
                    <a:pt x="18" y="25"/>
                  </a:cubicBezTo>
                  <a:cubicBezTo>
                    <a:pt x="18" y="24"/>
                    <a:pt x="22" y="25"/>
                    <a:pt x="24" y="24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5" y="19"/>
                    <a:pt x="27" y="19"/>
                    <a:pt x="27" y="1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22" y="7"/>
                    <a:pt x="24" y="7"/>
                  </a:cubicBezTo>
                  <a:cubicBezTo>
                    <a:pt x="25" y="5"/>
                    <a:pt x="34" y="4"/>
                    <a:pt x="36" y="0"/>
                  </a:cubicBezTo>
                  <a:cubicBezTo>
                    <a:pt x="39" y="2"/>
                    <a:pt x="44" y="2"/>
                    <a:pt x="47" y="4"/>
                  </a:cubicBezTo>
                  <a:cubicBezTo>
                    <a:pt x="50" y="4"/>
                    <a:pt x="51" y="7"/>
                    <a:pt x="54" y="10"/>
                  </a:cubicBezTo>
                  <a:cubicBezTo>
                    <a:pt x="56" y="10"/>
                    <a:pt x="57" y="11"/>
                    <a:pt x="59" y="11"/>
                  </a:cubicBezTo>
                  <a:cubicBezTo>
                    <a:pt x="62" y="15"/>
                    <a:pt x="65" y="16"/>
                    <a:pt x="66" y="19"/>
                  </a:cubicBezTo>
                  <a:cubicBezTo>
                    <a:pt x="69" y="21"/>
                    <a:pt x="78" y="32"/>
                    <a:pt x="80" y="32"/>
                  </a:cubicBezTo>
                  <a:cubicBezTo>
                    <a:pt x="81" y="33"/>
                    <a:pt x="94" y="33"/>
                    <a:pt x="95" y="33"/>
                  </a:cubicBezTo>
                  <a:cubicBezTo>
                    <a:pt x="95" y="33"/>
                    <a:pt x="101" y="33"/>
                    <a:pt x="101" y="35"/>
                  </a:cubicBezTo>
                  <a:cubicBezTo>
                    <a:pt x="103" y="35"/>
                    <a:pt x="103" y="38"/>
                    <a:pt x="103" y="38"/>
                  </a:cubicBezTo>
                  <a:cubicBezTo>
                    <a:pt x="104" y="39"/>
                    <a:pt x="109" y="39"/>
                    <a:pt x="109" y="39"/>
                  </a:cubicBezTo>
                  <a:cubicBezTo>
                    <a:pt x="112" y="44"/>
                    <a:pt x="113" y="46"/>
                    <a:pt x="113" y="47"/>
                  </a:cubicBezTo>
                  <a:cubicBezTo>
                    <a:pt x="113" y="49"/>
                    <a:pt x="116" y="47"/>
                    <a:pt x="116" y="50"/>
                  </a:cubicBezTo>
                  <a:cubicBezTo>
                    <a:pt x="116" y="53"/>
                    <a:pt x="122" y="57"/>
                    <a:pt x="122" y="58"/>
                  </a:cubicBezTo>
                  <a:cubicBezTo>
                    <a:pt x="124" y="60"/>
                    <a:pt x="121" y="57"/>
                    <a:pt x="122" y="60"/>
                  </a:cubicBezTo>
                  <a:cubicBezTo>
                    <a:pt x="124" y="63"/>
                    <a:pt x="121" y="64"/>
                    <a:pt x="122" y="67"/>
                  </a:cubicBezTo>
                  <a:cubicBezTo>
                    <a:pt x="124" y="69"/>
                    <a:pt x="122" y="69"/>
                    <a:pt x="124" y="71"/>
                  </a:cubicBezTo>
                  <a:cubicBezTo>
                    <a:pt x="127" y="72"/>
                    <a:pt x="125" y="75"/>
                    <a:pt x="128" y="78"/>
                  </a:cubicBezTo>
                  <a:cubicBezTo>
                    <a:pt x="128" y="80"/>
                    <a:pt x="130" y="80"/>
                    <a:pt x="130" y="80"/>
                  </a:cubicBezTo>
                  <a:cubicBezTo>
                    <a:pt x="130" y="83"/>
                    <a:pt x="130" y="83"/>
                    <a:pt x="133" y="85"/>
                  </a:cubicBezTo>
                  <a:cubicBezTo>
                    <a:pt x="136" y="88"/>
                    <a:pt x="136" y="88"/>
                    <a:pt x="136" y="92"/>
                  </a:cubicBezTo>
                  <a:cubicBezTo>
                    <a:pt x="138" y="95"/>
                    <a:pt x="136" y="95"/>
                    <a:pt x="145" y="97"/>
                  </a:cubicBezTo>
                  <a:cubicBezTo>
                    <a:pt x="154" y="99"/>
                    <a:pt x="162" y="103"/>
                    <a:pt x="163" y="99"/>
                  </a:cubicBezTo>
                  <a:cubicBezTo>
                    <a:pt x="163" y="100"/>
                    <a:pt x="166" y="105"/>
                    <a:pt x="166" y="106"/>
                  </a:cubicBezTo>
                  <a:cubicBezTo>
                    <a:pt x="166" y="108"/>
                    <a:pt x="165" y="111"/>
                    <a:pt x="165" y="113"/>
                  </a:cubicBezTo>
                  <a:cubicBezTo>
                    <a:pt x="165" y="114"/>
                    <a:pt x="162" y="125"/>
                    <a:pt x="162" y="127"/>
                  </a:cubicBezTo>
                  <a:cubicBezTo>
                    <a:pt x="160" y="128"/>
                    <a:pt x="153" y="130"/>
                    <a:pt x="150" y="131"/>
                  </a:cubicBezTo>
                  <a:cubicBezTo>
                    <a:pt x="145" y="133"/>
                    <a:pt x="142" y="134"/>
                    <a:pt x="138" y="13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3" name="Freeform 78"/>
            <p:cNvSpPr>
              <a:spLocks/>
            </p:cNvSpPr>
            <p:nvPr/>
          </p:nvSpPr>
          <p:spPr bwMode="auto">
            <a:xfrm>
              <a:off x="6322181" y="3530410"/>
              <a:ext cx="198757" cy="250482"/>
            </a:xfrm>
            <a:custGeom>
              <a:avLst/>
              <a:gdLst/>
              <a:ahLst/>
              <a:cxnLst>
                <a:cxn ang="0">
                  <a:pos x="48" y="3"/>
                </a:cxn>
                <a:cxn ang="0">
                  <a:pos x="52" y="14"/>
                </a:cxn>
                <a:cxn ang="0">
                  <a:pos x="61" y="17"/>
                </a:cxn>
                <a:cxn ang="0">
                  <a:pos x="58" y="22"/>
                </a:cxn>
                <a:cxn ang="0">
                  <a:pos x="54" y="34"/>
                </a:cxn>
                <a:cxn ang="0">
                  <a:pos x="60" y="45"/>
                </a:cxn>
                <a:cxn ang="0">
                  <a:pos x="70" y="56"/>
                </a:cxn>
                <a:cxn ang="0">
                  <a:pos x="72" y="68"/>
                </a:cxn>
                <a:cxn ang="0">
                  <a:pos x="75" y="75"/>
                </a:cxn>
                <a:cxn ang="0">
                  <a:pos x="78" y="79"/>
                </a:cxn>
                <a:cxn ang="0">
                  <a:pos x="73" y="79"/>
                </a:cxn>
                <a:cxn ang="0">
                  <a:pos x="67" y="79"/>
                </a:cxn>
                <a:cxn ang="0">
                  <a:pos x="63" y="89"/>
                </a:cxn>
                <a:cxn ang="0">
                  <a:pos x="48" y="87"/>
                </a:cxn>
                <a:cxn ang="0">
                  <a:pos x="34" y="75"/>
                </a:cxn>
                <a:cxn ang="0">
                  <a:pos x="26" y="67"/>
                </a:cxn>
                <a:cxn ang="0">
                  <a:pos x="22" y="65"/>
                </a:cxn>
                <a:cxn ang="0">
                  <a:pos x="14" y="59"/>
                </a:cxn>
                <a:cxn ang="0">
                  <a:pos x="3" y="56"/>
                </a:cxn>
                <a:cxn ang="0">
                  <a:pos x="5" y="56"/>
                </a:cxn>
                <a:cxn ang="0">
                  <a:pos x="2" y="54"/>
                </a:cxn>
                <a:cxn ang="0">
                  <a:pos x="2" y="53"/>
                </a:cxn>
                <a:cxn ang="0">
                  <a:pos x="3" y="53"/>
                </a:cxn>
                <a:cxn ang="0">
                  <a:pos x="3" y="51"/>
                </a:cxn>
                <a:cxn ang="0">
                  <a:pos x="0" y="43"/>
                </a:cxn>
                <a:cxn ang="0">
                  <a:pos x="11" y="37"/>
                </a:cxn>
                <a:cxn ang="0">
                  <a:pos x="19" y="33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6"/>
                </a:cxn>
                <a:cxn ang="0">
                  <a:pos x="20" y="23"/>
                </a:cxn>
                <a:cxn ang="0">
                  <a:pos x="22" y="17"/>
                </a:cxn>
                <a:cxn ang="0">
                  <a:pos x="20" y="11"/>
                </a:cxn>
                <a:cxn ang="0">
                  <a:pos x="25" y="9"/>
                </a:cxn>
                <a:cxn ang="0">
                  <a:pos x="29" y="3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4" y="0"/>
                </a:cxn>
                <a:cxn ang="0">
                  <a:pos x="35" y="0"/>
                </a:cxn>
                <a:cxn ang="0">
                  <a:pos x="38" y="2"/>
                </a:cxn>
                <a:cxn ang="0">
                  <a:pos x="43" y="2"/>
                </a:cxn>
                <a:cxn ang="0">
                  <a:pos x="44" y="5"/>
                </a:cxn>
                <a:cxn ang="0">
                  <a:pos x="46" y="3"/>
                </a:cxn>
                <a:cxn ang="0">
                  <a:pos x="48" y="3"/>
                </a:cxn>
              </a:cxnLst>
              <a:rect l="0" t="0" r="r" b="b"/>
              <a:pathLst>
                <a:path w="78" h="89">
                  <a:moveTo>
                    <a:pt x="48" y="3"/>
                  </a:moveTo>
                  <a:cubicBezTo>
                    <a:pt x="49" y="8"/>
                    <a:pt x="52" y="11"/>
                    <a:pt x="52" y="14"/>
                  </a:cubicBezTo>
                  <a:cubicBezTo>
                    <a:pt x="52" y="17"/>
                    <a:pt x="60" y="16"/>
                    <a:pt x="61" y="17"/>
                  </a:cubicBezTo>
                  <a:cubicBezTo>
                    <a:pt x="61" y="19"/>
                    <a:pt x="57" y="17"/>
                    <a:pt x="58" y="22"/>
                  </a:cubicBezTo>
                  <a:cubicBezTo>
                    <a:pt x="61" y="26"/>
                    <a:pt x="54" y="28"/>
                    <a:pt x="54" y="34"/>
                  </a:cubicBezTo>
                  <a:cubicBezTo>
                    <a:pt x="52" y="40"/>
                    <a:pt x="58" y="39"/>
                    <a:pt x="60" y="45"/>
                  </a:cubicBezTo>
                  <a:cubicBezTo>
                    <a:pt x="60" y="50"/>
                    <a:pt x="67" y="51"/>
                    <a:pt x="70" y="56"/>
                  </a:cubicBezTo>
                  <a:cubicBezTo>
                    <a:pt x="73" y="62"/>
                    <a:pt x="70" y="65"/>
                    <a:pt x="72" y="68"/>
                  </a:cubicBezTo>
                  <a:cubicBezTo>
                    <a:pt x="73" y="71"/>
                    <a:pt x="73" y="75"/>
                    <a:pt x="75" y="75"/>
                  </a:cubicBezTo>
                  <a:cubicBezTo>
                    <a:pt x="76" y="76"/>
                    <a:pt x="78" y="76"/>
                    <a:pt x="78" y="79"/>
                  </a:cubicBezTo>
                  <a:cubicBezTo>
                    <a:pt x="76" y="81"/>
                    <a:pt x="72" y="76"/>
                    <a:pt x="73" y="79"/>
                  </a:cubicBezTo>
                  <a:cubicBezTo>
                    <a:pt x="72" y="79"/>
                    <a:pt x="69" y="78"/>
                    <a:pt x="67" y="79"/>
                  </a:cubicBezTo>
                  <a:cubicBezTo>
                    <a:pt x="66" y="81"/>
                    <a:pt x="64" y="87"/>
                    <a:pt x="63" y="89"/>
                  </a:cubicBezTo>
                  <a:cubicBezTo>
                    <a:pt x="61" y="89"/>
                    <a:pt x="49" y="89"/>
                    <a:pt x="48" y="87"/>
                  </a:cubicBezTo>
                  <a:cubicBezTo>
                    <a:pt x="46" y="87"/>
                    <a:pt x="37" y="76"/>
                    <a:pt x="34" y="75"/>
                  </a:cubicBezTo>
                  <a:cubicBezTo>
                    <a:pt x="32" y="71"/>
                    <a:pt x="29" y="70"/>
                    <a:pt x="26" y="67"/>
                  </a:cubicBezTo>
                  <a:cubicBezTo>
                    <a:pt x="25" y="67"/>
                    <a:pt x="23" y="65"/>
                    <a:pt x="22" y="65"/>
                  </a:cubicBezTo>
                  <a:cubicBezTo>
                    <a:pt x="19" y="62"/>
                    <a:pt x="17" y="59"/>
                    <a:pt x="14" y="59"/>
                  </a:cubicBezTo>
                  <a:cubicBezTo>
                    <a:pt x="11" y="57"/>
                    <a:pt x="7" y="57"/>
                    <a:pt x="3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3"/>
                    <a:pt x="3" y="54"/>
                    <a:pt x="2" y="54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3" y="53"/>
                    <a:pt x="3" y="53"/>
                    <a:pt x="3" y="53"/>
                  </a:cubicBezTo>
                  <a:cubicBezTo>
                    <a:pt x="3" y="53"/>
                    <a:pt x="3" y="53"/>
                    <a:pt x="3" y="51"/>
                  </a:cubicBezTo>
                  <a:cubicBezTo>
                    <a:pt x="2" y="50"/>
                    <a:pt x="2" y="47"/>
                    <a:pt x="0" y="43"/>
                  </a:cubicBezTo>
                  <a:cubicBezTo>
                    <a:pt x="3" y="40"/>
                    <a:pt x="8" y="39"/>
                    <a:pt x="11" y="37"/>
                  </a:cubicBezTo>
                  <a:cubicBezTo>
                    <a:pt x="13" y="36"/>
                    <a:pt x="16" y="34"/>
                    <a:pt x="19" y="33"/>
                  </a:cubicBezTo>
                  <a:cubicBezTo>
                    <a:pt x="19" y="31"/>
                    <a:pt x="20" y="30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0" y="28"/>
                    <a:pt x="20" y="26"/>
                  </a:cubicBezTo>
                  <a:cubicBezTo>
                    <a:pt x="20" y="26"/>
                    <a:pt x="20" y="25"/>
                    <a:pt x="20" y="23"/>
                  </a:cubicBezTo>
                  <a:cubicBezTo>
                    <a:pt x="20" y="22"/>
                    <a:pt x="22" y="19"/>
                    <a:pt x="22" y="17"/>
                  </a:cubicBezTo>
                  <a:cubicBezTo>
                    <a:pt x="20" y="16"/>
                    <a:pt x="20" y="14"/>
                    <a:pt x="20" y="11"/>
                  </a:cubicBezTo>
                  <a:cubicBezTo>
                    <a:pt x="22" y="9"/>
                    <a:pt x="23" y="9"/>
                    <a:pt x="25" y="9"/>
                  </a:cubicBezTo>
                  <a:cubicBezTo>
                    <a:pt x="26" y="8"/>
                    <a:pt x="28" y="5"/>
                    <a:pt x="29" y="3"/>
                  </a:cubicBezTo>
                  <a:cubicBezTo>
                    <a:pt x="31" y="3"/>
                    <a:pt x="31" y="2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4" y="0"/>
                    <a:pt x="34" y="2"/>
                    <a:pt x="34" y="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7" y="0"/>
                    <a:pt x="37" y="2"/>
                    <a:pt x="38" y="2"/>
                  </a:cubicBezTo>
                  <a:cubicBezTo>
                    <a:pt x="41" y="3"/>
                    <a:pt x="41" y="0"/>
                    <a:pt x="43" y="2"/>
                  </a:cubicBezTo>
                  <a:cubicBezTo>
                    <a:pt x="44" y="2"/>
                    <a:pt x="43" y="3"/>
                    <a:pt x="44" y="5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8" y="3"/>
                    <a:pt x="48" y="3"/>
                    <a:pt x="48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4" name="Freeform 79"/>
            <p:cNvSpPr>
              <a:spLocks/>
            </p:cNvSpPr>
            <p:nvPr/>
          </p:nvSpPr>
          <p:spPr bwMode="auto">
            <a:xfrm>
              <a:off x="6482766" y="3750487"/>
              <a:ext cx="35539" cy="47780"/>
            </a:xfrm>
            <a:custGeom>
              <a:avLst/>
              <a:gdLst/>
              <a:ahLst/>
              <a:cxnLst>
                <a:cxn ang="0">
                  <a:pos x="14" y="17"/>
                </a:cxn>
                <a:cxn ang="0">
                  <a:pos x="8" y="15"/>
                </a:cxn>
                <a:cxn ang="0">
                  <a:pos x="6" y="12"/>
                </a:cxn>
                <a:cxn ang="0">
                  <a:pos x="0" y="10"/>
                </a:cxn>
                <a:cxn ang="0">
                  <a:pos x="5" y="1"/>
                </a:cxn>
                <a:cxn ang="0">
                  <a:pos x="11" y="1"/>
                </a:cxn>
                <a:cxn ang="0">
                  <a:pos x="9" y="6"/>
                </a:cxn>
                <a:cxn ang="0">
                  <a:pos x="12" y="9"/>
                </a:cxn>
                <a:cxn ang="0">
                  <a:pos x="14" y="17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cubicBezTo>
                    <a:pt x="14" y="17"/>
                    <a:pt x="9" y="17"/>
                    <a:pt x="8" y="15"/>
                  </a:cubicBezTo>
                  <a:cubicBezTo>
                    <a:pt x="8" y="15"/>
                    <a:pt x="8" y="12"/>
                    <a:pt x="6" y="12"/>
                  </a:cubicBezTo>
                  <a:cubicBezTo>
                    <a:pt x="6" y="10"/>
                    <a:pt x="0" y="10"/>
                    <a:pt x="0" y="10"/>
                  </a:cubicBezTo>
                  <a:cubicBezTo>
                    <a:pt x="1" y="9"/>
                    <a:pt x="3" y="3"/>
                    <a:pt x="5" y="1"/>
                  </a:cubicBezTo>
                  <a:cubicBezTo>
                    <a:pt x="6" y="0"/>
                    <a:pt x="9" y="1"/>
                    <a:pt x="11" y="1"/>
                  </a:cubicBezTo>
                  <a:cubicBezTo>
                    <a:pt x="14" y="9"/>
                    <a:pt x="11" y="3"/>
                    <a:pt x="9" y="6"/>
                  </a:cubicBezTo>
                  <a:cubicBezTo>
                    <a:pt x="8" y="9"/>
                    <a:pt x="12" y="6"/>
                    <a:pt x="12" y="9"/>
                  </a:cubicBezTo>
                  <a:cubicBezTo>
                    <a:pt x="12" y="13"/>
                    <a:pt x="14" y="10"/>
                    <a:pt x="14" y="1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5" name="Freeform 80"/>
            <p:cNvSpPr>
              <a:spLocks/>
            </p:cNvSpPr>
            <p:nvPr/>
          </p:nvSpPr>
          <p:spPr bwMode="auto">
            <a:xfrm>
              <a:off x="6588068" y="3892377"/>
              <a:ext cx="163218" cy="241794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0" y="67"/>
                </a:cxn>
                <a:cxn ang="0">
                  <a:pos x="6" y="78"/>
                </a:cxn>
                <a:cxn ang="0">
                  <a:pos x="8" y="82"/>
                </a:cxn>
                <a:cxn ang="0">
                  <a:pos x="11" y="86"/>
                </a:cxn>
                <a:cxn ang="0">
                  <a:pos x="14" y="86"/>
                </a:cxn>
                <a:cxn ang="0">
                  <a:pos x="23" y="82"/>
                </a:cxn>
                <a:cxn ang="0">
                  <a:pos x="32" y="73"/>
                </a:cxn>
                <a:cxn ang="0">
                  <a:pos x="44" y="64"/>
                </a:cxn>
                <a:cxn ang="0">
                  <a:pos x="47" y="51"/>
                </a:cxn>
                <a:cxn ang="0">
                  <a:pos x="54" y="45"/>
                </a:cxn>
                <a:cxn ang="0">
                  <a:pos x="63" y="34"/>
                </a:cxn>
                <a:cxn ang="0">
                  <a:pos x="61" y="26"/>
                </a:cxn>
                <a:cxn ang="0">
                  <a:pos x="54" y="15"/>
                </a:cxn>
                <a:cxn ang="0">
                  <a:pos x="46" y="14"/>
                </a:cxn>
                <a:cxn ang="0">
                  <a:pos x="37" y="1"/>
                </a:cxn>
                <a:cxn ang="0">
                  <a:pos x="34" y="3"/>
                </a:cxn>
                <a:cxn ang="0">
                  <a:pos x="32" y="6"/>
                </a:cxn>
                <a:cxn ang="0">
                  <a:pos x="32" y="9"/>
                </a:cxn>
                <a:cxn ang="0">
                  <a:pos x="32" y="11"/>
                </a:cxn>
                <a:cxn ang="0">
                  <a:pos x="29" y="12"/>
                </a:cxn>
                <a:cxn ang="0">
                  <a:pos x="29" y="17"/>
                </a:cxn>
                <a:cxn ang="0">
                  <a:pos x="28" y="25"/>
                </a:cxn>
                <a:cxn ang="0">
                  <a:pos x="31" y="32"/>
                </a:cxn>
                <a:cxn ang="0">
                  <a:pos x="29" y="39"/>
                </a:cxn>
                <a:cxn ang="0">
                  <a:pos x="26" y="53"/>
                </a:cxn>
                <a:cxn ang="0">
                  <a:pos x="14" y="57"/>
                </a:cxn>
                <a:cxn ang="0">
                  <a:pos x="1" y="62"/>
                </a:cxn>
              </a:cxnLst>
              <a:rect l="0" t="0" r="r" b="b"/>
              <a:pathLst>
                <a:path w="64" h="86">
                  <a:moveTo>
                    <a:pt x="1" y="62"/>
                  </a:moveTo>
                  <a:cubicBezTo>
                    <a:pt x="1" y="64"/>
                    <a:pt x="0" y="65"/>
                    <a:pt x="0" y="67"/>
                  </a:cubicBezTo>
                  <a:cubicBezTo>
                    <a:pt x="1" y="70"/>
                    <a:pt x="5" y="75"/>
                    <a:pt x="6" y="78"/>
                  </a:cubicBezTo>
                  <a:cubicBezTo>
                    <a:pt x="8" y="79"/>
                    <a:pt x="6" y="79"/>
                    <a:pt x="8" y="82"/>
                  </a:cubicBezTo>
                  <a:cubicBezTo>
                    <a:pt x="8" y="84"/>
                    <a:pt x="9" y="86"/>
                    <a:pt x="11" y="86"/>
                  </a:cubicBezTo>
                  <a:cubicBezTo>
                    <a:pt x="11" y="86"/>
                    <a:pt x="12" y="86"/>
                    <a:pt x="14" y="86"/>
                  </a:cubicBezTo>
                  <a:cubicBezTo>
                    <a:pt x="15" y="86"/>
                    <a:pt x="17" y="82"/>
                    <a:pt x="23" y="82"/>
                  </a:cubicBezTo>
                  <a:cubicBezTo>
                    <a:pt x="29" y="84"/>
                    <a:pt x="26" y="73"/>
                    <a:pt x="32" y="73"/>
                  </a:cubicBezTo>
                  <a:cubicBezTo>
                    <a:pt x="41" y="73"/>
                    <a:pt x="35" y="65"/>
                    <a:pt x="44" y="64"/>
                  </a:cubicBezTo>
                  <a:cubicBezTo>
                    <a:pt x="52" y="62"/>
                    <a:pt x="44" y="61"/>
                    <a:pt x="47" y="51"/>
                  </a:cubicBezTo>
                  <a:cubicBezTo>
                    <a:pt x="52" y="40"/>
                    <a:pt x="50" y="54"/>
                    <a:pt x="54" y="45"/>
                  </a:cubicBezTo>
                  <a:cubicBezTo>
                    <a:pt x="57" y="39"/>
                    <a:pt x="60" y="42"/>
                    <a:pt x="63" y="34"/>
                  </a:cubicBezTo>
                  <a:cubicBezTo>
                    <a:pt x="64" y="28"/>
                    <a:pt x="64" y="28"/>
                    <a:pt x="61" y="26"/>
                  </a:cubicBezTo>
                  <a:cubicBezTo>
                    <a:pt x="60" y="25"/>
                    <a:pt x="57" y="15"/>
                    <a:pt x="54" y="15"/>
                  </a:cubicBezTo>
                  <a:cubicBezTo>
                    <a:pt x="50" y="17"/>
                    <a:pt x="52" y="14"/>
                    <a:pt x="46" y="14"/>
                  </a:cubicBezTo>
                  <a:cubicBezTo>
                    <a:pt x="41" y="14"/>
                    <a:pt x="37" y="6"/>
                    <a:pt x="37" y="1"/>
                  </a:cubicBezTo>
                  <a:cubicBezTo>
                    <a:pt x="34" y="3"/>
                    <a:pt x="35" y="6"/>
                    <a:pt x="34" y="3"/>
                  </a:cubicBezTo>
                  <a:cubicBezTo>
                    <a:pt x="32" y="0"/>
                    <a:pt x="32" y="3"/>
                    <a:pt x="32" y="6"/>
                  </a:cubicBezTo>
                  <a:cubicBezTo>
                    <a:pt x="32" y="9"/>
                    <a:pt x="31" y="9"/>
                    <a:pt x="32" y="9"/>
                  </a:cubicBezTo>
                  <a:cubicBezTo>
                    <a:pt x="34" y="9"/>
                    <a:pt x="35" y="11"/>
                    <a:pt x="32" y="11"/>
                  </a:cubicBezTo>
                  <a:cubicBezTo>
                    <a:pt x="31" y="12"/>
                    <a:pt x="29" y="12"/>
                    <a:pt x="29" y="12"/>
                  </a:cubicBezTo>
                  <a:cubicBezTo>
                    <a:pt x="31" y="14"/>
                    <a:pt x="31" y="12"/>
                    <a:pt x="29" y="17"/>
                  </a:cubicBezTo>
                  <a:cubicBezTo>
                    <a:pt x="26" y="21"/>
                    <a:pt x="28" y="23"/>
                    <a:pt x="28" y="25"/>
                  </a:cubicBezTo>
                  <a:cubicBezTo>
                    <a:pt x="28" y="26"/>
                    <a:pt x="31" y="31"/>
                    <a:pt x="31" y="32"/>
                  </a:cubicBezTo>
                  <a:cubicBezTo>
                    <a:pt x="31" y="34"/>
                    <a:pt x="29" y="37"/>
                    <a:pt x="29" y="39"/>
                  </a:cubicBezTo>
                  <a:cubicBezTo>
                    <a:pt x="29" y="40"/>
                    <a:pt x="26" y="51"/>
                    <a:pt x="26" y="53"/>
                  </a:cubicBezTo>
                  <a:cubicBezTo>
                    <a:pt x="24" y="54"/>
                    <a:pt x="17" y="56"/>
                    <a:pt x="14" y="57"/>
                  </a:cubicBezTo>
                  <a:cubicBezTo>
                    <a:pt x="9" y="59"/>
                    <a:pt x="6" y="61"/>
                    <a:pt x="1" y="6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6" name="Freeform 81"/>
            <p:cNvSpPr>
              <a:spLocks/>
            </p:cNvSpPr>
            <p:nvPr/>
          </p:nvSpPr>
          <p:spPr bwMode="auto">
            <a:xfrm>
              <a:off x="6395892" y="4067570"/>
              <a:ext cx="219818" cy="182431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75" y="5"/>
                </a:cxn>
                <a:cxn ang="0">
                  <a:pos x="81" y="16"/>
                </a:cxn>
                <a:cxn ang="0">
                  <a:pos x="83" y="20"/>
                </a:cxn>
                <a:cxn ang="0">
                  <a:pos x="86" y="23"/>
                </a:cxn>
                <a:cxn ang="0">
                  <a:pos x="77" y="36"/>
                </a:cxn>
                <a:cxn ang="0">
                  <a:pos x="69" y="39"/>
                </a:cxn>
                <a:cxn ang="0">
                  <a:pos x="61" y="42"/>
                </a:cxn>
                <a:cxn ang="0">
                  <a:pos x="46" y="50"/>
                </a:cxn>
                <a:cxn ang="0">
                  <a:pos x="31" y="56"/>
                </a:cxn>
                <a:cxn ang="0">
                  <a:pos x="23" y="61"/>
                </a:cxn>
                <a:cxn ang="0">
                  <a:pos x="19" y="62"/>
                </a:cxn>
                <a:cxn ang="0">
                  <a:pos x="16" y="64"/>
                </a:cxn>
                <a:cxn ang="0">
                  <a:pos x="13" y="64"/>
                </a:cxn>
                <a:cxn ang="0">
                  <a:pos x="8" y="62"/>
                </a:cxn>
                <a:cxn ang="0">
                  <a:pos x="7" y="56"/>
                </a:cxn>
                <a:cxn ang="0">
                  <a:pos x="5" y="47"/>
                </a:cxn>
                <a:cxn ang="0">
                  <a:pos x="4" y="40"/>
                </a:cxn>
                <a:cxn ang="0">
                  <a:pos x="2" y="37"/>
                </a:cxn>
                <a:cxn ang="0">
                  <a:pos x="2" y="33"/>
                </a:cxn>
                <a:cxn ang="0">
                  <a:pos x="4" y="26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7" y="17"/>
                </a:cxn>
                <a:cxn ang="0">
                  <a:pos x="7" y="17"/>
                </a:cxn>
                <a:cxn ang="0">
                  <a:pos x="8" y="16"/>
                </a:cxn>
                <a:cxn ang="0">
                  <a:pos x="11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3" y="17"/>
                </a:cxn>
                <a:cxn ang="0">
                  <a:pos x="14" y="17"/>
                </a:cxn>
                <a:cxn ang="0">
                  <a:pos x="31" y="23"/>
                </a:cxn>
                <a:cxn ang="0">
                  <a:pos x="31" y="26"/>
                </a:cxn>
                <a:cxn ang="0">
                  <a:pos x="31" y="34"/>
                </a:cxn>
                <a:cxn ang="0">
                  <a:pos x="46" y="16"/>
                </a:cxn>
                <a:cxn ang="0">
                  <a:pos x="51" y="8"/>
                </a:cxn>
                <a:cxn ang="0">
                  <a:pos x="65" y="5"/>
                </a:cxn>
                <a:cxn ang="0">
                  <a:pos x="77" y="0"/>
                </a:cxn>
              </a:cxnLst>
              <a:rect l="0" t="0" r="r" b="b"/>
              <a:pathLst>
                <a:path w="86" h="65">
                  <a:moveTo>
                    <a:pt x="77" y="0"/>
                  </a:moveTo>
                  <a:cubicBezTo>
                    <a:pt x="77" y="2"/>
                    <a:pt x="75" y="3"/>
                    <a:pt x="75" y="5"/>
                  </a:cubicBezTo>
                  <a:cubicBezTo>
                    <a:pt x="77" y="8"/>
                    <a:pt x="80" y="12"/>
                    <a:pt x="81" y="16"/>
                  </a:cubicBezTo>
                  <a:cubicBezTo>
                    <a:pt x="83" y="17"/>
                    <a:pt x="81" y="17"/>
                    <a:pt x="83" y="20"/>
                  </a:cubicBezTo>
                  <a:cubicBezTo>
                    <a:pt x="83" y="22"/>
                    <a:pt x="84" y="23"/>
                    <a:pt x="86" y="23"/>
                  </a:cubicBezTo>
                  <a:cubicBezTo>
                    <a:pt x="74" y="30"/>
                    <a:pt x="83" y="34"/>
                    <a:pt x="77" y="36"/>
                  </a:cubicBezTo>
                  <a:cubicBezTo>
                    <a:pt x="74" y="36"/>
                    <a:pt x="77" y="37"/>
                    <a:pt x="69" y="39"/>
                  </a:cubicBezTo>
                  <a:cubicBezTo>
                    <a:pt x="63" y="40"/>
                    <a:pt x="63" y="43"/>
                    <a:pt x="61" y="42"/>
                  </a:cubicBezTo>
                  <a:cubicBezTo>
                    <a:pt x="54" y="42"/>
                    <a:pt x="52" y="53"/>
                    <a:pt x="46" y="50"/>
                  </a:cubicBezTo>
                  <a:cubicBezTo>
                    <a:pt x="42" y="48"/>
                    <a:pt x="40" y="57"/>
                    <a:pt x="31" y="56"/>
                  </a:cubicBezTo>
                  <a:cubicBezTo>
                    <a:pt x="25" y="56"/>
                    <a:pt x="26" y="61"/>
                    <a:pt x="23" y="61"/>
                  </a:cubicBezTo>
                  <a:cubicBezTo>
                    <a:pt x="20" y="61"/>
                    <a:pt x="23" y="64"/>
                    <a:pt x="19" y="62"/>
                  </a:cubicBezTo>
                  <a:cubicBezTo>
                    <a:pt x="16" y="62"/>
                    <a:pt x="17" y="64"/>
                    <a:pt x="16" y="64"/>
                  </a:cubicBezTo>
                  <a:cubicBezTo>
                    <a:pt x="14" y="64"/>
                    <a:pt x="14" y="65"/>
                    <a:pt x="13" y="64"/>
                  </a:cubicBezTo>
                  <a:cubicBezTo>
                    <a:pt x="10" y="62"/>
                    <a:pt x="10" y="65"/>
                    <a:pt x="8" y="62"/>
                  </a:cubicBezTo>
                  <a:cubicBezTo>
                    <a:pt x="8" y="57"/>
                    <a:pt x="7" y="59"/>
                    <a:pt x="7" y="56"/>
                  </a:cubicBezTo>
                  <a:cubicBezTo>
                    <a:pt x="8" y="53"/>
                    <a:pt x="5" y="51"/>
                    <a:pt x="5" y="47"/>
                  </a:cubicBezTo>
                  <a:cubicBezTo>
                    <a:pt x="5" y="43"/>
                    <a:pt x="4" y="43"/>
                    <a:pt x="4" y="40"/>
                  </a:cubicBezTo>
                  <a:cubicBezTo>
                    <a:pt x="4" y="39"/>
                    <a:pt x="0" y="39"/>
                    <a:pt x="2" y="37"/>
                  </a:cubicBezTo>
                  <a:cubicBezTo>
                    <a:pt x="5" y="36"/>
                    <a:pt x="2" y="36"/>
                    <a:pt x="2" y="33"/>
                  </a:cubicBezTo>
                  <a:cubicBezTo>
                    <a:pt x="4" y="31"/>
                    <a:pt x="4" y="30"/>
                    <a:pt x="4" y="26"/>
                  </a:cubicBezTo>
                  <a:cubicBezTo>
                    <a:pt x="5" y="25"/>
                    <a:pt x="7" y="23"/>
                    <a:pt x="7" y="23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0"/>
                    <a:pt x="7" y="19"/>
                    <a:pt x="7" y="17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0" y="16"/>
                    <a:pt x="11" y="17"/>
                    <a:pt x="11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6"/>
                    <a:pt x="31" y="23"/>
                    <a:pt x="31" y="23"/>
                  </a:cubicBezTo>
                  <a:cubicBezTo>
                    <a:pt x="31" y="23"/>
                    <a:pt x="31" y="25"/>
                    <a:pt x="31" y="26"/>
                  </a:cubicBezTo>
                  <a:cubicBezTo>
                    <a:pt x="31" y="28"/>
                    <a:pt x="31" y="31"/>
                    <a:pt x="31" y="34"/>
                  </a:cubicBezTo>
                  <a:cubicBezTo>
                    <a:pt x="36" y="28"/>
                    <a:pt x="42" y="22"/>
                    <a:pt x="46" y="16"/>
                  </a:cubicBezTo>
                  <a:cubicBezTo>
                    <a:pt x="46" y="14"/>
                    <a:pt x="49" y="9"/>
                    <a:pt x="51" y="8"/>
                  </a:cubicBezTo>
                  <a:cubicBezTo>
                    <a:pt x="54" y="6"/>
                    <a:pt x="61" y="5"/>
                    <a:pt x="65" y="5"/>
                  </a:cubicBezTo>
                  <a:cubicBezTo>
                    <a:pt x="69" y="3"/>
                    <a:pt x="72" y="2"/>
                    <a:pt x="77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7" name="Freeform 82"/>
            <p:cNvSpPr>
              <a:spLocks/>
            </p:cNvSpPr>
            <p:nvPr/>
          </p:nvSpPr>
          <p:spPr bwMode="auto">
            <a:xfrm>
              <a:off x="5719329" y="3659270"/>
              <a:ext cx="331699" cy="393820"/>
            </a:xfrm>
            <a:custGeom>
              <a:avLst/>
              <a:gdLst/>
              <a:ahLst/>
              <a:cxnLst>
                <a:cxn ang="0">
                  <a:pos x="119" y="140"/>
                </a:cxn>
                <a:cxn ang="0">
                  <a:pos x="119" y="135"/>
                </a:cxn>
                <a:cxn ang="0">
                  <a:pos x="129" y="135"/>
                </a:cxn>
                <a:cxn ang="0">
                  <a:pos x="129" y="115"/>
                </a:cxn>
                <a:cxn ang="0">
                  <a:pos x="129" y="39"/>
                </a:cxn>
                <a:cxn ang="0">
                  <a:pos x="127" y="28"/>
                </a:cxn>
                <a:cxn ang="0">
                  <a:pos x="129" y="18"/>
                </a:cxn>
                <a:cxn ang="0">
                  <a:pos x="129" y="16"/>
                </a:cxn>
                <a:cxn ang="0">
                  <a:pos x="124" y="11"/>
                </a:cxn>
                <a:cxn ang="0">
                  <a:pos x="116" y="10"/>
                </a:cxn>
                <a:cxn ang="0">
                  <a:pos x="109" y="4"/>
                </a:cxn>
                <a:cxn ang="0">
                  <a:pos x="100" y="4"/>
                </a:cxn>
                <a:cxn ang="0">
                  <a:pos x="89" y="10"/>
                </a:cxn>
                <a:cxn ang="0">
                  <a:pos x="87" y="25"/>
                </a:cxn>
                <a:cxn ang="0">
                  <a:pos x="77" y="27"/>
                </a:cxn>
                <a:cxn ang="0">
                  <a:pos x="61" y="21"/>
                </a:cxn>
                <a:cxn ang="0">
                  <a:pos x="52" y="13"/>
                </a:cxn>
                <a:cxn ang="0">
                  <a:pos x="43" y="5"/>
                </a:cxn>
                <a:cxn ang="0">
                  <a:pos x="31" y="4"/>
                </a:cxn>
                <a:cxn ang="0">
                  <a:pos x="22" y="0"/>
                </a:cxn>
                <a:cxn ang="0">
                  <a:pos x="20" y="8"/>
                </a:cxn>
                <a:cxn ang="0">
                  <a:pos x="11" y="14"/>
                </a:cxn>
                <a:cxn ang="0">
                  <a:pos x="5" y="30"/>
                </a:cxn>
                <a:cxn ang="0">
                  <a:pos x="8" y="53"/>
                </a:cxn>
                <a:cxn ang="0">
                  <a:pos x="8" y="64"/>
                </a:cxn>
                <a:cxn ang="0">
                  <a:pos x="6" y="76"/>
                </a:cxn>
                <a:cxn ang="0">
                  <a:pos x="9" y="87"/>
                </a:cxn>
                <a:cxn ang="0">
                  <a:pos x="19" y="90"/>
                </a:cxn>
                <a:cxn ang="0">
                  <a:pos x="25" y="100"/>
                </a:cxn>
                <a:cxn ang="0">
                  <a:pos x="40" y="106"/>
                </a:cxn>
                <a:cxn ang="0">
                  <a:pos x="48" y="104"/>
                </a:cxn>
                <a:cxn ang="0">
                  <a:pos x="57" y="100"/>
                </a:cxn>
                <a:cxn ang="0">
                  <a:pos x="119" y="140"/>
                </a:cxn>
              </a:cxnLst>
              <a:rect l="0" t="0" r="r" b="b"/>
              <a:pathLst>
                <a:path w="130" h="140">
                  <a:moveTo>
                    <a:pt x="119" y="140"/>
                  </a:moveTo>
                  <a:cubicBezTo>
                    <a:pt x="119" y="135"/>
                    <a:pt x="119" y="135"/>
                    <a:pt x="119" y="135"/>
                  </a:cubicBezTo>
                  <a:cubicBezTo>
                    <a:pt x="129" y="135"/>
                    <a:pt x="129" y="135"/>
                    <a:pt x="129" y="135"/>
                  </a:cubicBezTo>
                  <a:cubicBezTo>
                    <a:pt x="129" y="115"/>
                    <a:pt x="129" y="115"/>
                    <a:pt x="129" y="115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6"/>
                    <a:pt x="124" y="35"/>
                    <a:pt x="127" y="28"/>
                  </a:cubicBezTo>
                  <a:cubicBezTo>
                    <a:pt x="130" y="24"/>
                    <a:pt x="125" y="21"/>
                    <a:pt x="129" y="18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29" y="14"/>
                    <a:pt x="129" y="11"/>
                    <a:pt x="124" y="11"/>
                  </a:cubicBezTo>
                  <a:cubicBezTo>
                    <a:pt x="119" y="11"/>
                    <a:pt x="121" y="11"/>
                    <a:pt x="116" y="10"/>
                  </a:cubicBezTo>
                  <a:cubicBezTo>
                    <a:pt x="112" y="10"/>
                    <a:pt x="116" y="7"/>
                    <a:pt x="109" y="4"/>
                  </a:cubicBezTo>
                  <a:cubicBezTo>
                    <a:pt x="103" y="0"/>
                    <a:pt x="101" y="2"/>
                    <a:pt x="100" y="4"/>
                  </a:cubicBezTo>
                  <a:cubicBezTo>
                    <a:pt x="98" y="5"/>
                    <a:pt x="96" y="2"/>
                    <a:pt x="89" y="10"/>
                  </a:cubicBezTo>
                  <a:cubicBezTo>
                    <a:pt x="86" y="14"/>
                    <a:pt x="92" y="21"/>
                    <a:pt x="87" y="25"/>
                  </a:cubicBezTo>
                  <a:cubicBezTo>
                    <a:pt x="83" y="32"/>
                    <a:pt x="80" y="32"/>
                    <a:pt x="77" y="27"/>
                  </a:cubicBezTo>
                  <a:cubicBezTo>
                    <a:pt x="74" y="24"/>
                    <a:pt x="67" y="21"/>
                    <a:pt x="61" y="21"/>
                  </a:cubicBezTo>
                  <a:cubicBezTo>
                    <a:pt x="57" y="19"/>
                    <a:pt x="54" y="19"/>
                    <a:pt x="52" y="13"/>
                  </a:cubicBezTo>
                  <a:cubicBezTo>
                    <a:pt x="51" y="5"/>
                    <a:pt x="46" y="8"/>
                    <a:pt x="43" y="5"/>
                  </a:cubicBezTo>
                  <a:cubicBezTo>
                    <a:pt x="41" y="4"/>
                    <a:pt x="35" y="2"/>
                    <a:pt x="31" y="4"/>
                  </a:cubicBezTo>
                  <a:cubicBezTo>
                    <a:pt x="28" y="4"/>
                    <a:pt x="23" y="0"/>
                    <a:pt x="22" y="0"/>
                  </a:cubicBezTo>
                  <a:cubicBezTo>
                    <a:pt x="19" y="5"/>
                    <a:pt x="23" y="7"/>
                    <a:pt x="20" y="8"/>
                  </a:cubicBezTo>
                  <a:cubicBezTo>
                    <a:pt x="17" y="10"/>
                    <a:pt x="15" y="11"/>
                    <a:pt x="11" y="14"/>
                  </a:cubicBezTo>
                  <a:cubicBezTo>
                    <a:pt x="6" y="19"/>
                    <a:pt x="15" y="24"/>
                    <a:pt x="5" y="30"/>
                  </a:cubicBezTo>
                  <a:cubicBezTo>
                    <a:pt x="9" y="44"/>
                    <a:pt x="6" y="47"/>
                    <a:pt x="8" y="53"/>
                  </a:cubicBezTo>
                  <a:cubicBezTo>
                    <a:pt x="9" y="58"/>
                    <a:pt x="6" y="59"/>
                    <a:pt x="8" y="64"/>
                  </a:cubicBezTo>
                  <a:cubicBezTo>
                    <a:pt x="9" y="72"/>
                    <a:pt x="0" y="69"/>
                    <a:pt x="6" y="76"/>
                  </a:cubicBezTo>
                  <a:cubicBezTo>
                    <a:pt x="11" y="84"/>
                    <a:pt x="8" y="83"/>
                    <a:pt x="9" y="87"/>
                  </a:cubicBezTo>
                  <a:cubicBezTo>
                    <a:pt x="12" y="92"/>
                    <a:pt x="12" y="87"/>
                    <a:pt x="19" y="90"/>
                  </a:cubicBezTo>
                  <a:cubicBezTo>
                    <a:pt x="23" y="94"/>
                    <a:pt x="22" y="94"/>
                    <a:pt x="25" y="100"/>
                  </a:cubicBezTo>
                  <a:cubicBezTo>
                    <a:pt x="28" y="103"/>
                    <a:pt x="37" y="101"/>
                    <a:pt x="40" y="106"/>
                  </a:cubicBezTo>
                  <a:cubicBezTo>
                    <a:pt x="43" y="111"/>
                    <a:pt x="41" y="109"/>
                    <a:pt x="48" y="104"/>
                  </a:cubicBezTo>
                  <a:cubicBezTo>
                    <a:pt x="51" y="103"/>
                    <a:pt x="55" y="100"/>
                    <a:pt x="57" y="100"/>
                  </a:cubicBezTo>
                  <a:cubicBezTo>
                    <a:pt x="78" y="112"/>
                    <a:pt x="119" y="140"/>
                    <a:pt x="119" y="14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8" name="Freeform 84"/>
            <p:cNvSpPr>
              <a:spLocks/>
            </p:cNvSpPr>
            <p:nvPr/>
          </p:nvSpPr>
          <p:spPr bwMode="auto">
            <a:xfrm>
              <a:off x="6191870" y="3583981"/>
              <a:ext cx="48702" cy="33301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0" y="6"/>
                </a:cxn>
                <a:cxn ang="0">
                  <a:pos x="5" y="6"/>
                </a:cxn>
                <a:cxn ang="0">
                  <a:pos x="8" y="3"/>
                </a:cxn>
                <a:cxn ang="0">
                  <a:pos x="17" y="0"/>
                </a:cxn>
                <a:cxn ang="0">
                  <a:pos x="17" y="1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5" y="10"/>
                </a:cxn>
                <a:cxn ang="0">
                  <a:pos x="2" y="9"/>
                </a:cxn>
              </a:cxnLst>
              <a:rect l="0" t="0" r="r" b="b"/>
              <a:pathLst>
                <a:path w="19" h="12">
                  <a:moveTo>
                    <a:pt x="2" y="9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7"/>
                    <a:pt x="2" y="4"/>
                    <a:pt x="5" y="6"/>
                  </a:cubicBezTo>
                  <a:cubicBezTo>
                    <a:pt x="6" y="6"/>
                    <a:pt x="3" y="3"/>
                    <a:pt x="8" y="3"/>
                  </a:cubicBezTo>
                  <a:cubicBezTo>
                    <a:pt x="12" y="4"/>
                    <a:pt x="15" y="1"/>
                    <a:pt x="17" y="0"/>
                  </a:cubicBezTo>
                  <a:cubicBezTo>
                    <a:pt x="19" y="0"/>
                    <a:pt x="19" y="0"/>
                    <a:pt x="17" y="1"/>
                  </a:cubicBezTo>
                  <a:cubicBezTo>
                    <a:pt x="14" y="4"/>
                    <a:pt x="12" y="4"/>
                    <a:pt x="14" y="6"/>
                  </a:cubicBezTo>
                  <a:cubicBezTo>
                    <a:pt x="15" y="7"/>
                    <a:pt x="12" y="6"/>
                    <a:pt x="11" y="7"/>
                  </a:cubicBezTo>
                  <a:cubicBezTo>
                    <a:pt x="9" y="10"/>
                    <a:pt x="6" y="10"/>
                    <a:pt x="6" y="10"/>
                  </a:cubicBezTo>
                  <a:cubicBezTo>
                    <a:pt x="6" y="12"/>
                    <a:pt x="6" y="10"/>
                    <a:pt x="5" y="10"/>
                  </a:cubicBezTo>
                  <a:cubicBezTo>
                    <a:pt x="3" y="10"/>
                    <a:pt x="2" y="10"/>
                    <a:pt x="2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49" name="Freeform 85"/>
            <p:cNvSpPr>
              <a:spLocks/>
            </p:cNvSpPr>
            <p:nvPr/>
          </p:nvSpPr>
          <p:spPr bwMode="auto">
            <a:xfrm>
              <a:off x="5827263" y="3569503"/>
              <a:ext cx="6581" cy="8687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3"/>
                </a:cxn>
                <a:cxn ang="0">
                  <a:pos x="1" y="2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1" y="0"/>
                    <a:pt x="3" y="3"/>
                    <a:pt x="3" y="3"/>
                  </a:cubicBezTo>
                  <a:cubicBezTo>
                    <a:pt x="1" y="3"/>
                    <a:pt x="0" y="2"/>
                    <a:pt x="1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0" name="Freeform 86"/>
            <p:cNvSpPr>
              <a:spLocks/>
            </p:cNvSpPr>
            <p:nvPr/>
          </p:nvSpPr>
          <p:spPr bwMode="auto">
            <a:xfrm>
              <a:off x="5365252" y="3533305"/>
              <a:ext cx="418574" cy="540055"/>
            </a:xfrm>
            <a:custGeom>
              <a:avLst/>
              <a:gdLst/>
              <a:ahLst/>
              <a:cxnLst>
                <a:cxn ang="0">
                  <a:pos x="0" y="102"/>
                </a:cxn>
                <a:cxn ang="0">
                  <a:pos x="0" y="106"/>
                </a:cxn>
                <a:cxn ang="0">
                  <a:pos x="32" y="129"/>
                </a:cxn>
                <a:cxn ang="0">
                  <a:pos x="77" y="168"/>
                </a:cxn>
                <a:cxn ang="0">
                  <a:pos x="80" y="173"/>
                </a:cxn>
                <a:cxn ang="0">
                  <a:pos x="85" y="178"/>
                </a:cxn>
                <a:cxn ang="0">
                  <a:pos x="91" y="181"/>
                </a:cxn>
                <a:cxn ang="0">
                  <a:pos x="94" y="188"/>
                </a:cxn>
                <a:cxn ang="0">
                  <a:pos x="102" y="188"/>
                </a:cxn>
                <a:cxn ang="0">
                  <a:pos x="129" y="171"/>
                </a:cxn>
                <a:cxn ang="0">
                  <a:pos x="164" y="145"/>
                </a:cxn>
                <a:cxn ang="0">
                  <a:pos x="158" y="136"/>
                </a:cxn>
                <a:cxn ang="0">
                  <a:pos x="148" y="133"/>
                </a:cxn>
                <a:cxn ang="0">
                  <a:pos x="145" y="122"/>
                </a:cxn>
                <a:cxn ang="0">
                  <a:pos x="147" y="109"/>
                </a:cxn>
                <a:cxn ang="0">
                  <a:pos x="147" y="98"/>
                </a:cxn>
                <a:cxn ang="0">
                  <a:pos x="144" y="75"/>
                </a:cxn>
                <a:cxn ang="0">
                  <a:pos x="133" y="49"/>
                </a:cxn>
                <a:cxn ang="0">
                  <a:pos x="127" y="36"/>
                </a:cxn>
                <a:cxn ang="0">
                  <a:pos x="133" y="28"/>
                </a:cxn>
                <a:cxn ang="0">
                  <a:pos x="135" y="18"/>
                </a:cxn>
                <a:cxn ang="0">
                  <a:pos x="133" y="10"/>
                </a:cxn>
                <a:cxn ang="0">
                  <a:pos x="136" y="4"/>
                </a:cxn>
                <a:cxn ang="0">
                  <a:pos x="132" y="5"/>
                </a:cxn>
                <a:cxn ang="0">
                  <a:pos x="127" y="2"/>
                </a:cxn>
                <a:cxn ang="0">
                  <a:pos x="123" y="4"/>
                </a:cxn>
                <a:cxn ang="0">
                  <a:pos x="115" y="5"/>
                </a:cxn>
                <a:cxn ang="0">
                  <a:pos x="109" y="7"/>
                </a:cxn>
                <a:cxn ang="0">
                  <a:pos x="98" y="5"/>
                </a:cxn>
                <a:cxn ang="0">
                  <a:pos x="91" y="7"/>
                </a:cxn>
                <a:cxn ang="0">
                  <a:pos x="83" y="8"/>
                </a:cxn>
                <a:cxn ang="0">
                  <a:pos x="70" y="14"/>
                </a:cxn>
                <a:cxn ang="0">
                  <a:pos x="65" y="16"/>
                </a:cxn>
                <a:cxn ang="0">
                  <a:pos x="59" y="19"/>
                </a:cxn>
                <a:cxn ang="0">
                  <a:pos x="51" y="24"/>
                </a:cxn>
                <a:cxn ang="0">
                  <a:pos x="59" y="50"/>
                </a:cxn>
                <a:cxn ang="0">
                  <a:pos x="59" y="55"/>
                </a:cxn>
                <a:cxn ang="0">
                  <a:pos x="45" y="58"/>
                </a:cxn>
                <a:cxn ang="0">
                  <a:pos x="38" y="63"/>
                </a:cxn>
                <a:cxn ang="0">
                  <a:pos x="36" y="70"/>
                </a:cxn>
                <a:cxn ang="0">
                  <a:pos x="27" y="77"/>
                </a:cxn>
                <a:cxn ang="0">
                  <a:pos x="7" y="86"/>
                </a:cxn>
                <a:cxn ang="0">
                  <a:pos x="0" y="91"/>
                </a:cxn>
                <a:cxn ang="0">
                  <a:pos x="0" y="102"/>
                </a:cxn>
              </a:cxnLst>
              <a:rect l="0" t="0" r="r" b="b"/>
              <a:pathLst>
                <a:path w="164" h="192">
                  <a:moveTo>
                    <a:pt x="0" y="102"/>
                  </a:moveTo>
                  <a:cubicBezTo>
                    <a:pt x="0" y="106"/>
                    <a:pt x="0" y="106"/>
                    <a:pt x="0" y="106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76" y="167"/>
                    <a:pt x="77" y="168"/>
                  </a:cubicBezTo>
                  <a:cubicBezTo>
                    <a:pt x="80" y="171"/>
                    <a:pt x="77" y="171"/>
                    <a:pt x="80" y="173"/>
                  </a:cubicBezTo>
                  <a:cubicBezTo>
                    <a:pt x="83" y="175"/>
                    <a:pt x="82" y="179"/>
                    <a:pt x="85" y="178"/>
                  </a:cubicBezTo>
                  <a:cubicBezTo>
                    <a:pt x="89" y="178"/>
                    <a:pt x="86" y="181"/>
                    <a:pt x="91" y="181"/>
                  </a:cubicBezTo>
                  <a:cubicBezTo>
                    <a:pt x="95" y="181"/>
                    <a:pt x="95" y="185"/>
                    <a:pt x="94" y="188"/>
                  </a:cubicBezTo>
                  <a:cubicBezTo>
                    <a:pt x="92" y="190"/>
                    <a:pt x="94" y="192"/>
                    <a:pt x="102" y="188"/>
                  </a:cubicBezTo>
                  <a:cubicBezTo>
                    <a:pt x="123" y="188"/>
                    <a:pt x="120" y="178"/>
                    <a:pt x="129" y="171"/>
                  </a:cubicBezTo>
                  <a:cubicBezTo>
                    <a:pt x="138" y="164"/>
                    <a:pt x="159" y="148"/>
                    <a:pt x="164" y="145"/>
                  </a:cubicBezTo>
                  <a:cubicBezTo>
                    <a:pt x="161" y="139"/>
                    <a:pt x="162" y="139"/>
                    <a:pt x="158" y="136"/>
                  </a:cubicBezTo>
                  <a:cubicBezTo>
                    <a:pt x="152" y="133"/>
                    <a:pt x="152" y="137"/>
                    <a:pt x="148" y="133"/>
                  </a:cubicBezTo>
                  <a:cubicBezTo>
                    <a:pt x="147" y="128"/>
                    <a:pt x="150" y="129"/>
                    <a:pt x="145" y="122"/>
                  </a:cubicBezTo>
                  <a:cubicBezTo>
                    <a:pt x="139" y="114"/>
                    <a:pt x="148" y="117"/>
                    <a:pt x="147" y="109"/>
                  </a:cubicBezTo>
                  <a:cubicBezTo>
                    <a:pt x="145" y="105"/>
                    <a:pt x="148" y="103"/>
                    <a:pt x="147" y="98"/>
                  </a:cubicBezTo>
                  <a:cubicBezTo>
                    <a:pt x="145" y="92"/>
                    <a:pt x="148" y="89"/>
                    <a:pt x="144" y="75"/>
                  </a:cubicBezTo>
                  <a:cubicBezTo>
                    <a:pt x="141" y="47"/>
                    <a:pt x="136" y="58"/>
                    <a:pt x="133" y="49"/>
                  </a:cubicBezTo>
                  <a:cubicBezTo>
                    <a:pt x="133" y="46"/>
                    <a:pt x="127" y="39"/>
                    <a:pt x="127" y="36"/>
                  </a:cubicBezTo>
                  <a:cubicBezTo>
                    <a:pt x="129" y="33"/>
                    <a:pt x="133" y="30"/>
                    <a:pt x="133" y="28"/>
                  </a:cubicBezTo>
                  <a:cubicBezTo>
                    <a:pt x="133" y="22"/>
                    <a:pt x="136" y="25"/>
                    <a:pt x="135" y="18"/>
                  </a:cubicBezTo>
                  <a:cubicBezTo>
                    <a:pt x="133" y="13"/>
                    <a:pt x="135" y="10"/>
                    <a:pt x="133" y="10"/>
                  </a:cubicBezTo>
                  <a:cubicBezTo>
                    <a:pt x="132" y="8"/>
                    <a:pt x="136" y="7"/>
                    <a:pt x="136" y="4"/>
                  </a:cubicBezTo>
                  <a:cubicBezTo>
                    <a:pt x="135" y="4"/>
                    <a:pt x="133" y="4"/>
                    <a:pt x="132" y="5"/>
                  </a:cubicBezTo>
                  <a:cubicBezTo>
                    <a:pt x="130" y="7"/>
                    <a:pt x="130" y="4"/>
                    <a:pt x="127" y="2"/>
                  </a:cubicBezTo>
                  <a:cubicBezTo>
                    <a:pt x="124" y="0"/>
                    <a:pt x="126" y="5"/>
                    <a:pt x="123" y="4"/>
                  </a:cubicBezTo>
                  <a:cubicBezTo>
                    <a:pt x="118" y="2"/>
                    <a:pt x="120" y="4"/>
                    <a:pt x="115" y="5"/>
                  </a:cubicBezTo>
                  <a:cubicBezTo>
                    <a:pt x="111" y="5"/>
                    <a:pt x="112" y="8"/>
                    <a:pt x="109" y="7"/>
                  </a:cubicBezTo>
                  <a:cubicBezTo>
                    <a:pt x="108" y="4"/>
                    <a:pt x="102" y="4"/>
                    <a:pt x="98" y="5"/>
                  </a:cubicBezTo>
                  <a:cubicBezTo>
                    <a:pt x="94" y="7"/>
                    <a:pt x="92" y="4"/>
                    <a:pt x="91" y="7"/>
                  </a:cubicBezTo>
                  <a:cubicBezTo>
                    <a:pt x="89" y="8"/>
                    <a:pt x="88" y="8"/>
                    <a:pt x="83" y="8"/>
                  </a:cubicBezTo>
                  <a:cubicBezTo>
                    <a:pt x="77" y="8"/>
                    <a:pt x="70" y="11"/>
                    <a:pt x="70" y="14"/>
                  </a:cubicBezTo>
                  <a:cubicBezTo>
                    <a:pt x="68" y="19"/>
                    <a:pt x="67" y="14"/>
                    <a:pt x="65" y="16"/>
                  </a:cubicBezTo>
                  <a:cubicBezTo>
                    <a:pt x="62" y="19"/>
                    <a:pt x="62" y="14"/>
                    <a:pt x="59" y="19"/>
                  </a:cubicBezTo>
                  <a:cubicBezTo>
                    <a:pt x="58" y="21"/>
                    <a:pt x="54" y="25"/>
                    <a:pt x="51" y="24"/>
                  </a:cubicBezTo>
                  <a:cubicBezTo>
                    <a:pt x="58" y="27"/>
                    <a:pt x="53" y="47"/>
                    <a:pt x="59" y="50"/>
                  </a:cubicBezTo>
                  <a:cubicBezTo>
                    <a:pt x="62" y="52"/>
                    <a:pt x="59" y="52"/>
                    <a:pt x="59" y="55"/>
                  </a:cubicBezTo>
                  <a:cubicBezTo>
                    <a:pt x="59" y="58"/>
                    <a:pt x="48" y="53"/>
                    <a:pt x="45" y="58"/>
                  </a:cubicBezTo>
                  <a:cubicBezTo>
                    <a:pt x="42" y="61"/>
                    <a:pt x="36" y="58"/>
                    <a:pt x="38" y="63"/>
                  </a:cubicBezTo>
                  <a:cubicBezTo>
                    <a:pt x="41" y="67"/>
                    <a:pt x="42" y="67"/>
                    <a:pt x="36" y="70"/>
                  </a:cubicBezTo>
                  <a:cubicBezTo>
                    <a:pt x="30" y="72"/>
                    <a:pt x="30" y="72"/>
                    <a:pt x="27" y="77"/>
                  </a:cubicBezTo>
                  <a:cubicBezTo>
                    <a:pt x="27" y="78"/>
                    <a:pt x="9" y="83"/>
                    <a:pt x="7" y="86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102"/>
                    <a:pt x="0" y="102"/>
                    <a:pt x="0" y="10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1" name="Freeform 87"/>
            <p:cNvSpPr>
              <a:spLocks/>
            </p:cNvSpPr>
            <p:nvPr/>
          </p:nvSpPr>
          <p:spPr bwMode="auto">
            <a:xfrm>
              <a:off x="5689055" y="3530410"/>
              <a:ext cx="89506" cy="214285"/>
            </a:xfrm>
            <a:custGeom>
              <a:avLst/>
              <a:gdLst/>
              <a:ahLst/>
              <a:cxnLst>
                <a:cxn ang="0">
                  <a:pos x="9" y="5"/>
                </a:cxn>
                <a:cxn ang="0">
                  <a:pos x="6" y="11"/>
                </a:cxn>
                <a:cxn ang="0">
                  <a:pos x="8" y="19"/>
                </a:cxn>
                <a:cxn ang="0">
                  <a:pos x="6" y="30"/>
                </a:cxn>
                <a:cxn ang="0">
                  <a:pos x="0" y="37"/>
                </a:cxn>
                <a:cxn ang="0">
                  <a:pos x="6" y="50"/>
                </a:cxn>
                <a:cxn ang="0">
                  <a:pos x="17" y="76"/>
                </a:cxn>
                <a:cxn ang="0">
                  <a:pos x="23" y="61"/>
                </a:cxn>
                <a:cxn ang="0">
                  <a:pos x="32" y="54"/>
                </a:cxn>
                <a:cxn ang="0">
                  <a:pos x="34" y="47"/>
                </a:cxn>
                <a:cxn ang="0">
                  <a:pos x="29" y="42"/>
                </a:cxn>
                <a:cxn ang="0">
                  <a:pos x="28" y="40"/>
                </a:cxn>
                <a:cxn ang="0">
                  <a:pos x="21" y="36"/>
                </a:cxn>
                <a:cxn ang="0">
                  <a:pos x="29" y="23"/>
                </a:cxn>
                <a:cxn ang="0">
                  <a:pos x="26" y="17"/>
                </a:cxn>
                <a:cxn ang="0">
                  <a:pos x="25" y="11"/>
                </a:cxn>
                <a:cxn ang="0">
                  <a:pos x="29" y="5"/>
                </a:cxn>
                <a:cxn ang="0">
                  <a:pos x="23" y="8"/>
                </a:cxn>
                <a:cxn ang="0">
                  <a:pos x="20" y="2"/>
                </a:cxn>
                <a:cxn ang="0">
                  <a:pos x="11" y="5"/>
                </a:cxn>
                <a:cxn ang="0">
                  <a:pos x="9" y="5"/>
                </a:cxn>
              </a:cxnLst>
              <a:rect l="0" t="0" r="r" b="b"/>
              <a:pathLst>
                <a:path w="35" h="76">
                  <a:moveTo>
                    <a:pt x="9" y="5"/>
                  </a:moveTo>
                  <a:cubicBezTo>
                    <a:pt x="9" y="8"/>
                    <a:pt x="5" y="9"/>
                    <a:pt x="6" y="11"/>
                  </a:cubicBezTo>
                  <a:cubicBezTo>
                    <a:pt x="8" y="11"/>
                    <a:pt x="6" y="14"/>
                    <a:pt x="8" y="19"/>
                  </a:cubicBezTo>
                  <a:cubicBezTo>
                    <a:pt x="9" y="26"/>
                    <a:pt x="6" y="23"/>
                    <a:pt x="6" y="30"/>
                  </a:cubicBezTo>
                  <a:cubicBezTo>
                    <a:pt x="6" y="31"/>
                    <a:pt x="2" y="34"/>
                    <a:pt x="0" y="37"/>
                  </a:cubicBezTo>
                  <a:cubicBezTo>
                    <a:pt x="0" y="40"/>
                    <a:pt x="6" y="47"/>
                    <a:pt x="6" y="50"/>
                  </a:cubicBezTo>
                  <a:cubicBezTo>
                    <a:pt x="9" y="59"/>
                    <a:pt x="14" y="48"/>
                    <a:pt x="17" y="76"/>
                  </a:cubicBezTo>
                  <a:cubicBezTo>
                    <a:pt x="28" y="70"/>
                    <a:pt x="18" y="65"/>
                    <a:pt x="23" y="61"/>
                  </a:cubicBezTo>
                  <a:cubicBezTo>
                    <a:pt x="28" y="57"/>
                    <a:pt x="29" y="56"/>
                    <a:pt x="32" y="54"/>
                  </a:cubicBezTo>
                  <a:cubicBezTo>
                    <a:pt x="35" y="53"/>
                    <a:pt x="31" y="51"/>
                    <a:pt x="34" y="47"/>
                  </a:cubicBezTo>
                  <a:cubicBezTo>
                    <a:pt x="31" y="45"/>
                    <a:pt x="31" y="45"/>
                    <a:pt x="29" y="42"/>
                  </a:cubicBezTo>
                  <a:cubicBezTo>
                    <a:pt x="29" y="39"/>
                    <a:pt x="28" y="42"/>
                    <a:pt x="28" y="40"/>
                  </a:cubicBezTo>
                  <a:cubicBezTo>
                    <a:pt x="26" y="40"/>
                    <a:pt x="21" y="40"/>
                    <a:pt x="21" y="36"/>
                  </a:cubicBezTo>
                  <a:cubicBezTo>
                    <a:pt x="20" y="33"/>
                    <a:pt x="32" y="26"/>
                    <a:pt x="29" y="23"/>
                  </a:cubicBezTo>
                  <a:cubicBezTo>
                    <a:pt x="28" y="20"/>
                    <a:pt x="31" y="20"/>
                    <a:pt x="26" y="17"/>
                  </a:cubicBezTo>
                  <a:cubicBezTo>
                    <a:pt x="23" y="16"/>
                    <a:pt x="23" y="12"/>
                    <a:pt x="25" y="11"/>
                  </a:cubicBezTo>
                  <a:cubicBezTo>
                    <a:pt x="28" y="9"/>
                    <a:pt x="31" y="6"/>
                    <a:pt x="29" y="5"/>
                  </a:cubicBezTo>
                  <a:cubicBezTo>
                    <a:pt x="28" y="2"/>
                    <a:pt x="25" y="8"/>
                    <a:pt x="23" y="8"/>
                  </a:cubicBezTo>
                  <a:cubicBezTo>
                    <a:pt x="21" y="6"/>
                    <a:pt x="25" y="3"/>
                    <a:pt x="20" y="2"/>
                  </a:cubicBezTo>
                  <a:cubicBezTo>
                    <a:pt x="14" y="0"/>
                    <a:pt x="12" y="5"/>
                    <a:pt x="11" y="5"/>
                  </a:cubicBezTo>
                  <a:cubicBezTo>
                    <a:pt x="11" y="5"/>
                    <a:pt x="11" y="5"/>
                    <a:pt x="9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2" name="Freeform 88"/>
            <p:cNvSpPr>
              <a:spLocks/>
            </p:cNvSpPr>
            <p:nvPr/>
          </p:nvSpPr>
          <p:spPr bwMode="auto">
            <a:xfrm>
              <a:off x="6036549" y="3699811"/>
              <a:ext cx="231663" cy="299710"/>
            </a:xfrm>
            <a:custGeom>
              <a:avLst/>
              <a:gdLst/>
              <a:ahLst/>
              <a:cxnLst>
                <a:cxn ang="0">
                  <a:pos x="82" y="24"/>
                </a:cxn>
                <a:cxn ang="0">
                  <a:pos x="77" y="41"/>
                </a:cxn>
                <a:cxn ang="0">
                  <a:pos x="70" y="36"/>
                </a:cxn>
                <a:cxn ang="0">
                  <a:pos x="67" y="27"/>
                </a:cxn>
                <a:cxn ang="0">
                  <a:pos x="64" y="19"/>
                </a:cxn>
                <a:cxn ang="0">
                  <a:pos x="64" y="27"/>
                </a:cxn>
                <a:cxn ang="0">
                  <a:pos x="71" y="44"/>
                </a:cxn>
                <a:cxn ang="0">
                  <a:pos x="74" y="52"/>
                </a:cxn>
                <a:cxn ang="0">
                  <a:pos x="83" y="74"/>
                </a:cxn>
                <a:cxn ang="0">
                  <a:pos x="88" y="82"/>
                </a:cxn>
                <a:cxn ang="0">
                  <a:pos x="88" y="91"/>
                </a:cxn>
                <a:cxn ang="0">
                  <a:pos x="82" y="96"/>
                </a:cxn>
                <a:cxn ang="0">
                  <a:pos x="76" y="102"/>
                </a:cxn>
                <a:cxn ang="0">
                  <a:pos x="68" y="102"/>
                </a:cxn>
                <a:cxn ang="0">
                  <a:pos x="54" y="102"/>
                </a:cxn>
                <a:cxn ang="0">
                  <a:pos x="54" y="100"/>
                </a:cxn>
                <a:cxn ang="0">
                  <a:pos x="53" y="102"/>
                </a:cxn>
                <a:cxn ang="0">
                  <a:pos x="4" y="102"/>
                </a:cxn>
                <a:cxn ang="0">
                  <a:pos x="4" y="25"/>
                </a:cxn>
                <a:cxn ang="0">
                  <a:pos x="3" y="14"/>
                </a:cxn>
                <a:cxn ang="0">
                  <a:pos x="4" y="3"/>
                </a:cxn>
                <a:cxn ang="0">
                  <a:pos x="16" y="3"/>
                </a:cxn>
                <a:cxn ang="0">
                  <a:pos x="24" y="6"/>
                </a:cxn>
                <a:cxn ang="0">
                  <a:pos x="30" y="8"/>
                </a:cxn>
                <a:cxn ang="0">
                  <a:pos x="39" y="9"/>
                </a:cxn>
                <a:cxn ang="0">
                  <a:pos x="45" y="5"/>
                </a:cxn>
                <a:cxn ang="0">
                  <a:pos x="50" y="2"/>
                </a:cxn>
                <a:cxn ang="0">
                  <a:pos x="56" y="3"/>
                </a:cxn>
                <a:cxn ang="0">
                  <a:pos x="59" y="3"/>
                </a:cxn>
                <a:cxn ang="0">
                  <a:pos x="61" y="5"/>
                </a:cxn>
                <a:cxn ang="0">
                  <a:pos x="57" y="3"/>
                </a:cxn>
                <a:cxn ang="0">
                  <a:pos x="57" y="5"/>
                </a:cxn>
                <a:cxn ang="0">
                  <a:pos x="59" y="6"/>
                </a:cxn>
                <a:cxn ang="0">
                  <a:pos x="61" y="6"/>
                </a:cxn>
                <a:cxn ang="0">
                  <a:pos x="62" y="6"/>
                </a:cxn>
                <a:cxn ang="0">
                  <a:pos x="68" y="6"/>
                </a:cxn>
                <a:cxn ang="0">
                  <a:pos x="76" y="5"/>
                </a:cxn>
                <a:cxn ang="0">
                  <a:pos x="77" y="6"/>
                </a:cxn>
                <a:cxn ang="0">
                  <a:pos x="82" y="24"/>
                </a:cxn>
              </a:cxnLst>
              <a:rect l="0" t="0" r="r" b="b"/>
              <a:pathLst>
                <a:path w="91" h="107">
                  <a:moveTo>
                    <a:pt x="82" y="24"/>
                  </a:moveTo>
                  <a:cubicBezTo>
                    <a:pt x="77" y="38"/>
                    <a:pt x="79" y="38"/>
                    <a:pt x="77" y="41"/>
                  </a:cubicBezTo>
                  <a:cubicBezTo>
                    <a:pt x="76" y="44"/>
                    <a:pt x="74" y="41"/>
                    <a:pt x="70" y="36"/>
                  </a:cubicBezTo>
                  <a:cubicBezTo>
                    <a:pt x="67" y="33"/>
                    <a:pt x="70" y="30"/>
                    <a:pt x="67" y="27"/>
                  </a:cubicBezTo>
                  <a:cubicBezTo>
                    <a:pt x="62" y="22"/>
                    <a:pt x="65" y="20"/>
                    <a:pt x="64" y="19"/>
                  </a:cubicBezTo>
                  <a:cubicBezTo>
                    <a:pt x="59" y="25"/>
                    <a:pt x="64" y="22"/>
                    <a:pt x="64" y="27"/>
                  </a:cubicBezTo>
                  <a:cubicBezTo>
                    <a:pt x="64" y="33"/>
                    <a:pt x="71" y="39"/>
                    <a:pt x="71" y="44"/>
                  </a:cubicBezTo>
                  <a:cubicBezTo>
                    <a:pt x="71" y="47"/>
                    <a:pt x="74" y="49"/>
                    <a:pt x="74" y="52"/>
                  </a:cubicBezTo>
                  <a:cubicBezTo>
                    <a:pt x="73" y="56"/>
                    <a:pt x="79" y="63"/>
                    <a:pt x="83" y="74"/>
                  </a:cubicBezTo>
                  <a:cubicBezTo>
                    <a:pt x="86" y="82"/>
                    <a:pt x="91" y="82"/>
                    <a:pt x="88" y="82"/>
                  </a:cubicBezTo>
                  <a:cubicBezTo>
                    <a:pt x="85" y="82"/>
                    <a:pt x="86" y="88"/>
                    <a:pt x="88" y="91"/>
                  </a:cubicBezTo>
                  <a:cubicBezTo>
                    <a:pt x="85" y="96"/>
                    <a:pt x="83" y="91"/>
                    <a:pt x="82" y="96"/>
                  </a:cubicBezTo>
                  <a:cubicBezTo>
                    <a:pt x="80" y="100"/>
                    <a:pt x="77" y="99"/>
                    <a:pt x="76" y="102"/>
                  </a:cubicBezTo>
                  <a:cubicBezTo>
                    <a:pt x="74" y="105"/>
                    <a:pt x="71" y="107"/>
                    <a:pt x="68" y="102"/>
                  </a:cubicBezTo>
                  <a:cubicBezTo>
                    <a:pt x="54" y="102"/>
                    <a:pt x="54" y="102"/>
                    <a:pt x="54" y="102"/>
                  </a:cubicBezTo>
                  <a:cubicBezTo>
                    <a:pt x="54" y="100"/>
                    <a:pt x="54" y="100"/>
                    <a:pt x="54" y="100"/>
                  </a:cubicBezTo>
                  <a:cubicBezTo>
                    <a:pt x="53" y="102"/>
                    <a:pt x="53" y="102"/>
                    <a:pt x="53" y="102"/>
                  </a:cubicBezTo>
                  <a:cubicBezTo>
                    <a:pt x="4" y="102"/>
                    <a:pt x="4" y="102"/>
                    <a:pt x="4" y="10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2"/>
                    <a:pt x="0" y="20"/>
                    <a:pt x="3" y="14"/>
                  </a:cubicBezTo>
                  <a:cubicBezTo>
                    <a:pt x="6" y="9"/>
                    <a:pt x="1" y="6"/>
                    <a:pt x="4" y="3"/>
                  </a:cubicBezTo>
                  <a:cubicBezTo>
                    <a:pt x="6" y="3"/>
                    <a:pt x="7" y="0"/>
                    <a:pt x="16" y="3"/>
                  </a:cubicBezTo>
                  <a:cubicBezTo>
                    <a:pt x="27" y="5"/>
                    <a:pt x="22" y="6"/>
                    <a:pt x="24" y="6"/>
                  </a:cubicBezTo>
                  <a:cubicBezTo>
                    <a:pt x="27" y="5"/>
                    <a:pt x="27" y="8"/>
                    <a:pt x="30" y="8"/>
                  </a:cubicBezTo>
                  <a:cubicBezTo>
                    <a:pt x="32" y="6"/>
                    <a:pt x="36" y="13"/>
                    <a:pt x="39" y="9"/>
                  </a:cubicBezTo>
                  <a:cubicBezTo>
                    <a:pt x="45" y="3"/>
                    <a:pt x="44" y="6"/>
                    <a:pt x="45" y="5"/>
                  </a:cubicBezTo>
                  <a:cubicBezTo>
                    <a:pt x="47" y="2"/>
                    <a:pt x="47" y="3"/>
                    <a:pt x="50" y="2"/>
                  </a:cubicBezTo>
                  <a:cubicBezTo>
                    <a:pt x="53" y="0"/>
                    <a:pt x="54" y="5"/>
                    <a:pt x="56" y="3"/>
                  </a:cubicBezTo>
                  <a:cubicBezTo>
                    <a:pt x="57" y="2"/>
                    <a:pt x="57" y="2"/>
                    <a:pt x="59" y="3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59" y="5"/>
                    <a:pt x="57" y="3"/>
                    <a:pt x="57" y="3"/>
                  </a:cubicBezTo>
                  <a:cubicBezTo>
                    <a:pt x="57" y="5"/>
                    <a:pt x="56" y="5"/>
                    <a:pt x="57" y="5"/>
                  </a:cubicBezTo>
                  <a:cubicBezTo>
                    <a:pt x="57" y="6"/>
                    <a:pt x="59" y="5"/>
                    <a:pt x="59" y="6"/>
                  </a:cubicBezTo>
                  <a:cubicBezTo>
                    <a:pt x="61" y="8"/>
                    <a:pt x="62" y="6"/>
                    <a:pt x="61" y="6"/>
                  </a:cubicBezTo>
                  <a:cubicBezTo>
                    <a:pt x="61" y="5"/>
                    <a:pt x="61" y="5"/>
                    <a:pt x="62" y="6"/>
                  </a:cubicBezTo>
                  <a:cubicBezTo>
                    <a:pt x="65" y="9"/>
                    <a:pt x="67" y="5"/>
                    <a:pt x="68" y="6"/>
                  </a:cubicBezTo>
                  <a:cubicBezTo>
                    <a:pt x="70" y="8"/>
                    <a:pt x="68" y="8"/>
                    <a:pt x="76" y="5"/>
                  </a:cubicBezTo>
                  <a:cubicBezTo>
                    <a:pt x="76" y="5"/>
                    <a:pt x="76" y="6"/>
                    <a:pt x="77" y="6"/>
                  </a:cubicBezTo>
                  <a:cubicBezTo>
                    <a:pt x="79" y="11"/>
                    <a:pt x="80" y="17"/>
                    <a:pt x="82" y="2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3" name="Freeform 89"/>
            <p:cNvSpPr>
              <a:spLocks/>
            </p:cNvSpPr>
            <p:nvPr/>
          </p:nvSpPr>
          <p:spPr bwMode="auto">
            <a:xfrm>
              <a:off x="6260316" y="3530410"/>
              <a:ext cx="135576" cy="152027"/>
            </a:xfrm>
            <a:custGeom>
              <a:avLst/>
              <a:gdLst/>
              <a:ahLst/>
              <a:cxnLst>
                <a:cxn ang="0">
                  <a:pos x="2" y="29"/>
                </a:cxn>
                <a:cxn ang="0">
                  <a:pos x="5" y="29"/>
                </a:cxn>
                <a:cxn ang="0">
                  <a:pos x="5" y="29"/>
                </a:cxn>
                <a:cxn ang="0">
                  <a:pos x="5" y="31"/>
                </a:cxn>
                <a:cxn ang="0">
                  <a:pos x="8" y="34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3" y="39"/>
                </a:cxn>
                <a:cxn ang="0">
                  <a:pos x="2" y="40"/>
                </a:cxn>
                <a:cxn ang="0">
                  <a:pos x="3" y="40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0" y="48"/>
                </a:cxn>
                <a:cxn ang="0">
                  <a:pos x="0" y="49"/>
                </a:cxn>
                <a:cxn ang="0">
                  <a:pos x="2" y="49"/>
                </a:cxn>
                <a:cxn ang="0">
                  <a:pos x="3" y="52"/>
                </a:cxn>
                <a:cxn ang="0">
                  <a:pos x="9" y="54"/>
                </a:cxn>
                <a:cxn ang="0">
                  <a:pos x="18" y="48"/>
                </a:cxn>
                <a:cxn ang="0">
                  <a:pos x="24" y="43"/>
                </a:cxn>
                <a:cxn ang="0">
                  <a:pos x="35" y="37"/>
                </a:cxn>
                <a:cxn ang="0">
                  <a:pos x="43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26"/>
                </a:cxn>
                <a:cxn ang="0">
                  <a:pos x="44" y="23"/>
                </a:cxn>
                <a:cxn ang="0">
                  <a:pos x="46" y="17"/>
                </a:cxn>
                <a:cxn ang="0">
                  <a:pos x="44" y="11"/>
                </a:cxn>
                <a:cxn ang="0">
                  <a:pos x="49" y="9"/>
                </a:cxn>
                <a:cxn ang="0">
                  <a:pos x="53" y="3"/>
                </a:cxn>
                <a:cxn ang="0">
                  <a:pos x="53" y="2"/>
                </a:cxn>
                <a:cxn ang="0">
                  <a:pos x="52" y="2"/>
                </a:cxn>
                <a:cxn ang="0">
                  <a:pos x="47" y="3"/>
                </a:cxn>
                <a:cxn ang="0">
                  <a:pos x="41" y="3"/>
                </a:cxn>
                <a:cxn ang="0">
                  <a:pos x="27" y="8"/>
                </a:cxn>
                <a:cxn ang="0">
                  <a:pos x="21" y="5"/>
                </a:cxn>
                <a:cxn ang="0">
                  <a:pos x="14" y="8"/>
                </a:cxn>
                <a:cxn ang="0">
                  <a:pos x="12" y="8"/>
                </a:cxn>
                <a:cxn ang="0">
                  <a:pos x="8" y="6"/>
                </a:cxn>
                <a:cxn ang="0">
                  <a:pos x="8" y="11"/>
                </a:cxn>
                <a:cxn ang="0">
                  <a:pos x="8" y="12"/>
                </a:cxn>
                <a:cxn ang="0">
                  <a:pos x="6" y="12"/>
                </a:cxn>
                <a:cxn ang="0">
                  <a:pos x="3" y="17"/>
                </a:cxn>
                <a:cxn ang="0">
                  <a:pos x="2" y="15"/>
                </a:cxn>
                <a:cxn ang="0">
                  <a:pos x="2" y="22"/>
                </a:cxn>
                <a:cxn ang="0">
                  <a:pos x="2" y="29"/>
                </a:cxn>
              </a:cxnLst>
              <a:rect l="0" t="0" r="r" b="b"/>
              <a:pathLst>
                <a:path w="53" h="54">
                  <a:moveTo>
                    <a:pt x="2" y="29"/>
                  </a:moveTo>
                  <a:cubicBezTo>
                    <a:pt x="3" y="29"/>
                    <a:pt x="3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1"/>
                    <a:pt x="5" y="31"/>
                    <a:pt x="5" y="31"/>
                  </a:cubicBezTo>
                  <a:cubicBezTo>
                    <a:pt x="6" y="31"/>
                    <a:pt x="8" y="32"/>
                    <a:pt x="8" y="34"/>
                  </a:cubicBezTo>
                  <a:cubicBezTo>
                    <a:pt x="8" y="36"/>
                    <a:pt x="5" y="36"/>
                    <a:pt x="5" y="37"/>
                  </a:cubicBezTo>
                  <a:cubicBezTo>
                    <a:pt x="5" y="37"/>
                    <a:pt x="6" y="37"/>
                    <a:pt x="6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9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2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1"/>
                    <a:pt x="0" y="49"/>
                    <a:pt x="2" y="49"/>
                  </a:cubicBezTo>
                  <a:cubicBezTo>
                    <a:pt x="3" y="51"/>
                    <a:pt x="3" y="51"/>
                    <a:pt x="3" y="52"/>
                  </a:cubicBezTo>
                  <a:cubicBezTo>
                    <a:pt x="5" y="52"/>
                    <a:pt x="8" y="54"/>
                    <a:pt x="9" y="54"/>
                  </a:cubicBezTo>
                  <a:cubicBezTo>
                    <a:pt x="11" y="54"/>
                    <a:pt x="15" y="49"/>
                    <a:pt x="18" y="48"/>
                  </a:cubicBezTo>
                  <a:cubicBezTo>
                    <a:pt x="20" y="46"/>
                    <a:pt x="23" y="45"/>
                    <a:pt x="24" y="43"/>
                  </a:cubicBezTo>
                  <a:cubicBezTo>
                    <a:pt x="27" y="40"/>
                    <a:pt x="32" y="39"/>
                    <a:pt x="35" y="37"/>
                  </a:cubicBezTo>
                  <a:cubicBezTo>
                    <a:pt x="37" y="36"/>
                    <a:pt x="40" y="34"/>
                    <a:pt x="43" y="32"/>
                  </a:cubicBezTo>
                  <a:cubicBezTo>
                    <a:pt x="43" y="31"/>
                    <a:pt x="44" y="29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6"/>
                  </a:cubicBezTo>
                  <a:cubicBezTo>
                    <a:pt x="44" y="26"/>
                    <a:pt x="44" y="25"/>
                    <a:pt x="44" y="23"/>
                  </a:cubicBezTo>
                  <a:cubicBezTo>
                    <a:pt x="44" y="22"/>
                    <a:pt x="46" y="19"/>
                    <a:pt x="46" y="17"/>
                  </a:cubicBezTo>
                  <a:cubicBezTo>
                    <a:pt x="44" y="15"/>
                    <a:pt x="44" y="14"/>
                    <a:pt x="44" y="11"/>
                  </a:cubicBezTo>
                  <a:cubicBezTo>
                    <a:pt x="46" y="9"/>
                    <a:pt x="47" y="9"/>
                    <a:pt x="49" y="9"/>
                  </a:cubicBezTo>
                  <a:cubicBezTo>
                    <a:pt x="50" y="8"/>
                    <a:pt x="52" y="5"/>
                    <a:pt x="53" y="3"/>
                  </a:cubicBezTo>
                  <a:cubicBezTo>
                    <a:pt x="53" y="2"/>
                    <a:pt x="53" y="2"/>
                    <a:pt x="53" y="2"/>
                  </a:cubicBezTo>
                  <a:cubicBezTo>
                    <a:pt x="53" y="2"/>
                    <a:pt x="52" y="0"/>
                    <a:pt x="52" y="2"/>
                  </a:cubicBezTo>
                  <a:cubicBezTo>
                    <a:pt x="50" y="3"/>
                    <a:pt x="49" y="3"/>
                    <a:pt x="47" y="3"/>
                  </a:cubicBezTo>
                  <a:cubicBezTo>
                    <a:pt x="44" y="3"/>
                    <a:pt x="43" y="3"/>
                    <a:pt x="41" y="3"/>
                  </a:cubicBezTo>
                  <a:cubicBezTo>
                    <a:pt x="37" y="5"/>
                    <a:pt x="34" y="8"/>
                    <a:pt x="27" y="8"/>
                  </a:cubicBezTo>
                  <a:cubicBezTo>
                    <a:pt x="24" y="8"/>
                    <a:pt x="24" y="6"/>
                    <a:pt x="21" y="5"/>
                  </a:cubicBezTo>
                  <a:cubicBezTo>
                    <a:pt x="18" y="5"/>
                    <a:pt x="17" y="8"/>
                    <a:pt x="14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8"/>
                    <a:pt x="8" y="6"/>
                    <a:pt x="8" y="6"/>
                  </a:cubicBezTo>
                  <a:cubicBezTo>
                    <a:pt x="8" y="6"/>
                    <a:pt x="6" y="9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7"/>
                    <a:pt x="3" y="17"/>
                  </a:cubicBezTo>
                  <a:cubicBezTo>
                    <a:pt x="3" y="17"/>
                    <a:pt x="3" y="15"/>
                    <a:pt x="2" y="15"/>
                  </a:cubicBezTo>
                  <a:cubicBezTo>
                    <a:pt x="2" y="17"/>
                    <a:pt x="0" y="19"/>
                    <a:pt x="2" y="22"/>
                  </a:cubicBezTo>
                  <a:cubicBezTo>
                    <a:pt x="3" y="23"/>
                    <a:pt x="2" y="25"/>
                    <a:pt x="2" y="2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4" name="Freeform 90"/>
            <p:cNvSpPr>
              <a:spLocks/>
            </p:cNvSpPr>
            <p:nvPr/>
          </p:nvSpPr>
          <p:spPr bwMode="auto">
            <a:xfrm>
              <a:off x="6248470" y="3611490"/>
              <a:ext cx="30274" cy="47780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3" y="16"/>
                </a:cxn>
                <a:cxn ang="0">
                  <a:pos x="3" y="17"/>
                </a:cxn>
                <a:cxn ang="0">
                  <a:pos x="0" y="17"/>
                </a:cxn>
                <a:cxn ang="0">
                  <a:pos x="3" y="11"/>
                </a:cxn>
                <a:cxn ang="0">
                  <a:pos x="5" y="6"/>
                </a:cxn>
                <a:cxn ang="0">
                  <a:pos x="6" y="0"/>
                </a:cxn>
                <a:cxn ang="0">
                  <a:pos x="9" y="0"/>
                </a:cxn>
                <a:cxn ang="0">
                  <a:pos x="9" y="0"/>
                </a:cxn>
                <a:cxn ang="0">
                  <a:pos x="9" y="2"/>
                </a:cxn>
                <a:cxn ang="0">
                  <a:pos x="12" y="5"/>
                </a:cxn>
                <a:cxn ang="0">
                  <a:pos x="9" y="8"/>
                </a:cxn>
                <a:cxn ang="0">
                  <a:pos x="11" y="10"/>
                </a:cxn>
                <a:cxn ang="0">
                  <a:pos x="8" y="10"/>
                </a:cxn>
                <a:cxn ang="0">
                  <a:pos x="6" y="11"/>
                </a:cxn>
                <a:cxn ang="0">
                  <a:pos x="8" y="11"/>
                </a:cxn>
                <a:cxn ang="0">
                  <a:pos x="5" y="16"/>
                </a:cxn>
              </a:cxnLst>
              <a:rect l="0" t="0" r="r" b="b"/>
              <a:pathLst>
                <a:path w="12" h="17">
                  <a:moveTo>
                    <a:pt x="5" y="16"/>
                  </a:moveTo>
                  <a:cubicBezTo>
                    <a:pt x="3" y="16"/>
                    <a:pt x="3" y="14"/>
                    <a:pt x="3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2" y="17"/>
                    <a:pt x="0" y="17"/>
                  </a:cubicBezTo>
                  <a:cubicBezTo>
                    <a:pt x="2" y="13"/>
                    <a:pt x="2" y="14"/>
                    <a:pt x="3" y="11"/>
                  </a:cubicBezTo>
                  <a:cubicBezTo>
                    <a:pt x="3" y="6"/>
                    <a:pt x="5" y="10"/>
                    <a:pt x="5" y="6"/>
                  </a:cubicBezTo>
                  <a:cubicBezTo>
                    <a:pt x="3" y="2"/>
                    <a:pt x="8" y="3"/>
                    <a:pt x="6" y="0"/>
                  </a:cubicBezTo>
                  <a:cubicBezTo>
                    <a:pt x="8" y="0"/>
                    <a:pt x="8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1" y="2"/>
                    <a:pt x="9" y="2"/>
                    <a:pt x="9" y="2"/>
                  </a:cubicBezTo>
                  <a:cubicBezTo>
                    <a:pt x="11" y="2"/>
                    <a:pt x="12" y="3"/>
                    <a:pt x="12" y="5"/>
                  </a:cubicBezTo>
                  <a:cubicBezTo>
                    <a:pt x="12" y="6"/>
                    <a:pt x="9" y="6"/>
                    <a:pt x="9" y="8"/>
                  </a:cubicBezTo>
                  <a:cubicBezTo>
                    <a:pt x="9" y="8"/>
                    <a:pt x="11" y="8"/>
                    <a:pt x="11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6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3"/>
                    <a:pt x="5" y="16"/>
                    <a:pt x="5" y="1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5" name="Freeform 91"/>
            <p:cNvSpPr>
              <a:spLocks/>
            </p:cNvSpPr>
            <p:nvPr/>
          </p:nvSpPr>
          <p:spPr bwMode="auto">
            <a:xfrm>
              <a:off x="6245837" y="3652031"/>
              <a:ext cx="89506" cy="123069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5" y="10"/>
                </a:cxn>
                <a:cxn ang="0">
                  <a:pos x="5" y="11"/>
                </a:cxn>
                <a:cxn ang="0">
                  <a:pos x="5" y="19"/>
                </a:cxn>
                <a:cxn ang="0">
                  <a:pos x="5" y="24"/>
                </a:cxn>
                <a:cxn ang="0">
                  <a:pos x="2" y="34"/>
                </a:cxn>
                <a:cxn ang="0">
                  <a:pos x="0" y="40"/>
                </a:cxn>
                <a:cxn ang="0">
                  <a:pos x="0" y="42"/>
                </a:cxn>
                <a:cxn ang="0">
                  <a:pos x="9" y="44"/>
                </a:cxn>
                <a:cxn ang="0">
                  <a:pos x="15" y="37"/>
                </a:cxn>
                <a:cxn ang="0">
                  <a:pos x="21" y="36"/>
                </a:cxn>
                <a:cxn ang="0">
                  <a:pos x="21" y="33"/>
                </a:cxn>
                <a:cxn ang="0">
                  <a:pos x="24" y="30"/>
                </a:cxn>
                <a:cxn ang="0">
                  <a:pos x="17" y="20"/>
                </a:cxn>
                <a:cxn ang="0">
                  <a:pos x="21" y="19"/>
                </a:cxn>
                <a:cxn ang="0">
                  <a:pos x="33" y="13"/>
                </a:cxn>
                <a:cxn ang="0">
                  <a:pos x="35" y="13"/>
                </a:cxn>
                <a:cxn ang="0">
                  <a:pos x="32" y="11"/>
                </a:cxn>
                <a:cxn ang="0">
                  <a:pos x="32" y="10"/>
                </a:cxn>
                <a:cxn ang="0">
                  <a:pos x="33" y="10"/>
                </a:cxn>
                <a:cxn ang="0">
                  <a:pos x="33" y="8"/>
                </a:cxn>
                <a:cxn ang="0">
                  <a:pos x="30" y="0"/>
                </a:cxn>
                <a:cxn ang="0">
                  <a:pos x="24" y="5"/>
                </a:cxn>
                <a:cxn ang="0">
                  <a:pos x="15" y="11"/>
                </a:cxn>
                <a:cxn ang="0">
                  <a:pos x="9" y="10"/>
                </a:cxn>
                <a:cxn ang="0">
                  <a:pos x="8" y="7"/>
                </a:cxn>
                <a:cxn ang="0">
                  <a:pos x="6" y="7"/>
                </a:cxn>
              </a:cxnLst>
              <a:rect l="0" t="0" r="r" b="b"/>
              <a:pathLst>
                <a:path w="35" h="44">
                  <a:moveTo>
                    <a:pt x="6" y="7"/>
                  </a:moveTo>
                  <a:cubicBezTo>
                    <a:pt x="5" y="7"/>
                    <a:pt x="5" y="8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3"/>
                    <a:pt x="6" y="17"/>
                    <a:pt x="5" y="19"/>
                  </a:cubicBezTo>
                  <a:cubicBezTo>
                    <a:pt x="5" y="20"/>
                    <a:pt x="5" y="22"/>
                    <a:pt x="5" y="24"/>
                  </a:cubicBezTo>
                  <a:cubicBezTo>
                    <a:pt x="5" y="25"/>
                    <a:pt x="2" y="30"/>
                    <a:pt x="2" y="34"/>
                  </a:cubicBezTo>
                  <a:cubicBezTo>
                    <a:pt x="2" y="36"/>
                    <a:pt x="0" y="40"/>
                    <a:pt x="0" y="40"/>
                  </a:cubicBezTo>
                  <a:cubicBezTo>
                    <a:pt x="0" y="40"/>
                    <a:pt x="0" y="40"/>
                    <a:pt x="0" y="42"/>
                  </a:cubicBezTo>
                  <a:cubicBezTo>
                    <a:pt x="2" y="42"/>
                    <a:pt x="8" y="44"/>
                    <a:pt x="9" y="44"/>
                  </a:cubicBezTo>
                  <a:cubicBezTo>
                    <a:pt x="12" y="44"/>
                    <a:pt x="12" y="39"/>
                    <a:pt x="15" y="37"/>
                  </a:cubicBezTo>
                  <a:cubicBezTo>
                    <a:pt x="15" y="36"/>
                    <a:pt x="20" y="37"/>
                    <a:pt x="21" y="36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3" y="31"/>
                    <a:pt x="24" y="31"/>
                    <a:pt x="24" y="3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19"/>
                    <a:pt x="20" y="19"/>
                    <a:pt x="21" y="19"/>
                  </a:cubicBezTo>
                  <a:cubicBezTo>
                    <a:pt x="23" y="17"/>
                    <a:pt x="32" y="16"/>
                    <a:pt x="33" y="13"/>
                  </a:cubicBezTo>
                  <a:cubicBezTo>
                    <a:pt x="35" y="13"/>
                    <a:pt x="35" y="13"/>
                    <a:pt x="35" y="13"/>
                  </a:cubicBezTo>
                  <a:cubicBezTo>
                    <a:pt x="35" y="10"/>
                    <a:pt x="33" y="11"/>
                    <a:pt x="32" y="11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8"/>
                  </a:cubicBezTo>
                  <a:cubicBezTo>
                    <a:pt x="32" y="7"/>
                    <a:pt x="32" y="4"/>
                    <a:pt x="30" y="0"/>
                  </a:cubicBezTo>
                  <a:cubicBezTo>
                    <a:pt x="29" y="2"/>
                    <a:pt x="26" y="4"/>
                    <a:pt x="24" y="5"/>
                  </a:cubicBezTo>
                  <a:cubicBezTo>
                    <a:pt x="21" y="7"/>
                    <a:pt x="17" y="11"/>
                    <a:pt x="15" y="11"/>
                  </a:cubicBezTo>
                  <a:cubicBezTo>
                    <a:pt x="14" y="11"/>
                    <a:pt x="11" y="10"/>
                    <a:pt x="9" y="10"/>
                  </a:cubicBezTo>
                  <a:cubicBezTo>
                    <a:pt x="9" y="8"/>
                    <a:pt x="9" y="8"/>
                    <a:pt x="8" y="7"/>
                  </a:cubicBezTo>
                  <a:cubicBezTo>
                    <a:pt x="6" y="7"/>
                    <a:pt x="6" y="8"/>
                    <a:pt x="6" y="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6" name="Freeform 92"/>
            <p:cNvSpPr>
              <a:spLocks/>
            </p:cNvSpPr>
            <p:nvPr/>
          </p:nvSpPr>
          <p:spPr bwMode="auto">
            <a:xfrm>
              <a:off x="6370882" y="4258689"/>
              <a:ext cx="217185" cy="380789"/>
            </a:xfrm>
            <a:custGeom>
              <a:avLst/>
              <a:gdLst/>
              <a:ahLst/>
              <a:cxnLst>
                <a:cxn ang="0">
                  <a:pos x="5" y="136"/>
                </a:cxn>
                <a:cxn ang="0">
                  <a:pos x="0" y="126"/>
                </a:cxn>
                <a:cxn ang="0">
                  <a:pos x="0" y="92"/>
                </a:cxn>
                <a:cxn ang="0">
                  <a:pos x="8" y="81"/>
                </a:cxn>
                <a:cxn ang="0">
                  <a:pos x="12" y="78"/>
                </a:cxn>
                <a:cxn ang="0">
                  <a:pos x="18" y="73"/>
                </a:cxn>
                <a:cxn ang="0">
                  <a:pos x="33" y="69"/>
                </a:cxn>
                <a:cxn ang="0">
                  <a:pos x="49" y="48"/>
                </a:cxn>
                <a:cxn ang="0">
                  <a:pos x="53" y="41"/>
                </a:cxn>
                <a:cxn ang="0">
                  <a:pos x="38" y="38"/>
                </a:cxn>
                <a:cxn ang="0">
                  <a:pos x="23" y="30"/>
                </a:cxn>
                <a:cxn ang="0">
                  <a:pos x="18" y="25"/>
                </a:cxn>
                <a:cxn ang="0">
                  <a:pos x="15" y="20"/>
                </a:cxn>
                <a:cxn ang="0">
                  <a:pos x="15" y="13"/>
                </a:cxn>
                <a:cxn ang="0">
                  <a:pos x="18" y="6"/>
                </a:cxn>
                <a:cxn ang="0">
                  <a:pos x="27" y="17"/>
                </a:cxn>
                <a:cxn ang="0">
                  <a:pos x="41" y="14"/>
                </a:cxn>
                <a:cxn ang="0">
                  <a:pos x="53" y="11"/>
                </a:cxn>
                <a:cxn ang="0">
                  <a:pos x="62" y="8"/>
                </a:cxn>
                <a:cxn ang="0">
                  <a:pos x="79" y="3"/>
                </a:cxn>
                <a:cxn ang="0">
                  <a:pos x="80" y="16"/>
                </a:cxn>
                <a:cxn ang="0">
                  <a:pos x="77" y="24"/>
                </a:cxn>
                <a:cxn ang="0">
                  <a:pos x="68" y="48"/>
                </a:cxn>
                <a:cxn ang="0">
                  <a:pos x="35" y="98"/>
                </a:cxn>
                <a:cxn ang="0">
                  <a:pos x="12" y="122"/>
                </a:cxn>
                <a:cxn ang="0">
                  <a:pos x="5" y="136"/>
                </a:cxn>
              </a:cxnLst>
              <a:rect l="0" t="0" r="r" b="b"/>
              <a:pathLst>
                <a:path w="85" h="136">
                  <a:moveTo>
                    <a:pt x="5" y="136"/>
                  </a:moveTo>
                  <a:cubicBezTo>
                    <a:pt x="3" y="131"/>
                    <a:pt x="0" y="133"/>
                    <a:pt x="0" y="126"/>
                  </a:cubicBezTo>
                  <a:cubicBezTo>
                    <a:pt x="0" y="119"/>
                    <a:pt x="0" y="92"/>
                    <a:pt x="0" y="92"/>
                  </a:cubicBezTo>
                  <a:cubicBezTo>
                    <a:pt x="0" y="92"/>
                    <a:pt x="5" y="84"/>
                    <a:pt x="8" y="81"/>
                  </a:cubicBezTo>
                  <a:cubicBezTo>
                    <a:pt x="9" y="78"/>
                    <a:pt x="9" y="78"/>
                    <a:pt x="12" y="78"/>
                  </a:cubicBezTo>
                  <a:cubicBezTo>
                    <a:pt x="18" y="78"/>
                    <a:pt x="11" y="77"/>
                    <a:pt x="18" y="73"/>
                  </a:cubicBezTo>
                  <a:cubicBezTo>
                    <a:pt x="27" y="69"/>
                    <a:pt x="27" y="77"/>
                    <a:pt x="33" y="69"/>
                  </a:cubicBezTo>
                  <a:cubicBezTo>
                    <a:pt x="39" y="61"/>
                    <a:pt x="42" y="56"/>
                    <a:pt x="49" y="48"/>
                  </a:cubicBezTo>
                  <a:cubicBezTo>
                    <a:pt x="56" y="41"/>
                    <a:pt x="56" y="41"/>
                    <a:pt x="53" y="41"/>
                  </a:cubicBezTo>
                  <a:cubicBezTo>
                    <a:pt x="52" y="41"/>
                    <a:pt x="49" y="42"/>
                    <a:pt x="38" y="38"/>
                  </a:cubicBezTo>
                  <a:cubicBezTo>
                    <a:pt x="27" y="33"/>
                    <a:pt x="26" y="34"/>
                    <a:pt x="23" y="30"/>
                  </a:cubicBezTo>
                  <a:cubicBezTo>
                    <a:pt x="20" y="27"/>
                    <a:pt x="18" y="28"/>
                    <a:pt x="18" y="25"/>
                  </a:cubicBezTo>
                  <a:cubicBezTo>
                    <a:pt x="17" y="22"/>
                    <a:pt x="17" y="24"/>
                    <a:pt x="15" y="20"/>
                  </a:cubicBezTo>
                  <a:cubicBezTo>
                    <a:pt x="14" y="16"/>
                    <a:pt x="12" y="16"/>
                    <a:pt x="15" y="13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21" y="11"/>
                    <a:pt x="20" y="14"/>
                    <a:pt x="27" y="17"/>
                  </a:cubicBezTo>
                  <a:cubicBezTo>
                    <a:pt x="32" y="20"/>
                    <a:pt x="33" y="11"/>
                    <a:pt x="41" y="14"/>
                  </a:cubicBezTo>
                  <a:cubicBezTo>
                    <a:pt x="47" y="17"/>
                    <a:pt x="45" y="10"/>
                    <a:pt x="53" y="11"/>
                  </a:cubicBezTo>
                  <a:cubicBezTo>
                    <a:pt x="61" y="11"/>
                    <a:pt x="52" y="8"/>
                    <a:pt x="62" y="8"/>
                  </a:cubicBezTo>
                  <a:cubicBezTo>
                    <a:pt x="73" y="10"/>
                    <a:pt x="74" y="0"/>
                    <a:pt x="79" y="3"/>
                  </a:cubicBezTo>
                  <a:cubicBezTo>
                    <a:pt x="83" y="5"/>
                    <a:pt x="76" y="8"/>
                    <a:pt x="80" y="16"/>
                  </a:cubicBezTo>
                  <a:cubicBezTo>
                    <a:pt x="85" y="22"/>
                    <a:pt x="79" y="13"/>
                    <a:pt x="77" y="24"/>
                  </a:cubicBezTo>
                  <a:cubicBezTo>
                    <a:pt x="77" y="30"/>
                    <a:pt x="73" y="34"/>
                    <a:pt x="68" y="48"/>
                  </a:cubicBezTo>
                  <a:cubicBezTo>
                    <a:pt x="59" y="72"/>
                    <a:pt x="47" y="89"/>
                    <a:pt x="35" y="98"/>
                  </a:cubicBezTo>
                  <a:cubicBezTo>
                    <a:pt x="21" y="109"/>
                    <a:pt x="21" y="111"/>
                    <a:pt x="12" y="122"/>
                  </a:cubicBezTo>
                  <a:cubicBezTo>
                    <a:pt x="5" y="131"/>
                    <a:pt x="9" y="130"/>
                    <a:pt x="5" y="13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7" name="Freeform 93"/>
            <p:cNvSpPr>
              <a:spLocks/>
            </p:cNvSpPr>
            <p:nvPr/>
          </p:nvSpPr>
          <p:spPr bwMode="auto">
            <a:xfrm>
              <a:off x="6199768" y="4176160"/>
              <a:ext cx="313272" cy="328666"/>
            </a:xfrm>
            <a:custGeom>
              <a:avLst/>
              <a:gdLst/>
              <a:ahLst/>
              <a:cxnLst>
                <a:cxn ang="0">
                  <a:pos x="26" y="104"/>
                </a:cxn>
                <a:cxn ang="0">
                  <a:pos x="38" y="109"/>
                </a:cxn>
                <a:cxn ang="0">
                  <a:pos x="49" y="114"/>
                </a:cxn>
                <a:cxn ang="0">
                  <a:pos x="53" y="115"/>
                </a:cxn>
                <a:cxn ang="0">
                  <a:pos x="61" y="109"/>
                </a:cxn>
                <a:cxn ang="0">
                  <a:pos x="67" y="109"/>
                </a:cxn>
                <a:cxn ang="0">
                  <a:pos x="75" y="110"/>
                </a:cxn>
                <a:cxn ang="0">
                  <a:pos x="79" y="107"/>
                </a:cxn>
                <a:cxn ang="0">
                  <a:pos x="85" y="103"/>
                </a:cxn>
                <a:cxn ang="0">
                  <a:pos x="101" y="98"/>
                </a:cxn>
                <a:cxn ang="0">
                  <a:pos x="116" y="78"/>
                </a:cxn>
                <a:cxn ang="0">
                  <a:pos x="120" y="70"/>
                </a:cxn>
                <a:cxn ang="0">
                  <a:pos x="105" y="67"/>
                </a:cxn>
                <a:cxn ang="0">
                  <a:pos x="90" y="59"/>
                </a:cxn>
                <a:cxn ang="0">
                  <a:pos x="85" y="54"/>
                </a:cxn>
                <a:cxn ang="0">
                  <a:pos x="82" y="50"/>
                </a:cxn>
                <a:cxn ang="0">
                  <a:pos x="82" y="42"/>
                </a:cxn>
                <a:cxn ang="0">
                  <a:pos x="73" y="40"/>
                </a:cxn>
                <a:cxn ang="0">
                  <a:pos x="78" y="26"/>
                </a:cxn>
                <a:cxn ang="0">
                  <a:pos x="72" y="17"/>
                </a:cxn>
                <a:cxn ang="0">
                  <a:pos x="64" y="9"/>
                </a:cxn>
                <a:cxn ang="0">
                  <a:pos x="56" y="6"/>
                </a:cxn>
                <a:cxn ang="0">
                  <a:pos x="52" y="6"/>
                </a:cxn>
                <a:cxn ang="0">
                  <a:pos x="44" y="3"/>
                </a:cxn>
                <a:cxn ang="0">
                  <a:pos x="38" y="7"/>
                </a:cxn>
                <a:cxn ang="0">
                  <a:pos x="32" y="7"/>
                </a:cxn>
                <a:cxn ang="0">
                  <a:pos x="29" y="23"/>
                </a:cxn>
                <a:cxn ang="0">
                  <a:pos x="21" y="31"/>
                </a:cxn>
                <a:cxn ang="0">
                  <a:pos x="18" y="43"/>
                </a:cxn>
                <a:cxn ang="0">
                  <a:pos x="14" y="43"/>
                </a:cxn>
                <a:cxn ang="0">
                  <a:pos x="14" y="51"/>
                </a:cxn>
                <a:cxn ang="0">
                  <a:pos x="9" y="67"/>
                </a:cxn>
                <a:cxn ang="0">
                  <a:pos x="5" y="70"/>
                </a:cxn>
                <a:cxn ang="0">
                  <a:pos x="12" y="78"/>
                </a:cxn>
                <a:cxn ang="0">
                  <a:pos x="18" y="87"/>
                </a:cxn>
                <a:cxn ang="0">
                  <a:pos x="24" y="96"/>
                </a:cxn>
                <a:cxn ang="0">
                  <a:pos x="26" y="104"/>
                </a:cxn>
              </a:cxnLst>
              <a:rect l="0" t="0" r="r" b="b"/>
              <a:pathLst>
                <a:path w="123" h="117">
                  <a:moveTo>
                    <a:pt x="26" y="104"/>
                  </a:moveTo>
                  <a:cubicBezTo>
                    <a:pt x="31" y="109"/>
                    <a:pt x="31" y="101"/>
                    <a:pt x="38" y="109"/>
                  </a:cubicBezTo>
                  <a:cubicBezTo>
                    <a:pt x="46" y="117"/>
                    <a:pt x="46" y="112"/>
                    <a:pt x="49" y="114"/>
                  </a:cubicBezTo>
                  <a:cubicBezTo>
                    <a:pt x="52" y="115"/>
                    <a:pt x="53" y="114"/>
                    <a:pt x="53" y="115"/>
                  </a:cubicBezTo>
                  <a:cubicBezTo>
                    <a:pt x="56" y="117"/>
                    <a:pt x="55" y="112"/>
                    <a:pt x="61" y="109"/>
                  </a:cubicBezTo>
                  <a:cubicBezTo>
                    <a:pt x="66" y="106"/>
                    <a:pt x="66" y="107"/>
                    <a:pt x="67" y="109"/>
                  </a:cubicBezTo>
                  <a:cubicBezTo>
                    <a:pt x="69" y="110"/>
                    <a:pt x="72" y="110"/>
                    <a:pt x="75" y="110"/>
                  </a:cubicBezTo>
                  <a:cubicBezTo>
                    <a:pt x="76" y="107"/>
                    <a:pt x="76" y="107"/>
                    <a:pt x="79" y="107"/>
                  </a:cubicBezTo>
                  <a:cubicBezTo>
                    <a:pt x="85" y="107"/>
                    <a:pt x="78" y="106"/>
                    <a:pt x="85" y="103"/>
                  </a:cubicBezTo>
                  <a:cubicBezTo>
                    <a:pt x="94" y="98"/>
                    <a:pt x="94" y="106"/>
                    <a:pt x="101" y="98"/>
                  </a:cubicBezTo>
                  <a:cubicBezTo>
                    <a:pt x="107" y="90"/>
                    <a:pt x="110" y="85"/>
                    <a:pt x="116" y="78"/>
                  </a:cubicBezTo>
                  <a:cubicBezTo>
                    <a:pt x="123" y="70"/>
                    <a:pt x="123" y="70"/>
                    <a:pt x="120" y="70"/>
                  </a:cubicBezTo>
                  <a:cubicBezTo>
                    <a:pt x="119" y="70"/>
                    <a:pt x="116" y="71"/>
                    <a:pt x="105" y="67"/>
                  </a:cubicBezTo>
                  <a:cubicBezTo>
                    <a:pt x="94" y="62"/>
                    <a:pt x="93" y="64"/>
                    <a:pt x="90" y="59"/>
                  </a:cubicBezTo>
                  <a:cubicBezTo>
                    <a:pt x="87" y="56"/>
                    <a:pt x="85" y="57"/>
                    <a:pt x="85" y="54"/>
                  </a:cubicBezTo>
                  <a:cubicBezTo>
                    <a:pt x="84" y="51"/>
                    <a:pt x="84" y="53"/>
                    <a:pt x="82" y="50"/>
                  </a:cubicBezTo>
                  <a:cubicBezTo>
                    <a:pt x="81" y="45"/>
                    <a:pt x="79" y="45"/>
                    <a:pt x="82" y="42"/>
                  </a:cubicBezTo>
                  <a:cubicBezTo>
                    <a:pt x="81" y="37"/>
                    <a:pt x="76" y="43"/>
                    <a:pt x="73" y="40"/>
                  </a:cubicBezTo>
                  <a:cubicBezTo>
                    <a:pt x="73" y="31"/>
                    <a:pt x="75" y="36"/>
                    <a:pt x="78" y="26"/>
                  </a:cubicBezTo>
                  <a:cubicBezTo>
                    <a:pt x="73" y="23"/>
                    <a:pt x="75" y="20"/>
                    <a:pt x="72" y="17"/>
                  </a:cubicBezTo>
                  <a:cubicBezTo>
                    <a:pt x="69" y="15"/>
                    <a:pt x="67" y="9"/>
                    <a:pt x="64" y="9"/>
                  </a:cubicBezTo>
                  <a:cubicBezTo>
                    <a:pt x="62" y="7"/>
                    <a:pt x="61" y="6"/>
                    <a:pt x="56" y="6"/>
                  </a:cubicBezTo>
                  <a:cubicBezTo>
                    <a:pt x="52" y="4"/>
                    <a:pt x="53" y="7"/>
                    <a:pt x="52" y="6"/>
                  </a:cubicBezTo>
                  <a:cubicBezTo>
                    <a:pt x="50" y="3"/>
                    <a:pt x="50" y="12"/>
                    <a:pt x="44" y="3"/>
                  </a:cubicBezTo>
                  <a:cubicBezTo>
                    <a:pt x="41" y="0"/>
                    <a:pt x="41" y="12"/>
                    <a:pt x="38" y="7"/>
                  </a:cubicBezTo>
                  <a:cubicBezTo>
                    <a:pt x="37" y="3"/>
                    <a:pt x="38" y="11"/>
                    <a:pt x="32" y="7"/>
                  </a:cubicBezTo>
                  <a:cubicBezTo>
                    <a:pt x="31" y="17"/>
                    <a:pt x="27" y="18"/>
                    <a:pt x="29" y="23"/>
                  </a:cubicBezTo>
                  <a:cubicBezTo>
                    <a:pt x="23" y="23"/>
                    <a:pt x="24" y="29"/>
                    <a:pt x="21" y="31"/>
                  </a:cubicBezTo>
                  <a:cubicBezTo>
                    <a:pt x="18" y="34"/>
                    <a:pt x="20" y="42"/>
                    <a:pt x="18" y="43"/>
                  </a:cubicBezTo>
                  <a:cubicBezTo>
                    <a:pt x="17" y="45"/>
                    <a:pt x="17" y="39"/>
                    <a:pt x="14" y="43"/>
                  </a:cubicBezTo>
                  <a:cubicBezTo>
                    <a:pt x="12" y="48"/>
                    <a:pt x="15" y="46"/>
                    <a:pt x="14" y="51"/>
                  </a:cubicBezTo>
                  <a:cubicBezTo>
                    <a:pt x="11" y="57"/>
                    <a:pt x="15" y="68"/>
                    <a:pt x="9" y="67"/>
                  </a:cubicBezTo>
                  <a:cubicBezTo>
                    <a:pt x="2" y="64"/>
                    <a:pt x="6" y="68"/>
                    <a:pt x="5" y="70"/>
                  </a:cubicBezTo>
                  <a:cubicBezTo>
                    <a:pt x="0" y="73"/>
                    <a:pt x="9" y="71"/>
                    <a:pt x="12" y="78"/>
                  </a:cubicBezTo>
                  <a:cubicBezTo>
                    <a:pt x="15" y="82"/>
                    <a:pt x="17" y="79"/>
                    <a:pt x="18" y="87"/>
                  </a:cubicBezTo>
                  <a:cubicBezTo>
                    <a:pt x="20" y="95"/>
                    <a:pt x="20" y="95"/>
                    <a:pt x="24" y="96"/>
                  </a:cubicBezTo>
                  <a:cubicBezTo>
                    <a:pt x="27" y="96"/>
                    <a:pt x="24" y="98"/>
                    <a:pt x="26" y="10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8" name="Freeform 94"/>
            <p:cNvSpPr>
              <a:spLocks/>
            </p:cNvSpPr>
            <p:nvPr/>
          </p:nvSpPr>
          <p:spPr bwMode="auto">
            <a:xfrm>
              <a:off x="6270846" y="4095079"/>
              <a:ext cx="140840" cy="163609"/>
            </a:xfrm>
            <a:custGeom>
              <a:avLst/>
              <a:gdLst/>
              <a:ahLst/>
              <a:cxnLst>
                <a:cxn ang="0">
                  <a:pos x="4" y="37"/>
                </a:cxn>
                <a:cxn ang="0">
                  <a:pos x="10" y="37"/>
                </a:cxn>
                <a:cxn ang="0">
                  <a:pos x="16" y="32"/>
                </a:cxn>
                <a:cxn ang="0">
                  <a:pos x="23" y="35"/>
                </a:cxn>
                <a:cxn ang="0">
                  <a:pos x="28" y="35"/>
                </a:cxn>
                <a:cxn ang="0">
                  <a:pos x="36" y="38"/>
                </a:cxn>
                <a:cxn ang="0">
                  <a:pos x="43" y="46"/>
                </a:cxn>
                <a:cxn ang="0">
                  <a:pos x="49" y="55"/>
                </a:cxn>
                <a:cxn ang="0">
                  <a:pos x="55" y="52"/>
                </a:cxn>
                <a:cxn ang="0">
                  <a:pos x="51" y="49"/>
                </a:cxn>
                <a:cxn ang="0">
                  <a:pos x="49" y="46"/>
                </a:cxn>
                <a:cxn ang="0">
                  <a:pos x="46" y="43"/>
                </a:cxn>
                <a:cxn ang="0">
                  <a:pos x="42" y="37"/>
                </a:cxn>
                <a:cxn ang="0">
                  <a:pos x="36" y="32"/>
                </a:cxn>
                <a:cxn ang="0">
                  <a:pos x="31" y="27"/>
                </a:cxn>
                <a:cxn ang="0">
                  <a:pos x="28" y="30"/>
                </a:cxn>
                <a:cxn ang="0">
                  <a:pos x="25" y="23"/>
                </a:cxn>
                <a:cxn ang="0">
                  <a:pos x="19" y="0"/>
                </a:cxn>
                <a:cxn ang="0">
                  <a:pos x="11" y="7"/>
                </a:cxn>
                <a:cxn ang="0">
                  <a:pos x="7" y="12"/>
                </a:cxn>
                <a:cxn ang="0">
                  <a:pos x="2" y="29"/>
                </a:cxn>
                <a:cxn ang="0">
                  <a:pos x="4" y="37"/>
                </a:cxn>
              </a:cxnLst>
              <a:rect l="0" t="0" r="r" b="b"/>
              <a:pathLst>
                <a:path w="55" h="58">
                  <a:moveTo>
                    <a:pt x="4" y="37"/>
                  </a:moveTo>
                  <a:cubicBezTo>
                    <a:pt x="10" y="40"/>
                    <a:pt x="8" y="32"/>
                    <a:pt x="10" y="37"/>
                  </a:cubicBezTo>
                  <a:cubicBezTo>
                    <a:pt x="13" y="41"/>
                    <a:pt x="13" y="29"/>
                    <a:pt x="16" y="32"/>
                  </a:cubicBezTo>
                  <a:cubicBezTo>
                    <a:pt x="22" y="41"/>
                    <a:pt x="22" y="32"/>
                    <a:pt x="23" y="35"/>
                  </a:cubicBezTo>
                  <a:cubicBezTo>
                    <a:pt x="25" y="37"/>
                    <a:pt x="23" y="34"/>
                    <a:pt x="28" y="35"/>
                  </a:cubicBezTo>
                  <a:cubicBezTo>
                    <a:pt x="33" y="35"/>
                    <a:pt x="34" y="37"/>
                    <a:pt x="36" y="38"/>
                  </a:cubicBezTo>
                  <a:cubicBezTo>
                    <a:pt x="39" y="38"/>
                    <a:pt x="40" y="44"/>
                    <a:pt x="43" y="46"/>
                  </a:cubicBezTo>
                  <a:cubicBezTo>
                    <a:pt x="46" y="49"/>
                    <a:pt x="45" y="52"/>
                    <a:pt x="49" y="55"/>
                  </a:cubicBezTo>
                  <a:cubicBezTo>
                    <a:pt x="51" y="54"/>
                    <a:pt x="51" y="58"/>
                    <a:pt x="55" y="52"/>
                  </a:cubicBezTo>
                  <a:cubicBezTo>
                    <a:pt x="54" y="50"/>
                    <a:pt x="52" y="52"/>
                    <a:pt x="51" y="49"/>
                  </a:cubicBezTo>
                  <a:cubicBezTo>
                    <a:pt x="51" y="47"/>
                    <a:pt x="51" y="49"/>
                    <a:pt x="49" y="46"/>
                  </a:cubicBezTo>
                  <a:cubicBezTo>
                    <a:pt x="46" y="40"/>
                    <a:pt x="48" y="46"/>
                    <a:pt x="46" y="43"/>
                  </a:cubicBezTo>
                  <a:cubicBezTo>
                    <a:pt x="45" y="38"/>
                    <a:pt x="45" y="44"/>
                    <a:pt x="42" y="37"/>
                  </a:cubicBezTo>
                  <a:cubicBezTo>
                    <a:pt x="37" y="30"/>
                    <a:pt x="39" y="37"/>
                    <a:pt x="36" y="32"/>
                  </a:cubicBezTo>
                  <a:cubicBezTo>
                    <a:pt x="34" y="27"/>
                    <a:pt x="34" y="35"/>
                    <a:pt x="31" y="27"/>
                  </a:cubicBezTo>
                  <a:cubicBezTo>
                    <a:pt x="28" y="21"/>
                    <a:pt x="29" y="30"/>
                    <a:pt x="28" y="30"/>
                  </a:cubicBezTo>
                  <a:cubicBezTo>
                    <a:pt x="28" y="29"/>
                    <a:pt x="28" y="27"/>
                    <a:pt x="25" y="23"/>
                  </a:cubicBezTo>
                  <a:cubicBezTo>
                    <a:pt x="23" y="18"/>
                    <a:pt x="23" y="7"/>
                    <a:pt x="19" y="0"/>
                  </a:cubicBezTo>
                  <a:cubicBezTo>
                    <a:pt x="16" y="9"/>
                    <a:pt x="13" y="4"/>
                    <a:pt x="11" y="7"/>
                  </a:cubicBezTo>
                  <a:cubicBezTo>
                    <a:pt x="8" y="13"/>
                    <a:pt x="5" y="6"/>
                    <a:pt x="7" y="12"/>
                  </a:cubicBezTo>
                  <a:cubicBezTo>
                    <a:pt x="7" y="21"/>
                    <a:pt x="4" y="26"/>
                    <a:pt x="2" y="29"/>
                  </a:cubicBezTo>
                  <a:cubicBezTo>
                    <a:pt x="0" y="30"/>
                    <a:pt x="4" y="34"/>
                    <a:pt x="4" y="3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9" name="Freeform 95"/>
            <p:cNvSpPr>
              <a:spLocks/>
            </p:cNvSpPr>
            <p:nvPr/>
          </p:nvSpPr>
          <p:spPr bwMode="auto">
            <a:xfrm>
              <a:off x="6385362" y="4241314"/>
              <a:ext cx="36856" cy="59363"/>
            </a:xfrm>
            <a:custGeom>
              <a:avLst/>
              <a:gdLst/>
              <a:ahLst/>
              <a:cxnLst>
                <a:cxn ang="0">
                  <a:pos x="9" y="19"/>
                </a:cxn>
                <a:cxn ang="0">
                  <a:pos x="0" y="17"/>
                </a:cxn>
                <a:cxn ang="0">
                  <a:pos x="5" y="3"/>
                </a:cxn>
                <a:cxn ang="0">
                  <a:pos x="11" y="0"/>
                </a:cxn>
                <a:cxn ang="0">
                  <a:pos x="11" y="10"/>
                </a:cxn>
                <a:cxn ang="0">
                  <a:pos x="12" y="13"/>
                </a:cxn>
                <a:cxn ang="0">
                  <a:pos x="9" y="19"/>
                </a:cxn>
              </a:cxnLst>
              <a:rect l="0" t="0" r="r" b="b"/>
              <a:pathLst>
                <a:path w="14" h="21">
                  <a:moveTo>
                    <a:pt x="9" y="19"/>
                  </a:moveTo>
                  <a:cubicBezTo>
                    <a:pt x="8" y="14"/>
                    <a:pt x="3" y="21"/>
                    <a:pt x="0" y="17"/>
                  </a:cubicBezTo>
                  <a:cubicBezTo>
                    <a:pt x="0" y="8"/>
                    <a:pt x="2" y="13"/>
                    <a:pt x="5" y="3"/>
                  </a:cubicBezTo>
                  <a:cubicBezTo>
                    <a:pt x="6" y="2"/>
                    <a:pt x="6" y="6"/>
                    <a:pt x="11" y="0"/>
                  </a:cubicBezTo>
                  <a:cubicBezTo>
                    <a:pt x="12" y="5"/>
                    <a:pt x="14" y="6"/>
                    <a:pt x="11" y="10"/>
                  </a:cubicBezTo>
                  <a:cubicBezTo>
                    <a:pt x="3" y="14"/>
                    <a:pt x="9" y="11"/>
                    <a:pt x="12" y="13"/>
                  </a:cubicBezTo>
                  <a:cubicBezTo>
                    <a:pt x="9" y="19"/>
                    <a:pt x="9" y="19"/>
                    <a:pt x="9" y="1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0" name="Freeform 96"/>
            <p:cNvSpPr>
              <a:spLocks/>
            </p:cNvSpPr>
            <p:nvPr/>
          </p:nvSpPr>
          <p:spPr bwMode="auto">
            <a:xfrm>
              <a:off x="5786459" y="4438224"/>
              <a:ext cx="394882" cy="541504"/>
            </a:xfrm>
            <a:custGeom>
              <a:avLst/>
              <a:gdLst/>
              <a:ahLst/>
              <a:cxnLst>
                <a:cxn ang="0">
                  <a:pos x="138" y="114"/>
                </a:cxn>
                <a:cxn ang="0">
                  <a:pos x="148" y="136"/>
                </a:cxn>
                <a:cxn ang="0">
                  <a:pos x="130" y="148"/>
                </a:cxn>
                <a:cxn ang="0">
                  <a:pos x="129" y="170"/>
                </a:cxn>
                <a:cxn ang="0">
                  <a:pos x="141" y="181"/>
                </a:cxn>
                <a:cxn ang="0">
                  <a:pos x="132" y="182"/>
                </a:cxn>
                <a:cxn ang="0">
                  <a:pos x="119" y="171"/>
                </a:cxn>
                <a:cxn ang="0">
                  <a:pos x="107" y="171"/>
                </a:cxn>
                <a:cxn ang="0">
                  <a:pos x="93" y="162"/>
                </a:cxn>
                <a:cxn ang="0">
                  <a:pos x="84" y="164"/>
                </a:cxn>
                <a:cxn ang="0">
                  <a:pos x="78" y="153"/>
                </a:cxn>
                <a:cxn ang="0">
                  <a:pos x="77" y="128"/>
                </a:cxn>
                <a:cxn ang="0">
                  <a:pos x="64" y="123"/>
                </a:cxn>
                <a:cxn ang="0">
                  <a:pos x="57" y="133"/>
                </a:cxn>
                <a:cxn ang="0">
                  <a:pos x="41" y="133"/>
                </a:cxn>
                <a:cxn ang="0">
                  <a:pos x="35" y="117"/>
                </a:cxn>
                <a:cxn ang="0">
                  <a:pos x="8" y="112"/>
                </a:cxn>
                <a:cxn ang="0">
                  <a:pos x="0" y="112"/>
                </a:cxn>
                <a:cxn ang="0">
                  <a:pos x="8" y="101"/>
                </a:cxn>
                <a:cxn ang="0">
                  <a:pos x="19" y="103"/>
                </a:cxn>
                <a:cxn ang="0">
                  <a:pos x="32" y="86"/>
                </a:cxn>
                <a:cxn ang="0">
                  <a:pos x="46" y="53"/>
                </a:cxn>
                <a:cxn ang="0">
                  <a:pos x="48" y="30"/>
                </a:cxn>
                <a:cxn ang="0">
                  <a:pos x="52" y="13"/>
                </a:cxn>
                <a:cxn ang="0">
                  <a:pos x="67" y="13"/>
                </a:cxn>
                <a:cxn ang="0">
                  <a:pos x="93" y="8"/>
                </a:cxn>
                <a:cxn ang="0">
                  <a:pos x="116" y="6"/>
                </a:cxn>
                <a:cxn ang="0">
                  <a:pos x="130" y="13"/>
                </a:cxn>
                <a:cxn ang="0">
                  <a:pos x="142" y="14"/>
                </a:cxn>
                <a:cxn ang="0">
                  <a:pos x="150" y="33"/>
                </a:cxn>
                <a:cxn ang="0">
                  <a:pos x="139" y="69"/>
                </a:cxn>
                <a:cxn ang="0">
                  <a:pos x="133" y="83"/>
                </a:cxn>
                <a:cxn ang="0">
                  <a:pos x="138" y="100"/>
                </a:cxn>
              </a:cxnLst>
              <a:rect l="0" t="0" r="r" b="b"/>
              <a:pathLst>
                <a:path w="155" h="193">
                  <a:moveTo>
                    <a:pt x="138" y="100"/>
                  </a:moveTo>
                  <a:cubicBezTo>
                    <a:pt x="136" y="106"/>
                    <a:pt x="139" y="109"/>
                    <a:pt x="138" y="114"/>
                  </a:cubicBezTo>
                  <a:cubicBezTo>
                    <a:pt x="136" y="119"/>
                    <a:pt x="144" y="125"/>
                    <a:pt x="145" y="128"/>
                  </a:cubicBezTo>
                  <a:cubicBezTo>
                    <a:pt x="145" y="133"/>
                    <a:pt x="147" y="134"/>
                    <a:pt x="148" y="136"/>
                  </a:cubicBezTo>
                  <a:cubicBezTo>
                    <a:pt x="142" y="137"/>
                    <a:pt x="133" y="136"/>
                    <a:pt x="133" y="140"/>
                  </a:cubicBezTo>
                  <a:cubicBezTo>
                    <a:pt x="133" y="147"/>
                    <a:pt x="127" y="145"/>
                    <a:pt x="130" y="148"/>
                  </a:cubicBezTo>
                  <a:cubicBezTo>
                    <a:pt x="135" y="154"/>
                    <a:pt x="129" y="153"/>
                    <a:pt x="130" y="157"/>
                  </a:cubicBezTo>
                  <a:cubicBezTo>
                    <a:pt x="133" y="161"/>
                    <a:pt x="127" y="167"/>
                    <a:pt x="129" y="170"/>
                  </a:cubicBezTo>
                  <a:cubicBezTo>
                    <a:pt x="130" y="173"/>
                    <a:pt x="132" y="176"/>
                    <a:pt x="135" y="178"/>
                  </a:cubicBezTo>
                  <a:cubicBezTo>
                    <a:pt x="139" y="179"/>
                    <a:pt x="141" y="168"/>
                    <a:pt x="141" y="181"/>
                  </a:cubicBezTo>
                  <a:cubicBezTo>
                    <a:pt x="139" y="193"/>
                    <a:pt x="139" y="184"/>
                    <a:pt x="138" y="186"/>
                  </a:cubicBezTo>
                  <a:cubicBezTo>
                    <a:pt x="135" y="189"/>
                    <a:pt x="135" y="189"/>
                    <a:pt x="132" y="182"/>
                  </a:cubicBezTo>
                  <a:cubicBezTo>
                    <a:pt x="129" y="178"/>
                    <a:pt x="127" y="176"/>
                    <a:pt x="124" y="176"/>
                  </a:cubicBezTo>
                  <a:cubicBezTo>
                    <a:pt x="122" y="176"/>
                    <a:pt x="121" y="173"/>
                    <a:pt x="119" y="171"/>
                  </a:cubicBezTo>
                  <a:cubicBezTo>
                    <a:pt x="119" y="168"/>
                    <a:pt x="118" y="167"/>
                    <a:pt x="118" y="171"/>
                  </a:cubicBezTo>
                  <a:cubicBezTo>
                    <a:pt x="116" y="175"/>
                    <a:pt x="115" y="173"/>
                    <a:pt x="107" y="171"/>
                  </a:cubicBezTo>
                  <a:cubicBezTo>
                    <a:pt x="101" y="170"/>
                    <a:pt x="109" y="162"/>
                    <a:pt x="101" y="167"/>
                  </a:cubicBezTo>
                  <a:cubicBezTo>
                    <a:pt x="95" y="170"/>
                    <a:pt x="101" y="162"/>
                    <a:pt x="93" y="162"/>
                  </a:cubicBezTo>
                  <a:cubicBezTo>
                    <a:pt x="93" y="164"/>
                    <a:pt x="93" y="164"/>
                    <a:pt x="90" y="164"/>
                  </a:cubicBezTo>
                  <a:cubicBezTo>
                    <a:pt x="89" y="162"/>
                    <a:pt x="87" y="165"/>
                    <a:pt x="84" y="164"/>
                  </a:cubicBezTo>
                  <a:cubicBezTo>
                    <a:pt x="81" y="164"/>
                    <a:pt x="83" y="167"/>
                    <a:pt x="80" y="167"/>
                  </a:cubicBezTo>
                  <a:cubicBezTo>
                    <a:pt x="77" y="165"/>
                    <a:pt x="83" y="159"/>
                    <a:pt x="78" y="153"/>
                  </a:cubicBezTo>
                  <a:cubicBezTo>
                    <a:pt x="74" y="147"/>
                    <a:pt x="78" y="140"/>
                    <a:pt x="77" y="136"/>
                  </a:cubicBezTo>
                  <a:cubicBezTo>
                    <a:pt x="75" y="131"/>
                    <a:pt x="77" y="131"/>
                    <a:pt x="77" y="128"/>
                  </a:cubicBezTo>
                  <a:cubicBezTo>
                    <a:pt x="77" y="125"/>
                    <a:pt x="64" y="129"/>
                    <a:pt x="67" y="125"/>
                  </a:cubicBezTo>
                  <a:cubicBezTo>
                    <a:pt x="67" y="123"/>
                    <a:pt x="66" y="122"/>
                    <a:pt x="64" y="123"/>
                  </a:cubicBezTo>
                  <a:cubicBezTo>
                    <a:pt x="63" y="125"/>
                    <a:pt x="58" y="122"/>
                    <a:pt x="58" y="126"/>
                  </a:cubicBezTo>
                  <a:cubicBezTo>
                    <a:pt x="58" y="131"/>
                    <a:pt x="57" y="128"/>
                    <a:pt x="57" y="133"/>
                  </a:cubicBezTo>
                  <a:cubicBezTo>
                    <a:pt x="58" y="136"/>
                    <a:pt x="54" y="134"/>
                    <a:pt x="52" y="134"/>
                  </a:cubicBezTo>
                  <a:cubicBezTo>
                    <a:pt x="51" y="133"/>
                    <a:pt x="43" y="137"/>
                    <a:pt x="41" y="133"/>
                  </a:cubicBezTo>
                  <a:cubicBezTo>
                    <a:pt x="40" y="128"/>
                    <a:pt x="38" y="129"/>
                    <a:pt x="38" y="125"/>
                  </a:cubicBezTo>
                  <a:cubicBezTo>
                    <a:pt x="38" y="122"/>
                    <a:pt x="37" y="122"/>
                    <a:pt x="35" y="117"/>
                  </a:cubicBezTo>
                  <a:cubicBezTo>
                    <a:pt x="35" y="112"/>
                    <a:pt x="35" y="112"/>
                    <a:pt x="25" y="114"/>
                  </a:cubicBezTo>
                  <a:cubicBezTo>
                    <a:pt x="12" y="114"/>
                    <a:pt x="14" y="112"/>
                    <a:pt x="8" y="112"/>
                  </a:cubicBezTo>
                  <a:cubicBezTo>
                    <a:pt x="6" y="112"/>
                    <a:pt x="6" y="112"/>
                    <a:pt x="3" y="112"/>
                  </a:cubicBezTo>
                  <a:cubicBezTo>
                    <a:pt x="2" y="114"/>
                    <a:pt x="2" y="114"/>
                    <a:pt x="0" y="112"/>
                  </a:cubicBezTo>
                  <a:cubicBezTo>
                    <a:pt x="5" y="112"/>
                    <a:pt x="2" y="106"/>
                    <a:pt x="3" y="103"/>
                  </a:cubicBezTo>
                  <a:cubicBezTo>
                    <a:pt x="6" y="101"/>
                    <a:pt x="6" y="101"/>
                    <a:pt x="8" y="101"/>
                  </a:cubicBezTo>
                  <a:cubicBezTo>
                    <a:pt x="11" y="106"/>
                    <a:pt x="14" y="97"/>
                    <a:pt x="17" y="98"/>
                  </a:cubicBezTo>
                  <a:cubicBezTo>
                    <a:pt x="20" y="100"/>
                    <a:pt x="15" y="103"/>
                    <a:pt x="19" y="103"/>
                  </a:cubicBezTo>
                  <a:cubicBezTo>
                    <a:pt x="23" y="105"/>
                    <a:pt x="26" y="95"/>
                    <a:pt x="28" y="95"/>
                  </a:cubicBezTo>
                  <a:cubicBezTo>
                    <a:pt x="31" y="95"/>
                    <a:pt x="34" y="89"/>
                    <a:pt x="32" y="86"/>
                  </a:cubicBezTo>
                  <a:cubicBezTo>
                    <a:pt x="29" y="80"/>
                    <a:pt x="37" y="67"/>
                    <a:pt x="41" y="66"/>
                  </a:cubicBezTo>
                  <a:cubicBezTo>
                    <a:pt x="46" y="62"/>
                    <a:pt x="43" y="59"/>
                    <a:pt x="46" y="53"/>
                  </a:cubicBezTo>
                  <a:cubicBezTo>
                    <a:pt x="48" y="48"/>
                    <a:pt x="45" y="50"/>
                    <a:pt x="46" y="42"/>
                  </a:cubicBezTo>
                  <a:cubicBezTo>
                    <a:pt x="48" y="34"/>
                    <a:pt x="45" y="36"/>
                    <a:pt x="48" y="30"/>
                  </a:cubicBezTo>
                  <a:cubicBezTo>
                    <a:pt x="52" y="25"/>
                    <a:pt x="52" y="24"/>
                    <a:pt x="52" y="22"/>
                  </a:cubicBezTo>
                  <a:cubicBezTo>
                    <a:pt x="51" y="17"/>
                    <a:pt x="49" y="14"/>
                    <a:pt x="52" y="13"/>
                  </a:cubicBezTo>
                  <a:cubicBezTo>
                    <a:pt x="54" y="11"/>
                    <a:pt x="54" y="3"/>
                    <a:pt x="61" y="6"/>
                  </a:cubicBezTo>
                  <a:cubicBezTo>
                    <a:pt x="67" y="10"/>
                    <a:pt x="64" y="13"/>
                    <a:pt x="67" y="13"/>
                  </a:cubicBezTo>
                  <a:cubicBezTo>
                    <a:pt x="77" y="13"/>
                    <a:pt x="81" y="19"/>
                    <a:pt x="84" y="11"/>
                  </a:cubicBezTo>
                  <a:cubicBezTo>
                    <a:pt x="87" y="3"/>
                    <a:pt x="84" y="14"/>
                    <a:pt x="93" y="8"/>
                  </a:cubicBezTo>
                  <a:cubicBezTo>
                    <a:pt x="101" y="3"/>
                    <a:pt x="101" y="10"/>
                    <a:pt x="104" y="5"/>
                  </a:cubicBezTo>
                  <a:cubicBezTo>
                    <a:pt x="107" y="0"/>
                    <a:pt x="115" y="10"/>
                    <a:pt x="116" y="6"/>
                  </a:cubicBezTo>
                  <a:cubicBezTo>
                    <a:pt x="119" y="3"/>
                    <a:pt x="119" y="6"/>
                    <a:pt x="122" y="6"/>
                  </a:cubicBezTo>
                  <a:cubicBezTo>
                    <a:pt x="125" y="11"/>
                    <a:pt x="129" y="16"/>
                    <a:pt x="130" y="13"/>
                  </a:cubicBezTo>
                  <a:cubicBezTo>
                    <a:pt x="133" y="10"/>
                    <a:pt x="135" y="16"/>
                    <a:pt x="136" y="11"/>
                  </a:cubicBezTo>
                  <a:cubicBezTo>
                    <a:pt x="139" y="8"/>
                    <a:pt x="141" y="10"/>
                    <a:pt x="142" y="14"/>
                  </a:cubicBezTo>
                  <a:cubicBezTo>
                    <a:pt x="145" y="19"/>
                    <a:pt x="145" y="16"/>
                    <a:pt x="148" y="22"/>
                  </a:cubicBezTo>
                  <a:cubicBezTo>
                    <a:pt x="148" y="30"/>
                    <a:pt x="145" y="31"/>
                    <a:pt x="150" y="33"/>
                  </a:cubicBezTo>
                  <a:cubicBezTo>
                    <a:pt x="155" y="36"/>
                    <a:pt x="148" y="39"/>
                    <a:pt x="144" y="44"/>
                  </a:cubicBezTo>
                  <a:cubicBezTo>
                    <a:pt x="139" y="48"/>
                    <a:pt x="139" y="59"/>
                    <a:pt x="139" y="69"/>
                  </a:cubicBezTo>
                  <a:cubicBezTo>
                    <a:pt x="130" y="75"/>
                    <a:pt x="138" y="75"/>
                    <a:pt x="135" y="78"/>
                  </a:cubicBezTo>
                  <a:cubicBezTo>
                    <a:pt x="132" y="80"/>
                    <a:pt x="133" y="80"/>
                    <a:pt x="133" y="83"/>
                  </a:cubicBezTo>
                  <a:cubicBezTo>
                    <a:pt x="135" y="86"/>
                    <a:pt x="136" y="86"/>
                    <a:pt x="135" y="90"/>
                  </a:cubicBezTo>
                  <a:cubicBezTo>
                    <a:pt x="135" y="95"/>
                    <a:pt x="138" y="97"/>
                    <a:pt x="138" y="10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1" name="Freeform 97"/>
            <p:cNvSpPr>
              <a:spLocks/>
            </p:cNvSpPr>
            <p:nvPr/>
          </p:nvSpPr>
          <p:spPr bwMode="auto">
            <a:xfrm>
              <a:off x="6222144" y="4454152"/>
              <a:ext cx="165851" cy="267856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8" y="22"/>
                </a:cxn>
                <a:cxn ang="0">
                  <a:pos x="6" y="41"/>
                </a:cxn>
                <a:cxn ang="0">
                  <a:pos x="2" y="59"/>
                </a:cxn>
                <a:cxn ang="0">
                  <a:pos x="29" y="78"/>
                </a:cxn>
                <a:cxn ang="0">
                  <a:pos x="32" y="86"/>
                </a:cxn>
                <a:cxn ang="0">
                  <a:pos x="44" y="95"/>
                </a:cxn>
                <a:cxn ang="0">
                  <a:pos x="49" y="86"/>
                </a:cxn>
                <a:cxn ang="0">
                  <a:pos x="52" y="78"/>
                </a:cxn>
                <a:cxn ang="0">
                  <a:pos x="56" y="70"/>
                </a:cxn>
                <a:cxn ang="0">
                  <a:pos x="62" y="66"/>
                </a:cxn>
                <a:cxn ang="0">
                  <a:pos x="58" y="56"/>
                </a:cxn>
                <a:cxn ang="0">
                  <a:pos x="58" y="22"/>
                </a:cxn>
                <a:cxn ang="0">
                  <a:pos x="65" y="11"/>
                </a:cxn>
                <a:cxn ang="0">
                  <a:pos x="58" y="10"/>
                </a:cxn>
                <a:cxn ang="0">
                  <a:pos x="52" y="10"/>
                </a:cxn>
                <a:cxn ang="0">
                  <a:pos x="44" y="16"/>
                </a:cxn>
                <a:cxn ang="0">
                  <a:pos x="40" y="14"/>
                </a:cxn>
                <a:cxn ang="0">
                  <a:pos x="29" y="10"/>
                </a:cxn>
                <a:cxn ang="0">
                  <a:pos x="17" y="5"/>
                </a:cxn>
                <a:cxn ang="0">
                  <a:pos x="14" y="2"/>
                </a:cxn>
                <a:cxn ang="0">
                  <a:pos x="8" y="2"/>
                </a:cxn>
                <a:cxn ang="0">
                  <a:pos x="2" y="8"/>
                </a:cxn>
              </a:cxnLst>
              <a:rect l="0" t="0" r="r" b="b"/>
              <a:pathLst>
                <a:path w="65" h="95">
                  <a:moveTo>
                    <a:pt x="2" y="8"/>
                  </a:moveTo>
                  <a:cubicBezTo>
                    <a:pt x="8" y="16"/>
                    <a:pt x="5" y="17"/>
                    <a:pt x="8" y="22"/>
                  </a:cubicBezTo>
                  <a:cubicBezTo>
                    <a:pt x="11" y="27"/>
                    <a:pt x="11" y="34"/>
                    <a:pt x="6" y="41"/>
                  </a:cubicBezTo>
                  <a:cubicBezTo>
                    <a:pt x="0" y="47"/>
                    <a:pt x="3" y="52"/>
                    <a:pt x="2" y="59"/>
                  </a:cubicBezTo>
                  <a:cubicBezTo>
                    <a:pt x="18" y="70"/>
                    <a:pt x="24" y="75"/>
                    <a:pt x="29" y="78"/>
                  </a:cubicBezTo>
                  <a:cubicBezTo>
                    <a:pt x="35" y="81"/>
                    <a:pt x="29" y="81"/>
                    <a:pt x="32" y="86"/>
                  </a:cubicBezTo>
                  <a:cubicBezTo>
                    <a:pt x="37" y="89"/>
                    <a:pt x="43" y="95"/>
                    <a:pt x="44" y="95"/>
                  </a:cubicBezTo>
                  <a:cubicBezTo>
                    <a:pt x="47" y="91"/>
                    <a:pt x="49" y="91"/>
                    <a:pt x="49" y="86"/>
                  </a:cubicBezTo>
                  <a:cubicBezTo>
                    <a:pt x="49" y="80"/>
                    <a:pt x="52" y="86"/>
                    <a:pt x="52" y="78"/>
                  </a:cubicBezTo>
                  <a:cubicBezTo>
                    <a:pt x="50" y="72"/>
                    <a:pt x="58" y="75"/>
                    <a:pt x="56" y="70"/>
                  </a:cubicBezTo>
                  <a:cubicBezTo>
                    <a:pt x="56" y="67"/>
                    <a:pt x="58" y="72"/>
                    <a:pt x="62" y="66"/>
                  </a:cubicBezTo>
                  <a:cubicBezTo>
                    <a:pt x="61" y="61"/>
                    <a:pt x="58" y="63"/>
                    <a:pt x="58" y="56"/>
                  </a:cubicBezTo>
                  <a:cubicBezTo>
                    <a:pt x="58" y="48"/>
                    <a:pt x="58" y="22"/>
                    <a:pt x="58" y="22"/>
                  </a:cubicBezTo>
                  <a:cubicBezTo>
                    <a:pt x="58" y="22"/>
                    <a:pt x="62" y="14"/>
                    <a:pt x="65" y="11"/>
                  </a:cubicBezTo>
                  <a:cubicBezTo>
                    <a:pt x="62" y="11"/>
                    <a:pt x="59" y="11"/>
                    <a:pt x="58" y="10"/>
                  </a:cubicBezTo>
                  <a:cubicBezTo>
                    <a:pt x="56" y="8"/>
                    <a:pt x="56" y="6"/>
                    <a:pt x="52" y="10"/>
                  </a:cubicBezTo>
                  <a:cubicBezTo>
                    <a:pt x="46" y="13"/>
                    <a:pt x="47" y="17"/>
                    <a:pt x="44" y="16"/>
                  </a:cubicBezTo>
                  <a:cubicBezTo>
                    <a:pt x="44" y="14"/>
                    <a:pt x="43" y="16"/>
                    <a:pt x="40" y="14"/>
                  </a:cubicBezTo>
                  <a:cubicBezTo>
                    <a:pt x="37" y="13"/>
                    <a:pt x="37" y="17"/>
                    <a:pt x="29" y="10"/>
                  </a:cubicBezTo>
                  <a:cubicBezTo>
                    <a:pt x="21" y="2"/>
                    <a:pt x="21" y="10"/>
                    <a:pt x="17" y="5"/>
                  </a:cubicBezTo>
                  <a:cubicBezTo>
                    <a:pt x="15" y="5"/>
                    <a:pt x="12" y="5"/>
                    <a:pt x="14" y="2"/>
                  </a:cubicBezTo>
                  <a:cubicBezTo>
                    <a:pt x="14" y="0"/>
                    <a:pt x="11" y="2"/>
                    <a:pt x="8" y="2"/>
                  </a:cubicBezTo>
                  <a:cubicBezTo>
                    <a:pt x="5" y="3"/>
                    <a:pt x="3" y="6"/>
                    <a:pt x="2" y="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2" name="Freeform 98"/>
            <p:cNvSpPr>
              <a:spLocks/>
            </p:cNvSpPr>
            <p:nvPr/>
          </p:nvSpPr>
          <p:spPr bwMode="auto">
            <a:xfrm>
              <a:off x="6140536" y="4477318"/>
              <a:ext cx="107934" cy="157817"/>
            </a:xfrm>
            <a:custGeom>
              <a:avLst/>
              <a:gdLst/>
              <a:ahLst/>
              <a:cxnLst>
                <a:cxn ang="0">
                  <a:pos x="9" y="8"/>
                </a:cxn>
                <a:cxn ang="0">
                  <a:pos x="11" y="19"/>
                </a:cxn>
                <a:cxn ang="0">
                  <a:pos x="5" y="30"/>
                </a:cxn>
                <a:cxn ang="0">
                  <a:pos x="0" y="55"/>
                </a:cxn>
                <a:cxn ang="0">
                  <a:pos x="3" y="56"/>
                </a:cxn>
                <a:cxn ang="0">
                  <a:pos x="6" y="52"/>
                </a:cxn>
                <a:cxn ang="0">
                  <a:pos x="33" y="52"/>
                </a:cxn>
                <a:cxn ang="0">
                  <a:pos x="38" y="33"/>
                </a:cxn>
                <a:cxn ang="0">
                  <a:pos x="39" y="14"/>
                </a:cxn>
                <a:cxn ang="0">
                  <a:pos x="33" y="0"/>
                </a:cxn>
                <a:cxn ang="0">
                  <a:pos x="29" y="5"/>
                </a:cxn>
                <a:cxn ang="0">
                  <a:pos x="27" y="3"/>
                </a:cxn>
                <a:cxn ang="0">
                  <a:pos x="18" y="6"/>
                </a:cxn>
                <a:cxn ang="0">
                  <a:pos x="15" y="5"/>
                </a:cxn>
                <a:cxn ang="0">
                  <a:pos x="9" y="8"/>
                </a:cxn>
              </a:cxnLst>
              <a:rect l="0" t="0" r="r" b="b"/>
              <a:pathLst>
                <a:path w="42" h="56">
                  <a:moveTo>
                    <a:pt x="9" y="8"/>
                  </a:moveTo>
                  <a:cubicBezTo>
                    <a:pt x="9" y="16"/>
                    <a:pt x="6" y="17"/>
                    <a:pt x="11" y="19"/>
                  </a:cubicBezTo>
                  <a:cubicBezTo>
                    <a:pt x="15" y="22"/>
                    <a:pt x="9" y="25"/>
                    <a:pt x="5" y="30"/>
                  </a:cubicBezTo>
                  <a:cubicBezTo>
                    <a:pt x="0" y="34"/>
                    <a:pt x="0" y="45"/>
                    <a:pt x="0" y="55"/>
                  </a:cubicBezTo>
                  <a:cubicBezTo>
                    <a:pt x="3" y="53"/>
                    <a:pt x="0" y="56"/>
                    <a:pt x="3" y="56"/>
                  </a:cubicBezTo>
                  <a:cubicBezTo>
                    <a:pt x="5" y="55"/>
                    <a:pt x="5" y="53"/>
                    <a:pt x="6" y="52"/>
                  </a:cubicBezTo>
                  <a:cubicBezTo>
                    <a:pt x="9" y="52"/>
                    <a:pt x="29" y="52"/>
                    <a:pt x="33" y="52"/>
                  </a:cubicBezTo>
                  <a:cubicBezTo>
                    <a:pt x="35" y="44"/>
                    <a:pt x="32" y="39"/>
                    <a:pt x="38" y="33"/>
                  </a:cubicBezTo>
                  <a:cubicBezTo>
                    <a:pt x="42" y="27"/>
                    <a:pt x="42" y="19"/>
                    <a:pt x="39" y="14"/>
                  </a:cubicBezTo>
                  <a:cubicBezTo>
                    <a:pt x="36" y="10"/>
                    <a:pt x="39" y="8"/>
                    <a:pt x="33" y="0"/>
                  </a:cubicBezTo>
                  <a:cubicBezTo>
                    <a:pt x="32" y="3"/>
                    <a:pt x="32" y="5"/>
                    <a:pt x="29" y="5"/>
                  </a:cubicBezTo>
                  <a:cubicBezTo>
                    <a:pt x="26" y="5"/>
                    <a:pt x="29" y="5"/>
                    <a:pt x="27" y="3"/>
                  </a:cubicBezTo>
                  <a:cubicBezTo>
                    <a:pt x="23" y="3"/>
                    <a:pt x="20" y="10"/>
                    <a:pt x="18" y="6"/>
                  </a:cubicBezTo>
                  <a:cubicBezTo>
                    <a:pt x="17" y="5"/>
                    <a:pt x="17" y="3"/>
                    <a:pt x="15" y="5"/>
                  </a:cubicBezTo>
                  <a:cubicBezTo>
                    <a:pt x="14" y="8"/>
                    <a:pt x="12" y="0"/>
                    <a:pt x="9" y="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3" name="Freeform 109"/>
            <p:cNvSpPr>
              <a:spLocks/>
            </p:cNvSpPr>
            <p:nvPr/>
          </p:nvSpPr>
          <p:spPr bwMode="auto">
            <a:xfrm>
              <a:off x="5806203" y="3940157"/>
              <a:ext cx="225082" cy="450288"/>
            </a:xfrm>
            <a:custGeom>
              <a:avLst/>
              <a:gdLst/>
              <a:ahLst/>
              <a:cxnLst>
                <a:cxn ang="0">
                  <a:pos x="18" y="159"/>
                </a:cxn>
                <a:cxn ang="0">
                  <a:pos x="26" y="157"/>
                </a:cxn>
                <a:cxn ang="0">
                  <a:pos x="31" y="157"/>
                </a:cxn>
                <a:cxn ang="0">
                  <a:pos x="46" y="151"/>
                </a:cxn>
                <a:cxn ang="0">
                  <a:pos x="46" y="145"/>
                </a:cxn>
                <a:cxn ang="0">
                  <a:pos x="62" y="138"/>
                </a:cxn>
                <a:cxn ang="0">
                  <a:pos x="67" y="129"/>
                </a:cxn>
                <a:cxn ang="0">
                  <a:pos x="77" y="126"/>
                </a:cxn>
                <a:cxn ang="0">
                  <a:pos x="74" y="118"/>
                </a:cxn>
                <a:cxn ang="0">
                  <a:pos x="73" y="110"/>
                </a:cxn>
                <a:cxn ang="0">
                  <a:pos x="68" y="109"/>
                </a:cxn>
                <a:cxn ang="0">
                  <a:pos x="71" y="100"/>
                </a:cxn>
                <a:cxn ang="0">
                  <a:pos x="73" y="92"/>
                </a:cxn>
                <a:cxn ang="0">
                  <a:pos x="76" y="87"/>
                </a:cxn>
                <a:cxn ang="0">
                  <a:pos x="77" y="82"/>
                </a:cxn>
                <a:cxn ang="0">
                  <a:pos x="84" y="78"/>
                </a:cxn>
                <a:cxn ang="0">
                  <a:pos x="85" y="76"/>
                </a:cxn>
                <a:cxn ang="0">
                  <a:pos x="85" y="40"/>
                </a:cxn>
                <a:cxn ang="0">
                  <a:pos x="23" y="0"/>
                </a:cxn>
                <a:cxn ang="0">
                  <a:pos x="14" y="5"/>
                </a:cxn>
                <a:cxn ang="0">
                  <a:pos x="18" y="27"/>
                </a:cxn>
                <a:cxn ang="0">
                  <a:pos x="20" y="44"/>
                </a:cxn>
                <a:cxn ang="0">
                  <a:pos x="17" y="68"/>
                </a:cxn>
                <a:cxn ang="0">
                  <a:pos x="3" y="98"/>
                </a:cxn>
                <a:cxn ang="0">
                  <a:pos x="8" y="104"/>
                </a:cxn>
                <a:cxn ang="0">
                  <a:pos x="12" y="107"/>
                </a:cxn>
                <a:cxn ang="0">
                  <a:pos x="14" y="114"/>
                </a:cxn>
                <a:cxn ang="0">
                  <a:pos x="20" y="134"/>
                </a:cxn>
                <a:cxn ang="0">
                  <a:pos x="11" y="135"/>
                </a:cxn>
                <a:cxn ang="0">
                  <a:pos x="8" y="140"/>
                </a:cxn>
                <a:cxn ang="0">
                  <a:pos x="17" y="152"/>
                </a:cxn>
                <a:cxn ang="0">
                  <a:pos x="18" y="159"/>
                </a:cxn>
              </a:cxnLst>
              <a:rect l="0" t="0" r="r" b="b"/>
              <a:pathLst>
                <a:path w="88" h="160">
                  <a:moveTo>
                    <a:pt x="18" y="159"/>
                  </a:moveTo>
                  <a:cubicBezTo>
                    <a:pt x="21" y="160"/>
                    <a:pt x="24" y="159"/>
                    <a:pt x="26" y="157"/>
                  </a:cubicBezTo>
                  <a:cubicBezTo>
                    <a:pt x="27" y="154"/>
                    <a:pt x="27" y="160"/>
                    <a:pt x="31" y="157"/>
                  </a:cubicBezTo>
                  <a:cubicBezTo>
                    <a:pt x="37" y="152"/>
                    <a:pt x="41" y="157"/>
                    <a:pt x="46" y="151"/>
                  </a:cubicBezTo>
                  <a:cubicBezTo>
                    <a:pt x="49" y="146"/>
                    <a:pt x="44" y="146"/>
                    <a:pt x="46" y="145"/>
                  </a:cubicBezTo>
                  <a:cubicBezTo>
                    <a:pt x="47" y="143"/>
                    <a:pt x="56" y="146"/>
                    <a:pt x="62" y="138"/>
                  </a:cubicBezTo>
                  <a:cubicBezTo>
                    <a:pt x="67" y="131"/>
                    <a:pt x="68" y="134"/>
                    <a:pt x="67" y="129"/>
                  </a:cubicBezTo>
                  <a:cubicBezTo>
                    <a:pt x="67" y="128"/>
                    <a:pt x="74" y="124"/>
                    <a:pt x="77" y="126"/>
                  </a:cubicBezTo>
                  <a:cubicBezTo>
                    <a:pt x="79" y="120"/>
                    <a:pt x="74" y="123"/>
                    <a:pt x="74" y="118"/>
                  </a:cubicBezTo>
                  <a:cubicBezTo>
                    <a:pt x="74" y="114"/>
                    <a:pt x="73" y="115"/>
                    <a:pt x="73" y="110"/>
                  </a:cubicBezTo>
                  <a:cubicBezTo>
                    <a:pt x="73" y="106"/>
                    <a:pt x="70" y="110"/>
                    <a:pt x="68" y="109"/>
                  </a:cubicBezTo>
                  <a:cubicBezTo>
                    <a:pt x="67" y="104"/>
                    <a:pt x="74" y="104"/>
                    <a:pt x="71" y="100"/>
                  </a:cubicBezTo>
                  <a:cubicBezTo>
                    <a:pt x="68" y="95"/>
                    <a:pt x="76" y="96"/>
                    <a:pt x="73" y="92"/>
                  </a:cubicBezTo>
                  <a:cubicBezTo>
                    <a:pt x="71" y="87"/>
                    <a:pt x="76" y="92"/>
                    <a:pt x="76" y="87"/>
                  </a:cubicBezTo>
                  <a:cubicBezTo>
                    <a:pt x="74" y="84"/>
                    <a:pt x="77" y="87"/>
                    <a:pt x="77" y="82"/>
                  </a:cubicBezTo>
                  <a:cubicBezTo>
                    <a:pt x="77" y="78"/>
                    <a:pt x="81" y="78"/>
                    <a:pt x="84" y="78"/>
                  </a:cubicBezTo>
                  <a:cubicBezTo>
                    <a:pt x="88" y="79"/>
                    <a:pt x="85" y="76"/>
                    <a:pt x="85" y="76"/>
                  </a:cubicBezTo>
                  <a:cubicBezTo>
                    <a:pt x="85" y="40"/>
                    <a:pt x="85" y="40"/>
                    <a:pt x="85" y="40"/>
                  </a:cubicBezTo>
                  <a:cubicBezTo>
                    <a:pt x="85" y="40"/>
                    <a:pt x="44" y="13"/>
                    <a:pt x="23" y="0"/>
                  </a:cubicBezTo>
                  <a:cubicBezTo>
                    <a:pt x="21" y="0"/>
                    <a:pt x="17" y="3"/>
                    <a:pt x="14" y="5"/>
                  </a:cubicBezTo>
                  <a:cubicBezTo>
                    <a:pt x="18" y="14"/>
                    <a:pt x="14" y="17"/>
                    <a:pt x="18" y="27"/>
                  </a:cubicBezTo>
                  <a:cubicBezTo>
                    <a:pt x="24" y="37"/>
                    <a:pt x="20" y="33"/>
                    <a:pt x="20" y="44"/>
                  </a:cubicBezTo>
                  <a:cubicBezTo>
                    <a:pt x="20" y="53"/>
                    <a:pt x="18" y="67"/>
                    <a:pt x="17" y="68"/>
                  </a:cubicBezTo>
                  <a:cubicBezTo>
                    <a:pt x="15" y="70"/>
                    <a:pt x="0" y="89"/>
                    <a:pt x="3" y="98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17" y="104"/>
                    <a:pt x="8" y="106"/>
                    <a:pt x="12" y="107"/>
                  </a:cubicBezTo>
                  <a:cubicBezTo>
                    <a:pt x="15" y="109"/>
                    <a:pt x="12" y="114"/>
                    <a:pt x="14" y="114"/>
                  </a:cubicBezTo>
                  <a:cubicBezTo>
                    <a:pt x="17" y="115"/>
                    <a:pt x="12" y="129"/>
                    <a:pt x="20" y="134"/>
                  </a:cubicBezTo>
                  <a:cubicBezTo>
                    <a:pt x="15" y="137"/>
                    <a:pt x="12" y="135"/>
                    <a:pt x="11" y="135"/>
                  </a:cubicBezTo>
                  <a:cubicBezTo>
                    <a:pt x="8" y="134"/>
                    <a:pt x="6" y="138"/>
                    <a:pt x="8" y="140"/>
                  </a:cubicBezTo>
                  <a:cubicBezTo>
                    <a:pt x="14" y="149"/>
                    <a:pt x="17" y="148"/>
                    <a:pt x="17" y="152"/>
                  </a:cubicBezTo>
                  <a:cubicBezTo>
                    <a:pt x="18" y="159"/>
                    <a:pt x="20" y="156"/>
                    <a:pt x="18" y="15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4" name="Freeform 110"/>
            <p:cNvSpPr>
              <a:spLocks/>
            </p:cNvSpPr>
            <p:nvPr/>
          </p:nvSpPr>
          <p:spPr bwMode="auto">
            <a:xfrm>
              <a:off x="5540316" y="3940157"/>
              <a:ext cx="330384" cy="331562"/>
            </a:xfrm>
            <a:custGeom>
              <a:avLst/>
              <a:gdLst/>
              <a:ahLst/>
              <a:cxnLst>
                <a:cxn ang="0">
                  <a:pos x="32" y="44"/>
                </a:cxn>
                <a:cxn ang="0">
                  <a:pos x="32" y="72"/>
                </a:cxn>
                <a:cxn ang="0">
                  <a:pos x="29" y="79"/>
                </a:cxn>
                <a:cxn ang="0">
                  <a:pos x="26" y="81"/>
                </a:cxn>
                <a:cxn ang="0">
                  <a:pos x="14" y="82"/>
                </a:cxn>
                <a:cxn ang="0">
                  <a:pos x="2" y="86"/>
                </a:cxn>
                <a:cxn ang="0">
                  <a:pos x="3" y="95"/>
                </a:cxn>
                <a:cxn ang="0">
                  <a:pos x="6" y="100"/>
                </a:cxn>
                <a:cxn ang="0">
                  <a:pos x="8" y="101"/>
                </a:cxn>
                <a:cxn ang="0">
                  <a:pos x="8" y="104"/>
                </a:cxn>
                <a:cxn ang="0">
                  <a:pos x="14" y="109"/>
                </a:cxn>
                <a:cxn ang="0">
                  <a:pos x="17" y="112"/>
                </a:cxn>
                <a:cxn ang="0">
                  <a:pos x="19" y="117"/>
                </a:cxn>
                <a:cxn ang="0">
                  <a:pos x="20" y="112"/>
                </a:cxn>
                <a:cxn ang="0">
                  <a:pos x="23" y="112"/>
                </a:cxn>
                <a:cxn ang="0">
                  <a:pos x="28" y="118"/>
                </a:cxn>
                <a:cxn ang="0">
                  <a:pos x="31" y="109"/>
                </a:cxn>
                <a:cxn ang="0">
                  <a:pos x="32" y="100"/>
                </a:cxn>
                <a:cxn ang="0">
                  <a:pos x="40" y="98"/>
                </a:cxn>
                <a:cxn ang="0">
                  <a:pos x="45" y="96"/>
                </a:cxn>
                <a:cxn ang="0">
                  <a:pos x="52" y="103"/>
                </a:cxn>
                <a:cxn ang="0">
                  <a:pos x="63" y="101"/>
                </a:cxn>
                <a:cxn ang="0">
                  <a:pos x="72" y="107"/>
                </a:cxn>
                <a:cxn ang="0">
                  <a:pos x="84" y="101"/>
                </a:cxn>
                <a:cxn ang="0">
                  <a:pos x="100" y="103"/>
                </a:cxn>
                <a:cxn ang="0">
                  <a:pos x="107" y="98"/>
                </a:cxn>
                <a:cxn ang="0">
                  <a:pos x="121" y="68"/>
                </a:cxn>
                <a:cxn ang="0">
                  <a:pos x="124" y="44"/>
                </a:cxn>
                <a:cxn ang="0">
                  <a:pos x="123" y="27"/>
                </a:cxn>
                <a:cxn ang="0">
                  <a:pos x="118" y="5"/>
                </a:cxn>
                <a:cxn ang="0">
                  <a:pos x="110" y="6"/>
                </a:cxn>
                <a:cxn ang="0">
                  <a:pos x="95" y="0"/>
                </a:cxn>
                <a:cxn ang="0">
                  <a:pos x="60" y="27"/>
                </a:cxn>
                <a:cxn ang="0">
                  <a:pos x="32" y="44"/>
                </a:cxn>
              </a:cxnLst>
              <a:rect l="0" t="0" r="r" b="b"/>
              <a:pathLst>
                <a:path w="129" h="118">
                  <a:moveTo>
                    <a:pt x="32" y="44"/>
                  </a:moveTo>
                  <a:cubicBezTo>
                    <a:pt x="32" y="44"/>
                    <a:pt x="34" y="70"/>
                    <a:pt x="32" y="72"/>
                  </a:cubicBezTo>
                  <a:cubicBezTo>
                    <a:pt x="31" y="75"/>
                    <a:pt x="32" y="79"/>
                    <a:pt x="29" y="79"/>
                  </a:cubicBezTo>
                  <a:cubicBezTo>
                    <a:pt x="26" y="79"/>
                    <a:pt x="28" y="82"/>
                    <a:pt x="26" y="81"/>
                  </a:cubicBezTo>
                  <a:cubicBezTo>
                    <a:pt x="25" y="81"/>
                    <a:pt x="23" y="82"/>
                    <a:pt x="14" y="82"/>
                  </a:cubicBezTo>
                  <a:cubicBezTo>
                    <a:pt x="6" y="82"/>
                    <a:pt x="11" y="87"/>
                    <a:pt x="2" y="86"/>
                  </a:cubicBezTo>
                  <a:cubicBezTo>
                    <a:pt x="0" y="92"/>
                    <a:pt x="2" y="89"/>
                    <a:pt x="3" y="95"/>
                  </a:cubicBezTo>
                  <a:cubicBezTo>
                    <a:pt x="3" y="100"/>
                    <a:pt x="5" y="96"/>
                    <a:pt x="6" y="100"/>
                  </a:cubicBezTo>
                  <a:cubicBezTo>
                    <a:pt x="9" y="101"/>
                    <a:pt x="9" y="103"/>
                    <a:pt x="8" y="101"/>
                  </a:cubicBezTo>
                  <a:cubicBezTo>
                    <a:pt x="6" y="101"/>
                    <a:pt x="6" y="104"/>
                    <a:pt x="8" y="104"/>
                  </a:cubicBezTo>
                  <a:cubicBezTo>
                    <a:pt x="9" y="106"/>
                    <a:pt x="12" y="110"/>
                    <a:pt x="14" y="109"/>
                  </a:cubicBezTo>
                  <a:cubicBezTo>
                    <a:pt x="16" y="106"/>
                    <a:pt x="19" y="110"/>
                    <a:pt x="17" y="112"/>
                  </a:cubicBezTo>
                  <a:cubicBezTo>
                    <a:pt x="16" y="112"/>
                    <a:pt x="17" y="114"/>
                    <a:pt x="19" y="117"/>
                  </a:cubicBezTo>
                  <a:cubicBezTo>
                    <a:pt x="20" y="114"/>
                    <a:pt x="17" y="112"/>
                    <a:pt x="20" y="112"/>
                  </a:cubicBezTo>
                  <a:cubicBezTo>
                    <a:pt x="22" y="112"/>
                    <a:pt x="20" y="109"/>
                    <a:pt x="23" y="112"/>
                  </a:cubicBezTo>
                  <a:cubicBezTo>
                    <a:pt x="26" y="115"/>
                    <a:pt x="26" y="115"/>
                    <a:pt x="28" y="118"/>
                  </a:cubicBezTo>
                  <a:cubicBezTo>
                    <a:pt x="29" y="115"/>
                    <a:pt x="26" y="110"/>
                    <a:pt x="31" y="109"/>
                  </a:cubicBezTo>
                  <a:cubicBezTo>
                    <a:pt x="34" y="106"/>
                    <a:pt x="31" y="103"/>
                    <a:pt x="32" y="100"/>
                  </a:cubicBezTo>
                  <a:cubicBezTo>
                    <a:pt x="35" y="98"/>
                    <a:pt x="35" y="98"/>
                    <a:pt x="40" y="98"/>
                  </a:cubicBezTo>
                  <a:cubicBezTo>
                    <a:pt x="43" y="98"/>
                    <a:pt x="42" y="95"/>
                    <a:pt x="45" y="96"/>
                  </a:cubicBezTo>
                  <a:cubicBezTo>
                    <a:pt x="48" y="98"/>
                    <a:pt x="51" y="96"/>
                    <a:pt x="52" y="103"/>
                  </a:cubicBezTo>
                  <a:cubicBezTo>
                    <a:pt x="55" y="109"/>
                    <a:pt x="60" y="101"/>
                    <a:pt x="63" y="101"/>
                  </a:cubicBezTo>
                  <a:cubicBezTo>
                    <a:pt x="64" y="101"/>
                    <a:pt x="68" y="106"/>
                    <a:pt x="72" y="107"/>
                  </a:cubicBezTo>
                  <a:cubicBezTo>
                    <a:pt x="78" y="107"/>
                    <a:pt x="77" y="103"/>
                    <a:pt x="84" y="101"/>
                  </a:cubicBezTo>
                  <a:cubicBezTo>
                    <a:pt x="94" y="100"/>
                    <a:pt x="98" y="107"/>
                    <a:pt x="100" y="103"/>
                  </a:cubicBezTo>
                  <a:cubicBezTo>
                    <a:pt x="101" y="98"/>
                    <a:pt x="103" y="101"/>
                    <a:pt x="107" y="98"/>
                  </a:cubicBezTo>
                  <a:cubicBezTo>
                    <a:pt x="104" y="89"/>
                    <a:pt x="119" y="70"/>
                    <a:pt x="121" y="68"/>
                  </a:cubicBezTo>
                  <a:cubicBezTo>
                    <a:pt x="123" y="67"/>
                    <a:pt x="124" y="53"/>
                    <a:pt x="124" y="44"/>
                  </a:cubicBezTo>
                  <a:cubicBezTo>
                    <a:pt x="124" y="33"/>
                    <a:pt x="129" y="37"/>
                    <a:pt x="123" y="27"/>
                  </a:cubicBezTo>
                  <a:cubicBezTo>
                    <a:pt x="118" y="17"/>
                    <a:pt x="123" y="14"/>
                    <a:pt x="118" y="5"/>
                  </a:cubicBezTo>
                  <a:cubicBezTo>
                    <a:pt x="112" y="9"/>
                    <a:pt x="113" y="11"/>
                    <a:pt x="110" y="6"/>
                  </a:cubicBezTo>
                  <a:cubicBezTo>
                    <a:pt x="107" y="2"/>
                    <a:pt x="98" y="3"/>
                    <a:pt x="95" y="0"/>
                  </a:cubicBezTo>
                  <a:cubicBezTo>
                    <a:pt x="90" y="3"/>
                    <a:pt x="69" y="19"/>
                    <a:pt x="60" y="27"/>
                  </a:cubicBezTo>
                  <a:cubicBezTo>
                    <a:pt x="51" y="33"/>
                    <a:pt x="54" y="44"/>
                    <a:pt x="32" y="4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5" name="Freeform 113"/>
            <p:cNvSpPr>
              <a:spLocks/>
            </p:cNvSpPr>
            <p:nvPr/>
          </p:nvSpPr>
          <p:spPr bwMode="auto">
            <a:xfrm>
              <a:off x="5596916" y="4208013"/>
              <a:ext cx="244826" cy="269303"/>
            </a:xfrm>
            <a:custGeom>
              <a:avLst/>
              <a:gdLst/>
              <a:ahLst/>
              <a:cxnLst>
                <a:cxn ang="0">
                  <a:pos x="90" y="9"/>
                </a:cxn>
                <a:cxn ang="0">
                  <a:pos x="93" y="22"/>
                </a:cxn>
                <a:cxn ang="0">
                  <a:pos x="84" y="39"/>
                </a:cxn>
                <a:cxn ang="0">
                  <a:pos x="77" y="54"/>
                </a:cxn>
                <a:cxn ang="0">
                  <a:pos x="70" y="70"/>
                </a:cxn>
                <a:cxn ang="0">
                  <a:pos x="64" y="71"/>
                </a:cxn>
                <a:cxn ang="0">
                  <a:pos x="56" y="73"/>
                </a:cxn>
                <a:cxn ang="0">
                  <a:pos x="50" y="79"/>
                </a:cxn>
                <a:cxn ang="0">
                  <a:pos x="45" y="92"/>
                </a:cxn>
                <a:cxn ang="0">
                  <a:pos x="42" y="88"/>
                </a:cxn>
                <a:cxn ang="0">
                  <a:pos x="35" y="93"/>
                </a:cxn>
                <a:cxn ang="0">
                  <a:pos x="32" y="95"/>
                </a:cxn>
                <a:cxn ang="0">
                  <a:pos x="26" y="96"/>
                </a:cxn>
                <a:cxn ang="0">
                  <a:pos x="18" y="81"/>
                </a:cxn>
                <a:cxn ang="0">
                  <a:pos x="9" y="75"/>
                </a:cxn>
                <a:cxn ang="0">
                  <a:pos x="4" y="75"/>
                </a:cxn>
                <a:cxn ang="0">
                  <a:pos x="0" y="76"/>
                </a:cxn>
                <a:cxn ang="0">
                  <a:pos x="0" y="54"/>
                </a:cxn>
                <a:cxn ang="0">
                  <a:pos x="3" y="47"/>
                </a:cxn>
                <a:cxn ang="0">
                  <a:pos x="7" y="36"/>
                </a:cxn>
                <a:cxn ang="0">
                  <a:pos x="6" y="23"/>
                </a:cxn>
                <a:cxn ang="0">
                  <a:pos x="9" y="14"/>
                </a:cxn>
                <a:cxn ang="0">
                  <a:pos x="10" y="5"/>
                </a:cxn>
                <a:cxn ang="0">
                  <a:pos x="18" y="3"/>
                </a:cxn>
                <a:cxn ang="0">
                  <a:pos x="23" y="2"/>
                </a:cxn>
                <a:cxn ang="0">
                  <a:pos x="30" y="8"/>
                </a:cxn>
                <a:cxn ang="0">
                  <a:pos x="41" y="6"/>
                </a:cxn>
                <a:cxn ang="0">
                  <a:pos x="50" y="13"/>
                </a:cxn>
                <a:cxn ang="0">
                  <a:pos x="62" y="6"/>
                </a:cxn>
                <a:cxn ang="0">
                  <a:pos x="77" y="8"/>
                </a:cxn>
                <a:cxn ang="0">
                  <a:pos x="85" y="3"/>
                </a:cxn>
                <a:cxn ang="0">
                  <a:pos x="90" y="9"/>
                </a:cxn>
              </a:cxnLst>
              <a:rect l="0" t="0" r="r" b="b"/>
              <a:pathLst>
                <a:path w="96" h="96">
                  <a:moveTo>
                    <a:pt x="90" y="9"/>
                  </a:moveTo>
                  <a:cubicBezTo>
                    <a:pt x="88" y="22"/>
                    <a:pt x="96" y="14"/>
                    <a:pt x="93" y="22"/>
                  </a:cubicBezTo>
                  <a:cubicBezTo>
                    <a:pt x="91" y="31"/>
                    <a:pt x="88" y="23"/>
                    <a:pt x="84" y="39"/>
                  </a:cubicBezTo>
                  <a:cubicBezTo>
                    <a:pt x="80" y="53"/>
                    <a:pt x="80" y="53"/>
                    <a:pt x="77" y="54"/>
                  </a:cubicBezTo>
                  <a:cubicBezTo>
                    <a:pt x="74" y="56"/>
                    <a:pt x="73" y="65"/>
                    <a:pt x="70" y="70"/>
                  </a:cubicBezTo>
                  <a:cubicBezTo>
                    <a:pt x="67" y="76"/>
                    <a:pt x="68" y="76"/>
                    <a:pt x="64" y="71"/>
                  </a:cubicBezTo>
                  <a:cubicBezTo>
                    <a:pt x="61" y="67"/>
                    <a:pt x="56" y="68"/>
                    <a:pt x="56" y="73"/>
                  </a:cubicBezTo>
                  <a:cubicBezTo>
                    <a:pt x="55" y="76"/>
                    <a:pt x="52" y="73"/>
                    <a:pt x="50" y="79"/>
                  </a:cubicBezTo>
                  <a:cubicBezTo>
                    <a:pt x="47" y="84"/>
                    <a:pt x="49" y="85"/>
                    <a:pt x="45" y="92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7" y="95"/>
                    <a:pt x="36" y="95"/>
                    <a:pt x="35" y="93"/>
                  </a:cubicBezTo>
                  <a:cubicBezTo>
                    <a:pt x="33" y="92"/>
                    <a:pt x="36" y="95"/>
                    <a:pt x="32" y="95"/>
                  </a:cubicBezTo>
                  <a:cubicBezTo>
                    <a:pt x="30" y="96"/>
                    <a:pt x="30" y="96"/>
                    <a:pt x="26" y="96"/>
                  </a:cubicBezTo>
                  <a:cubicBezTo>
                    <a:pt x="21" y="96"/>
                    <a:pt x="20" y="84"/>
                    <a:pt x="18" y="81"/>
                  </a:cubicBezTo>
                  <a:cubicBezTo>
                    <a:pt x="13" y="76"/>
                    <a:pt x="12" y="75"/>
                    <a:pt x="9" y="75"/>
                  </a:cubicBezTo>
                  <a:cubicBezTo>
                    <a:pt x="4" y="76"/>
                    <a:pt x="6" y="73"/>
                    <a:pt x="4" y="75"/>
                  </a:cubicBezTo>
                  <a:cubicBezTo>
                    <a:pt x="4" y="76"/>
                    <a:pt x="3" y="76"/>
                    <a:pt x="0" y="76"/>
                  </a:cubicBezTo>
                  <a:cubicBezTo>
                    <a:pt x="1" y="67"/>
                    <a:pt x="0" y="62"/>
                    <a:pt x="0" y="54"/>
                  </a:cubicBezTo>
                  <a:cubicBezTo>
                    <a:pt x="0" y="47"/>
                    <a:pt x="1" y="51"/>
                    <a:pt x="3" y="47"/>
                  </a:cubicBezTo>
                  <a:cubicBezTo>
                    <a:pt x="3" y="42"/>
                    <a:pt x="4" y="44"/>
                    <a:pt x="7" y="36"/>
                  </a:cubicBezTo>
                  <a:cubicBezTo>
                    <a:pt x="10" y="28"/>
                    <a:pt x="4" y="28"/>
                    <a:pt x="6" y="23"/>
                  </a:cubicBezTo>
                  <a:cubicBezTo>
                    <a:pt x="7" y="20"/>
                    <a:pt x="4" y="16"/>
                    <a:pt x="9" y="14"/>
                  </a:cubicBezTo>
                  <a:cubicBezTo>
                    <a:pt x="12" y="11"/>
                    <a:pt x="9" y="8"/>
                    <a:pt x="10" y="5"/>
                  </a:cubicBezTo>
                  <a:cubicBezTo>
                    <a:pt x="13" y="3"/>
                    <a:pt x="13" y="3"/>
                    <a:pt x="18" y="3"/>
                  </a:cubicBezTo>
                  <a:cubicBezTo>
                    <a:pt x="21" y="3"/>
                    <a:pt x="20" y="0"/>
                    <a:pt x="23" y="2"/>
                  </a:cubicBezTo>
                  <a:cubicBezTo>
                    <a:pt x="26" y="3"/>
                    <a:pt x="29" y="2"/>
                    <a:pt x="30" y="8"/>
                  </a:cubicBezTo>
                  <a:cubicBezTo>
                    <a:pt x="33" y="14"/>
                    <a:pt x="38" y="6"/>
                    <a:pt x="41" y="6"/>
                  </a:cubicBezTo>
                  <a:cubicBezTo>
                    <a:pt x="42" y="6"/>
                    <a:pt x="45" y="11"/>
                    <a:pt x="50" y="13"/>
                  </a:cubicBezTo>
                  <a:cubicBezTo>
                    <a:pt x="56" y="13"/>
                    <a:pt x="55" y="8"/>
                    <a:pt x="62" y="6"/>
                  </a:cubicBezTo>
                  <a:cubicBezTo>
                    <a:pt x="71" y="5"/>
                    <a:pt x="76" y="13"/>
                    <a:pt x="77" y="8"/>
                  </a:cubicBezTo>
                  <a:cubicBezTo>
                    <a:pt x="79" y="3"/>
                    <a:pt x="80" y="6"/>
                    <a:pt x="85" y="3"/>
                  </a:cubicBezTo>
                  <a:cubicBezTo>
                    <a:pt x="90" y="9"/>
                    <a:pt x="90" y="9"/>
                    <a:pt x="90" y="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6" name="Freeform 114"/>
            <p:cNvSpPr>
              <a:spLocks/>
            </p:cNvSpPr>
            <p:nvPr/>
          </p:nvSpPr>
          <p:spPr bwMode="auto">
            <a:xfrm>
              <a:off x="5829895" y="4291989"/>
              <a:ext cx="267203" cy="241794"/>
            </a:xfrm>
            <a:custGeom>
              <a:avLst/>
              <a:gdLst/>
              <a:ahLst/>
              <a:cxnLst>
                <a:cxn ang="0">
                  <a:pos x="105" y="58"/>
                </a:cxn>
                <a:cxn ang="0">
                  <a:pos x="99" y="58"/>
                </a:cxn>
                <a:cxn ang="0">
                  <a:pos x="87" y="57"/>
                </a:cxn>
                <a:cxn ang="0">
                  <a:pos x="76" y="60"/>
                </a:cxn>
                <a:cxn ang="0">
                  <a:pos x="67" y="63"/>
                </a:cxn>
                <a:cxn ang="0">
                  <a:pos x="50" y="65"/>
                </a:cxn>
                <a:cxn ang="0">
                  <a:pos x="44" y="58"/>
                </a:cxn>
                <a:cxn ang="0">
                  <a:pos x="35" y="65"/>
                </a:cxn>
                <a:cxn ang="0">
                  <a:pos x="35" y="74"/>
                </a:cxn>
                <a:cxn ang="0">
                  <a:pos x="28" y="72"/>
                </a:cxn>
                <a:cxn ang="0">
                  <a:pos x="20" y="72"/>
                </a:cxn>
                <a:cxn ang="0">
                  <a:pos x="15" y="86"/>
                </a:cxn>
                <a:cxn ang="0">
                  <a:pos x="8" y="71"/>
                </a:cxn>
                <a:cxn ang="0">
                  <a:pos x="5" y="65"/>
                </a:cxn>
                <a:cxn ang="0">
                  <a:pos x="2" y="52"/>
                </a:cxn>
                <a:cxn ang="0">
                  <a:pos x="2" y="48"/>
                </a:cxn>
                <a:cxn ang="0">
                  <a:pos x="9" y="34"/>
                </a:cxn>
                <a:cxn ang="0">
                  <a:pos x="17" y="32"/>
                </a:cxn>
                <a:cxn ang="0">
                  <a:pos x="21" y="32"/>
                </a:cxn>
                <a:cxn ang="0">
                  <a:pos x="37" y="26"/>
                </a:cxn>
                <a:cxn ang="0">
                  <a:pos x="37" y="20"/>
                </a:cxn>
                <a:cxn ang="0">
                  <a:pos x="53" y="14"/>
                </a:cxn>
                <a:cxn ang="0">
                  <a:pos x="58" y="4"/>
                </a:cxn>
                <a:cxn ang="0">
                  <a:pos x="69" y="1"/>
                </a:cxn>
                <a:cxn ang="0">
                  <a:pos x="73" y="17"/>
                </a:cxn>
                <a:cxn ang="0">
                  <a:pos x="78" y="24"/>
                </a:cxn>
                <a:cxn ang="0">
                  <a:pos x="85" y="29"/>
                </a:cxn>
                <a:cxn ang="0">
                  <a:pos x="90" y="37"/>
                </a:cxn>
                <a:cxn ang="0">
                  <a:pos x="96" y="44"/>
                </a:cxn>
                <a:cxn ang="0">
                  <a:pos x="101" y="51"/>
                </a:cxn>
                <a:cxn ang="0">
                  <a:pos x="105" y="58"/>
                </a:cxn>
              </a:cxnLst>
              <a:rect l="0" t="0" r="r" b="b"/>
              <a:pathLst>
                <a:path w="105" h="86">
                  <a:moveTo>
                    <a:pt x="105" y="58"/>
                  </a:moveTo>
                  <a:cubicBezTo>
                    <a:pt x="102" y="58"/>
                    <a:pt x="102" y="55"/>
                    <a:pt x="99" y="58"/>
                  </a:cubicBezTo>
                  <a:cubicBezTo>
                    <a:pt x="97" y="62"/>
                    <a:pt x="90" y="52"/>
                    <a:pt x="87" y="57"/>
                  </a:cubicBezTo>
                  <a:cubicBezTo>
                    <a:pt x="84" y="62"/>
                    <a:pt x="84" y="55"/>
                    <a:pt x="76" y="60"/>
                  </a:cubicBezTo>
                  <a:cubicBezTo>
                    <a:pt x="67" y="66"/>
                    <a:pt x="70" y="55"/>
                    <a:pt x="67" y="63"/>
                  </a:cubicBezTo>
                  <a:cubicBezTo>
                    <a:pt x="64" y="71"/>
                    <a:pt x="59" y="65"/>
                    <a:pt x="50" y="65"/>
                  </a:cubicBezTo>
                  <a:cubicBezTo>
                    <a:pt x="47" y="65"/>
                    <a:pt x="50" y="62"/>
                    <a:pt x="44" y="58"/>
                  </a:cubicBezTo>
                  <a:cubicBezTo>
                    <a:pt x="37" y="55"/>
                    <a:pt x="37" y="63"/>
                    <a:pt x="35" y="65"/>
                  </a:cubicBezTo>
                  <a:cubicBezTo>
                    <a:pt x="32" y="66"/>
                    <a:pt x="34" y="69"/>
                    <a:pt x="35" y="74"/>
                  </a:cubicBezTo>
                  <a:cubicBezTo>
                    <a:pt x="32" y="71"/>
                    <a:pt x="31" y="75"/>
                    <a:pt x="28" y="72"/>
                  </a:cubicBezTo>
                  <a:cubicBezTo>
                    <a:pt x="25" y="71"/>
                    <a:pt x="25" y="74"/>
                    <a:pt x="20" y="72"/>
                  </a:cubicBezTo>
                  <a:cubicBezTo>
                    <a:pt x="15" y="72"/>
                    <a:pt x="18" y="80"/>
                    <a:pt x="15" y="86"/>
                  </a:cubicBezTo>
                  <a:cubicBezTo>
                    <a:pt x="14" y="75"/>
                    <a:pt x="11" y="74"/>
                    <a:pt x="8" y="71"/>
                  </a:cubicBezTo>
                  <a:cubicBezTo>
                    <a:pt x="5" y="68"/>
                    <a:pt x="8" y="65"/>
                    <a:pt x="5" y="65"/>
                  </a:cubicBezTo>
                  <a:cubicBezTo>
                    <a:pt x="3" y="63"/>
                    <a:pt x="2" y="58"/>
                    <a:pt x="2" y="52"/>
                  </a:cubicBezTo>
                  <a:cubicBezTo>
                    <a:pt x="3" y="48"/>
                    <a:pt x="0" y="49"/>
                    <a:pt x="2" y="48"/>
                  </a:cubicBezTo>
                  <a:cubicBezTo>
                    <a:pt x="5" y="46"/>
                    <a:pt x="6" y="40"/>
                    <a:pt x="9" y="34"/>
                  </a:cubicBezTo>
                  <a:cubicBezTo>
                    <a:pt x="12" y="35"/>
                    <a:pt x="15" y="34"/>
                    <a:pt x="17" y="32"/>
                  </a:cubicBezTo>
                  <a:cubicBezTo>
                    <a:pt x="18" y="29"/>
                    <a:pt x="18" y="35"/>
                    <a:pt x="21" y="32"/>
                  </a:cubicBezTo>
                  <a:cubicBezTo>
                    <a:pt x="28" y="27"/>
                    <a:pt x="32" y="32"/>
                    <a:pt x="37" y="26"/>
                  </a:cubicBezTo>
                  <a:cubicBezTo>
                    <a:pt x="40" y="21"/>
                    <a:pt x="35" y="21"/>
                    <a:pt x="37" y="20"/>
                  </a:cubicBezTo>
                  <a:cubicBezTo>
                    <a:pt x="38" y="18"/>
                    <a:pt x="47" y="21"/>
                    <a:pt x="53" y="14"/>
                  </a:cubicBezTo>
                  <a:cubicBezTo>
                    <a:pt x="58" y="6"/>
                    <a:pt x="59" y="9"/>
                    <a:pt x="58" y="4"/>
                  </a:cubicBezTo>
                  <a:cubicBezTo>
                    <a:pt x="58" y="3"/>
                    <a:pt x="66" y="0"/>
                    <a:pt x="69" y="1"/>
                  </a:cubicBezTo>
                  <a:cubicBezTo>
                    <a:pt x="72" y="6"/>
                    <a:pt x="76" y="10"/>
                    <a:pt x="73" y="17"/>
                  </a:cubicBezTo>
                  <a:cubicBezTo>
                    <a:pt x="72" y="27"/>
                    <a:pt x="81" y="21"/>
                    <a:pt x="78" y="24"/>
                  </a:cubicBezTo>
                  <a:cubicBezTo>
                    <a:pt x="76" y="29"/>
                    <a:pt x="82" y="26"/>
                    <a:pt x="85" y="29"/>
                  </a:cubicBezTo>
                  <a:cubicBezTo>
                    <a:pt x="88" y="34"/>
                    <a:pt x="84" y="32"/>
                    <a:pt x="90" y="37"/>
                  </a:cubicBezTo>
                  <a:cubicBezTo>
                    <a:pt x="94" y="41"/>
                    <a:pt x="96" y="41"/>
                    <a:pt x="96" y="44"/>
                  </a:cubicBezTo>
                  <a:cubicBezTo>
                    <a:pt x="94" y="48"/>
                    <a:pt x="96" y="48"/>
                    <a:pt x="101" y="51"/>
                  </a:cubicBezTo>
                  <a:cubicBezTo>
                    <a:pt x="104" y="51"/>
                    <a:pt x="102" y="55"/>
                    <a:pt x="105" y="5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7" name="Freeform 115"/>
            <p:cNvSpPr>
              <a:spLocks/>
            </p:cNvSpPr>
            <p:nvPr/>
          </p:nvSpPr>
          <p:spPr bwMode="auto">
            <a:xfrm>
              <a:off x="5711431" y="4232627"/>
              <a:ext cx="159269" cy="317084"/>
            </a:xfrm>
            <a:custGeom>
              <a:avLst/>
              <a:gdLst/>
              <a:ahLst/>
              <a:cxnLst>
                <a:cxn ang="0">
                  <a:pos x="39" y="107"/>
                </a:cxn>
                <a:cxn ang="0">
                  <a:pos x="49" y="107"/>
                </a:cxn>
                <a:cxn ang="0">
                  <a:pos x="56" y="109"/>
                </a:cxn>
                <a:cxn ang="0">
                  <a:pos x="60" y="112"/>
                </a:cxn>
                <a:cxn ang="0">
                  <a:pos x="62" y="107"/>
                </a:cxn>
                <a:cxn ang="0">
                  <a:pos x="54" y="92"/>
                </a:cxn>
                <a:cxn ang="0">
                  <a:pos x="51" y="85"/>
                </a:cxn>
                <a:cxn ang="0">
                  <a:pos x="48" y="73"/>
                </a:cxn>
                <a:cxn ang="0">
                  <a:pos x="48" y="68"/>
                </a:cxn>
                <a:cxn ang="0">
                  <a:pos x="56" y="54"/>
                </a:cxn>
                <a:cxn ang="0">
                  <a:pos x="54" y="48"/>
                </a:cxn>
                <a:cxn ang="0">
                  <a:pos x="45" y="36"/>
                </a:cxn>
                <a:cxn ang="0">
                  <a:pos x="48" y="31"/>
                </a:cxn>
                <a:cxn ang="0">
                  <a:pos x="57" y="30"/>
                </a:cxn>
                <a:cxn ang="0">
                  <a:pos x="51" y="9"/>
                </a:cxn>
                <a:cxn ang="0">
                  <a:pos x="49" y="3"/>
                </a:cxn>
                <a:cxn ang="0">
                  <a:pos x="45" y="0"/>
                </a:cxn>
                <a:cxn ang="0">
                  <a:pos x="48" y="13"/>
                </a:cxn>
                <a:cxn ang="0">
                  <a:pos x="39" y="30"/>
                </a:cxn>
                <a:cxn ang="0">
                  <a:pos x="32" y="45"/>
                </a:cxn>
                <a:cxn ang="0">
                  <a:pos x="25" y="61"/>
                </a:cxn>
                <a:cxn ang="0">
                  <a:pos x="19" y="62"/>
                </a:cxn>
                <a:cxn ang="0">
                  <a:pos x="11" y="64"/>
                </a:cxn>
                <a:cxn ang="0">
                  <a:pos x="5" y="70"/>
                </a:cxn>
                <a:cxn ang="0">
                  <a:pos x="0" y="82"/>
                </a:cxn>
                <a:cxn ang="0">
                  <a:pos x="3" y="85"/>
                </a:cxn>
                <a:cxn ang="0">
                  <a:pos x="5" y="90"/>
                </a:cxn>
                <a:cxn ang="0">
                  <a:pos x="9" y="88"/>
                </a:cxn>
                <a:cxn ang="0">
                  <a:pos x="9" y="93"/>
                </a:cxn>
                <a:cxn ang="0">
                  <a:pos x="9" y="96"/>
                </a:cxn>
                <a:cxn ang="0">
                  <a:pos x="9" y="105"/>
                </a:cxn>
                <a:cxn ang="0">
                  <a:pos x="22" y="107"/>
                </a:cxn>
                <a:cxn ang="0">
                  <a:pos x="31" y="105"/>
                </a:cxn>
                <a:cxn ang="0">
                  <a:pos x="39" y="107"/>
                </a:cxn>
              </a:cxnLst>
              <a:rect l="0" t="0" r="r" b="b"/>
              <a:pathLst>
                <a:path w="62" h="113">
                  <a:moveTo>
                    <a:pt x="39" y="107"/>
                  </a:move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52" y="109"/>
                    <a:pt x="56" y="109"/>
                  </a:cubicBezTo>
                  <a:cubicBezTo>
                    <a:pt x="59" y="110"/>
                    <a:pt x="60" y="113"/>
                    <a:pt x="60" y="112"/>
                  </a:cubicBezTo>
                  <a:cubicBezTo>
                    <a:pt x="62" y="112"/>
                    <a:pt x="60" y="109"/>
                    <a:pt x="62" y="107"/>
                  </a:cubicBezTo>
                  <a:cubicBezTo>
                    <a:pt x="60" y="96"/>
                    <a:pt x="57" y="95"/>
                    <a:pt x="54" y="92"/>
                  </a:cubicBezTo>
                  <a:cubicBezTo>
                    <a:pt x="51" y="88"/>
                    <a:pt x="54" y="85"/>
                    <a:pt x="51" y="85"/>
                  </a:cubicBezTo>
                  <a:cubicBezTo>
                    <a:pt x="49" y="84"/>
                    <a:pt x="48" y="79"/>
                    <a:pt x="48" y="73"/>
                  </a:cubicBezTo>
                  <a:cubicBezTo>
                    <a:pt x="49" y="68"/>
                    <a:pt x="46" y="70"/>
                    <a:pt x="48" y="68"/>
                  </a:cubicBezTo>
                  <a:cubicBezTo>
                    <a:pt x="51" y="67"/>
                    <a:pt x="52" y="61"/>
                    <a:pt x="56" y="54"/>
                  </a:cubicBezTo>
                  <a:cubicBezTo>
                    <a:pt x="57" y="51"/>
                    <a:pt x="56" y="54"/>
                    <a:pt x="54" y="48"/>
                  </a:cubicBezTo>
                  <a:cubicBezTo>
                    <a:pt x="54" y="44"/>
                    <a:pt x="51" y="45"/>
                    <a:pt x="45" y="36"/>
                  </a:cubicBezTo>
                  <a:cubicBezTo>
                    <a:pt x="43" y="34"/>
                    <a:pt x="45" y="30"/>
                    <a:pt x="48" y="31"/>
                  </a:cubicBezTo>
                  <a:cubicBezTo>
                    <a:pt x="49" y="31"/>
                    <a:pt x="52" y="33"/>
                    <a:pt x="57" y="30"/>
                  </a:cubicBezTo>
                  <a:cubicBezTo>
                    <a:pt x="49" y="25"/>
                    <a:pt x="54" y="11"/>
                    <a:pt x="51" y="9"/>
                  </a:cubicBezTo>
                  <a:cubicBezTo>
                    <a:pt x="49" y="9"/>
                    <a:pt x="52" y="5"/>
                    <a:pt x="49" y="3"/>
                  </a:cubicBezTo>
                  <a:cubicBezTo>
                    <a:pt x="45" y="2"/>
                    <a:pt x="54" y="0"/>
                    <a:pt x="45" y="0"/>
                  </a:cubicBezTo>
                  <a:cubicBezTo>
                    <a:pt x="43" y="13"/>
                    <a:pt x="51" y="5"/>
                    <a:pt x="48" y="13"/>
                  </a:cubicBezTo>
                  <a:cubicBezTo>
                    <a:pt x="46" y="22"/>
                    <a:pt x="43" y="14"/>
                    <a:pt x="39" y="30"/>
                  </a:cubicBezTo>
                  <a:cubicBezTo>
                    <a:pt x="36" y="44"/>
                    <a:pt x="36" y="44"/>
                    <a:pt x="32" y="45"/>
                  </a:cubicBezTo>
                  <a:cubicBezTo>
                    <a:pt x="29" y="47"/>
                    <a:pt x="28" y="56"/>
                    <a:pt x="25" y="61"/>
                  </a:cubicBezTo>
                  <a:cubicBezTo>
                    <a:pt x="22" y="67"/>
                    <a:pt x="23" y="67"/>
                    <a:pt x="19" y="62"/>
                  </a:cubicBezTo>
                  <a:cubicBezTo>
                    <a:pt x="16" y="57"/>
                    <a:pt x="11" y="59"/>
                    <a:pt x="11" y="64"/>
                  </a:cubicBezTo>
                  <a:cubicBezTo>
                    <a:pt x="9" y="67"/>
                    <a:pt x="6" y="64"/>
                    <a:pt x="5" y="70"/>
                  </a:cubicBezTo>
                  <a:cubicBezTo>
                    <a:pt x="2" y="74"/>
                    <a:pt x="3" y="76"/>
                    <a:pt x="0" y="82"/>
                  </a:cubicBezTo>
                  <a:cubicBezTo>
                    <a:pt x="0" y="87"/>
                    <a:pt x="2" y="81"/>
                    <a:pt x="3" y="85"/>
                  </a:cubicBezTo>
                  <a:cubicBezTo>
                    <a:pt x="3" y="88"/>
                    <a:pt x="3" y="88"/>
                    <a:pt x="5" y="90"/>
                  </a:cubicBezTo>
                  <a:cubicBezTo>
                    <a:pt x="8" y="92"/>
                    <a:pt x="6" y="87"/>
                    <a:pt x="9" y="88"/>
                  </a:cubicBezTo>
                  <a:cubicBezTo>
                    <a:pt x="11" y="90"/>
                    <a:pt x="6" y="90"/>
                    <a:pt x="9" y="93"/>
                  </a:cubicBezTo>
                  <a:cubicBezTo>
                    <a:pt x="11" y="95"/>
                    <a:pt x="8" y="93"/>
                    <a:pt x="9" y="96"/>
                  </a:cubicBezTo>
                  <a:cubicBezTo>
                    <a:pt x="12" y="99"/>
                    <a:pt x="9" y="102"/>
                    <a:pt x="9" y="105"/>
                  </a:cubicBezTo>
                  <a:cubicBezTo>
                    <a:pt x="12" y="109"/>
                    <a:pt x="14" y="107"/>
                    <a:pt x="22" y="107"/>
                  </a:cubicBezTo>
                  <a:cubicBezTo>
                    <a:pt x="23" y="105"/>
                    <a:pt x="23" y="105"/>
                    <a:pt x="31" y="105"/>
                  </a:cubicBezTo>
                  <a:cubicBezTo>
                    <a:pt x="40" y="105"/>
                    <a:pt x="37" y="105"/>
                    <a:pt x="39" y="10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8" name="Freeform 117"/>
            <p:cNvSpPr>
              <a:spLocks/>
            </p:cNvSpPr>
            <p:nvPr/>
          </p:nvSpPr>
          <p:spPr bwMode="auto">
            <a:xfrm>
              <a:off x="5762766" y="4491796"/>
              <a:ext cx="155320" cy="243242"/>
            </a:xfrm>
            <a:custGeom>
              <a:avLst/>
              <a:gdLst/>
              <a:ahLst/>
              <a:cxnLst>
                <a:cxn ang="0">
                  <a:pos x="18" y="16"/>
                </a:cxn>
                <a:cxn ang="0">
                  <a:pos x="17" y="23"/>
                </a:cxn>
                <a:cxn ang="0">
                  <a:pos x="23" y="23"/>
                </a:cxn>
                <a:cxn ang="0">
                  <a:pos x="26" y="30"/>
                </a:cxn>
                <a:cxn ang="0">
                  <a:pos x="23" y="37"/>
                </a:cxn>
                <a:cxn ang="0">
                  <a:pos x="28" y="43"/>
                </a:cxn>
                <a:cxn ang="0">
                  <a:pos x="26" y="56"/>
                </a:cxn>
                <a:cxn ang="0">
                  <a:pos x="25" y="60"/>
                </a:cxn>
                <a:cxn ang="0">
                  <a:pos x="22" y="59"/>
                </a:cxn>
                <a:cxn ang="0">
                  <a:pos x="14" y="56"/>
                </a:cxn>
                <a:cxn ang="0">
                  <a:pos x="12" y="57"/>
                </a:cxn>
                <a:cxn ang="0">
                  <a:pos x="6" y="60"/>
                </a:cxn>
                <a:cxn ang="0">
                  <a:pos x="6" y="68"/>
                </a:cxn>
                <a:cxn ang="0">
                  <a:pos x="5" y="73"/>
                </a:cxn>
                <a:cxn ang="0">
                  <a:pos x="0" y="74"/>
                </a:cxn>
                <a:cxn ang="0">
                  <a:pos x="6" y="82"/>
                </a:cxn>
                <a:cxn ang="0">
                  <a:pos x="8" y="85"/>
                </a:cxn>
                <a:cxn ang="0">
                  <a:pos x="14" y="81"/>
                </a:cxn>
                <a:cxn ang="0">
                  <a:pos x="17" y="82"/>
                </a:cxn>
                <a:cxn ang="0">
                  <a:pos x="26" y="79"/>
                </a:cxn>
                <a:cxn ang="0">
                  <a:pos x="28" y="84"/>
                </a:cxn>
                <a:cxn ang="0">
                  <a:pos x="37" y="76"/>
                </a:cxn>
                <a:cxn ang="0">
                  <a:pos x="41" y="67"/>
                </a:cxn>
                <a:cxn ang="0">
                  <a:pos x="50" y="47"/>
                </a:cxn>
                <a:cxn ang="0">
                  <a:pos x="55" y="34"/>
                </a:cxn>
                <a:cxn ang="0">
                  <a:pos x="55" y="23"/>
                </a:cxn>
                <a:cxn ang="0">
                  <a:pos x="57" y="11"/>
                </a:cxn>
                <a:cxn ang="0">
                  <a:pos x="61" y="3"/>
                </a:cxn>
                <a:cxn ang="0">
                  <a:pos x="54" y="2"/>
                </a:cxn>
                <a:cxn ang="0">
                  <a:pos x="46" y="2"/>
                </a:cxn>
                <a:cxn ang="0">
                  <a:pos x="41" y="16"/>
                </a:cxn>
                <a:cxn ang="0">
                  <a:pos x="40" y="20"/>
                </a:cxn>
                <a:cxn ang="0">
                  <a:pos x="35" y="17"/>
                </a:cxn>
                <a:cxn ang="0">
                  <a:pos x="29" y="16"/>
                </a:cxn>
                <a:cxn ang="0">
                  <a:pos x="18" y="16"/>
                </a:cxn>
              </a:cxnLst>
              <a:rect l="0" t="0" r="r" b="b"/>
              <a:pathLst>
                <a:path w="61" h="87">
                  <a:moveTo>
                    <a:pt x="18" y="16"/>
                  </a:moveTo>
                  <a:cubicBezTo>
                    <a:pt x="18" y="19"/>
                    <a:pt x="15" y="19"/>
                    <a:pt x="17" y="23"/>
                  </a:cubicBezTo>
                  <a:cubicBezTo>
                    <a:pt x="18" y="26"/>
                    <a:pt x="22" y="23"/>
                    <a:pt x="23" y="23"/>
                  </a:cubicBezTo>
                  <a:cubicBezTo>
                    <a:pt x="26" y="23"/>
                    <a:pt x="28" y="26"/>
                    <a:pt x="26" y="30"/>
                  </a:cubicBezTo>
                  <a:cubicBezTo>
                    <a:pt x="25" y="34"/>
                    <a:pt x="25" y="28"/>
                    <a:pt x="23" y="37"/>
                  </a:cubicBezTo>
                  <a:cubicBezTo>
                    <a:pt x="22" y="42"/>
                    <a:pt x="28" y="40"/>
                    <a:pt x="28" y="43"/>
                  </a:cubicBezTo>
                  <a:cubicBezTo>
                    <a:pt x="26" y="47"/>
                    <a:pt x="28" y="53"/>
                    <a:pt x="26" y="56"/>
                  </a:cubicBezTo>
                  <a:cubicBezTo>
                    <a:pt x="25" y="59"/>
                    <a:pt x="28" y="60"/>
                    <a:pt x="25" y="60"/>
                  </a:cubicBezTo>
                  <a:cubicBezTo>
                    <a:pt x="22" y="62"/>
                    <a:pt x="23" y="56"/>
                    <a:pt x="22" y="59"/>
                  </a:cubicBezTo>
                  <a:cubicBezTo>
                    <a:pt x="18" y="62"/>
                    <a:pt x="17" y="62"/>
                    <a:pt x="14" y="56"/>
                  </a:cubicBezTo>
                  <a:cubicBezTo>
                    <a:pt x="11" y="51"/>
                    <a:pt x="11" y="54"/>
                    <a:pt x="12" y="57"/>
                  </a:cubicBezTo>
                  <a:cubicBezTo>
                    <a:pt x="12" y="60"/>
                    <a:pt x="9" y="60"/>
                    <a:pt x="6" y="60"/>
                  </a:cubicBezTo>
                  <a:cubicBezTo>
                    <a:pt x="3" y="60"/>
                    <a:pt x="5" y="67"/>
                    <a:pt x="6" y="68"/>
                  </a:cubicBezTo>
                  <a:cubicBezTo>
                    <a:pt x="8" y="70"/>
                    <a:pt x="8" y="74"/>
                    <a:pt x="5" y="73"/>
                  </a:cubicBezTo>
                  <a:cubicBezTo>
                    <a:pt x="3" y="71"/>
                    <a:pt x="3" y="71"/>
                    <a:pt x="0" y="74"/>
                  </a:cubicBezTo>
                  <a:cubicBezTo>
                    <a:pt x="5" y="79"/>
                    <a:pt x="5" y="79"/>
                    <a:pt x="6" y="82"/>
                  </a:cubicBezTo>
                  <a:cubicBezTo>
                    <a:pt x="6" y="84"/>
                    <a:pt x="8" y="85"/>
                    <a:pt x="8" y="85"/>
                  </a:cubicBezTo>
                  <a:cubicBezTo>
                    <a:pt x="9" y="82"/>
                    <a:pt x="12" y="81"/>
                    <a:pt x="14" y="81"/>
                  </a:cubicBezTo>
                  <a:cubicBezTo>
                    <a:pt x="14" y="79"/>
                    <a:pt x="15" y="81"/>
                    <a:pt x="17" y="82"/>
                  </a:cubicBezTo>
                  <a:cubicBezTo>
                    <a:pt x="20" y="87"/>
                    <a:pt x="23" y="77"/>
                    <a:pt x="26" y="79"/>
                  </a:cubicBezTo>
                  <a:cubicBezTo>
                    <a:pt x="29" y="81"/>
                    <a:pt x="25" y="84"/>
                    <a:pt x="28" y="84"/>
                  </a:cubicBezTo>
                  <a:cubicBezTo>
                    <a:pt x="32" y="85"/>
                    <a:pt x="35" y="76"/>
                    <a:pt x="37" y="76"/>
                  </a:cubicBezTo>
                  <a:cubicBezTo>
                    <a:pt x="40" y="76"/>
                    <a:pt x="43" y="70"/>
                    <a:pt x="41" y="67"/>
                  </a:cubicBezTo>
                  <a:cubicBezTo>
                    <a:pt x="38" y="60"/>
                    <a:pt x="46" y="48"/>
                    <a:pt x="50" y="47"/>
                  </a:cubicBezTo>
                  <a:cubicBezTo>
                    <a:pt x="55" y="43"/>
                    <a:pt x="52" y="40"/>
                    <a:pt x="55" y="34"/>
                  </a:cubicBezTo>
                  <a:cubicBezTo>
                    <a:pt x="57" y="30"/>
                    <a:pt x="54" y="31"/>
                    <a:pt x="55" y="23"/>
                  </a:cubicBezTo>
                  <a:cubicBezTo>
                    <a:pt x="57" y="16"/>
                    <a:pt x="54" y="17"/>
                    <a:pt x="57" y="11"/>
                  </a:cubicBezTo>
                  <a:cubicBezTo>
                    <a:pt x="61" y="6"/>
                    <a:pt x="61" y="5"/>
                    <a:pt x="61" y="3"/>
                  </a:cubicBezTo>
                  <a:cubicBezTo>
                    <a:pt x="58" y="0"/>
                    <a:pt x="57" y="5"/>
                    <a:pt x="54" y="2"/>
                  </a:cubicBezTo>
                  <a:cubicBezTo>
                    <a:pt x="50" y="0"/>
                    <a:pt x="50" y="3"/>
                    <a:pt x="46" y="2"/>
                  </a:cubicBezTo>
                  <a:cubicBezTo>
                    <a:pt x="41" y="2"/>
                    <a:pt x="44" y="9"/>
                    <a:pt x="41" y="16"/>
                  </a:cubicBezTo>
                  <a:cubicBezTo>
                    <a:pt x="40" y="17"/>
                    <a:pt x="41" y="20"/>
                    <a:pt x="40" y="20"/>
                  </a:cubicBezTo>
                  <a:cubicBezTo>
                    <a:pt x="40" y="22"/>
                    <a:pt x="38" y="19"/>
                    <a:pt x="35" y="17"/>
                  </a:cubicBezTo>
                  <a:cubicBezTo>
                    <a:pt x="32" y="17"/>
                    <a:pt x="29" y="16"/>
                    <a:pt x="29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9" name="Freeform 118"/>
            <p:cNvSpPr>
              <a:spLocks/>
            </p:cNvSpPr>
            <p:nvPr/>
          </p:nvSpPr>
          <p:spPr bwMode="auto">
            <a:xfrm>
              <a:off x="5711431" y="4530889"/>
              <a:ext cx="122413" cy="170849"/>
            </a:xfrm>
            <a:custGeom>
              <a:avLst/>
              <a:gdLst/>
              <a:ahLst/>
              <a:cxnLst>
                <a:cxn ang="0">
                  <a:pos x="22" y="1"/>
                </a:cxn>
                <a:cxn ang="0">
                  <a:pos x="31" y="0"/>
                </a:cxn>
                <a:cxn ang="0">
                  <a:pos x="39" y="1"/>
                </a:cxn>
                <a:cxn ang="0">
                  <a:pos x="37" y="9"/>
                </a:cxn>
                <a:cxn ang="0">
                  <a:pos x="43" y="9"/>
                </a:cxn>
                <a:cxn ang="0">
                  <a:pos x="46" y="15"/>
                </a:cxn>
                <a:cxn ang="0">
                  <a:pos x="43" y="23"/>
                </a:cxn>
                <a:cxn ang="0">
                  <a:pos x="48" y="29"/>
                </a:cxn>
                <a:cxn ang="0">
                  <a:pos x="46" y="42"/>
                </a:cxn>
                <a:cxn ang="0">
                  <a:pos x="45" y="47"/>
                </a:cxn>
                <a:cxn ang="0">
                  <a:pos x="42" y="45"/>
                </a:cxn>
                <a:cxn ang="0">
                  <a:pos x="34" y="42"/>
                </a:cxn>
                <a:cxn ang="0">
                  <a:pos x="32" y="44"/>
                </a:cxn>
                <a:cxn ang="0">
                  <a:pos x="26" y="47"/>
                </a:cxn>
                <a:cxn ang="0">
                  <a:pos x="26" y="54"/>
                </a:cxn>
                <a:cxn ang="0">
                  <a:pos x="25" y="59"/>
                </a:cxn>
                <a:cxn ang="0">
                  <a:pos x="20" y="61"/>
                </a:cxn>
                <a:cxn ang="0">
                  <a:pos x="12" y="50"/>
                </a:cxn>
                <a:cxn ang="0">
                  <a:pos x="6" y="44"/>
                </a:cxn>
                <a:cxn ang="0">
                  <a:pos x="3" y="34"/>
                </a:cxn>
                <a:cxn ang="0">
                  <a:pos x="3" y="29"/>
                </a:cxn>
                <a:cxn ang="0">
                  <a:pos x="6" y="23"/>
                </a:cxn>
                <a:cxn ang="0">
                  <a:pos x="8" y="22"/>
                </a:cxn>
                <a:cxn ang="0">
                  <a:pos x="11" y="20"/>
                </a:cxn>
                <a:cxn ang="0">
                  <a:pos x="6" y="17"/>
                </a:cxn>
                <a:cxn ang="0">
                  <a:pos x="8" y="17"/>
                </a:cxn>
                <a:cxn ang="0">
                  <a:pos x="8" y="12"/>
                </a:cxn>
                <a:cxn ang="0">
                  <a:pos x="22" y="12"/>
                </a:cxn>
                <a:cxn ang="0">
                  <a:pos x="22" y="1"/>
                </a:cxn>
              </a:cxnLst>
              <a:rect l="0" t="0" r="r" b="b"/>
              <a:pathLst>
                <a:path w="48" h="61">
                  <a:moveTo>
                    <a:pt x="22" y="1"/>
                  </a:moveTo>
                  <a:cubicBezTo>
                    <a:pt x="23" y="0"/>
                    <a:pt x="23" y="0"/>
                    <a:pt x="31" y="0"/>
                  </a:cubicBezTo>
                  <a:cubicBezTo>
                    <a:pt x="40" y="0"/>
                    <a:pt x="37" y="0"/>
                    <a:pt x="39" y="1"/>
                  </a:cubicBezTo>
                  <a:cubicBezTo>
                    <a:pt x="39" y="4"/>
                    <a:pt x="35" y="4"/>
                    <a:pt x="37" y="9"/>
                  </a:cubicBezTo>
                  <a:cubicBezTo>
                    <a:pt x="39" y="12"/>
                    <a:pt x="42" y="9"/>
                    <a:pt x="43" y="9"/>
                  </a:cubicBezTo>
                  <a:cubicBezTo>
                    <a:pt x="46" y="9"/>
                    <a:pt x="48" y="12"/>
                    <a:pt x="46" y="15"/>
                  </a:cubicBezTo>
                  <a:cubicBezTo>
                    <a:pt x="45" y="20"/>
                    <a:pt x="45" y="14"/>
                    <a:pt x="43" y="23"/>
                  </a:cubicBezTo>
                  <a:cubicBezTo>
                    <a:pt x="42" y="28"/>
                    <a:pt x="48" y="26"/>
                    <a:pt x="48" y="29"/>
                  </a:cubicBezTo>
                  <a:cubicBezTo>
                    <a:pt x="46" y="33"/>
                    <a:pt x="48" y="39"/>
                    <a:pt x="46" y="42"/>
                  </a:cubicBezTo>
                  <a:cubicBezTo>
                    <a:pt x="45" y="45"/>
                    <a:pt x="48" y="47"/>
                    <a:pt x="45" y="47"/>
                  </a:cubicBezTo>
                  <a:cubicBezTo>
                    <a:pt x="42" y="48"/>
                    <a:pt x="43" y="42"/>
                    <a:pt x="42" y="45"/>
                  </a:cubicBezTo>
                  <a:cubicBezTo>
                    <a:pt x="39" y="48"/>
                    <a:pt x="37" y="48"/>
                    <a:pt x="34" y="42"/>
                  </a:cubicBezTo>
                  <a:cubicBezTo>
                    <a:pt x="31" y="37"/>
                    <a:pt x="31" y="40"/>
                    <a:pt x="32" y="44"/>
                  </a:cubicBezTo>
                  <a:cubicBezTo>
                    <a:pt x="32" y="47"/>
                    <a:pt x="29" y="47"/>
                    <a:pt x="26" y="47"/>
                  </a:cubicBezTo>
                  <a:cubicBezTo>
                    <a:pt x="23" y="47"/>
                    <a:pt x="25" y="53"/>
                    <a:pt x="26" y="54"/>
                  </a:cubicBezTo>
                  <a:cubicBezTo>
                    <a:pt x="28" y="56"/>
                    <a:pt x="28" y="61"/>
                    <a:pt x="25" y="59"/>
                  </a:cubicBezTo>
                  <a:cubicBezTo>
                    <a:pt x="23" y="58"/>
                    <a:pt x="23" y="58"/>
                    <a:pt x="20" y="61"/>
                  </a:cubicBezTo>
                  <a:cubicBezTo>
                    <a:pt x="16" y="56"/>
                    <a:pt x="22" y="59"/>
                    <a:pt x="12" y="50"/>
                  </a:cubicBezTo>
                  <a:cubicBezTo>
                    <a:pt x="9" y="47"/>
                    <a:pt x="8" y="45"/>
                    <a:pt x="6" y="44"/>
                  </a:cubicBezTo>
                  <a:cubicBezTo>
                    <a:pt x="5" y="40"/>
                    <a:pt x="5" y="39"/>
                    <a:pt x="3" y="34"/>
                  </a:cubicBezTo>
                  <a:cubicBezTo>
                    <a:pt x="0" y="29"/>
                    <a:pt x="0" y="26"/>
                    <a:pt x="3" y="29"/>
                  </a:cubicBezTo>
                  <a:cubicBezTo>
                    <a:pt x="5" y="31"/>
                    <a:pt x="6" y="26"/>
                    <a:pt x="6" y="23"/>
                  </a:cubicBezTo>
                  <a:cubicBezTo>
                    <a:pt x="6" y="18"/>
                    <a:pt x="6" y="18"/>
                    <a:pt x="8" y="22"/>
                  </a:cubicBezTo>
                  <a:cubicBezTo>
                    <a:pt x="9" y="23"/>
                    <a:pt x="14" y="22"/>
                    <a:pt x="11" y="20"/>
                  </a:cubicBezTo>
                  <a:cubicBezTo>
                    <a:pt x="8" y="20"/>
                    <a:pt x="6" y="18"/>
                    <a:pt x="6" y="17"/>
                  </a:cubicBezTo>
                  <a:cubicBezTo>
                    <a:pt x="8" y="15"/>
                    <a:pt x="8" y="17"/>
                    <a:pt x="8" y="17"/>
                  </a:cubicBezTo>
                  <a:cubicBezTo>
                    <a:pt x="9" y="15"/>
                    <a:pt x="8" y="14"/>
                    <a:pt x="8" y="12"/>
                  </a:cubicBezTo>
                  <a:cubicBezTo>
                    <a:pt x="16" y="12"/>
                    <a:pt x="17" y="14"/>
                    <a:pt x="22" y="12"/>
                  </a:cubicBezTo>
                  <a:cubicBezTo>
                    <a:pt x="22" y="1"/>
                    <a:pt x="22" y="1"/>
                    <a:pt x="22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0" name="Freeform 119"/>
            <p:cNvSpPr>
              <a:spLocks/>
            </p:cNvSpPr>
            <p:nvPr/>
          </p:nvSpPr>
          <p:spPr bwMode="auto">
            <a:xfrm>
              <a:off x="5727226" y="4530889"/>
              <a:ext cx="40804" cy="39093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16" y="1"/>
                </a:cxn>
                <a:cxn ang="0">
                  <a:pos x="16" y="13"/>
                </a:cxn>
                <a:cxn ang="0">
                  <a:pos x="2" y="13"/>
                </a:cxn>
                <a:cxn ang="0">
                  <a:pos x="0" y="11"/>
                </a:cxn>
                <a:cxn ang="0">
                  <a:pos x="3" y="0"/>
                </a:cxn>
              </a:cxnLst>
              <a:rect l="0" t="0" r="r" b="b"/>
              <a:pathLst>
                <a:path w="16" h="14">
                  <a:moveTo>
                    <a:pt x="3" y="0"/>
                  </a:moveTo>
                  <a:cubicBezTo>
                    <a:pt x="6" y="3"/>
                    <a:pt x="8" y="1"/>
                    <a:pt x="16" y="1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1" y="14"/>
                    <a:pt x="9" y="13"/>
                    <a:pt x="2" y="13"/>
                  </a:cubicBezTo>
                  <a:cubicBezTo>
                    <a:pt x="3" y="11"/>
                    <a:pt x="0" y="14"/>
                    <a:pt x="0" y="11"/>
                  </a:cubicBezTo>
                  <a:cubicBezTo>
                    <a:pt x="0" y="8"/>
                    <a:pt x="5" y="8"/>
                    <a:pt x="3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1" name="Freeform 120"/>
            <p:cNvSpPr>
              <a:spLocks/>
            </p:cNvSpPr>
            <p:nvPr/>
          </p:nvSpPr>
          <p:spPr bwMode="auto">
            <a:xfrm>
              <a:off x="5704850" y="4491796"/>
              <a:ext cx="14479" cy="15926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3" y="2"/>
                </a:cxn>
                <a:cxn ang="0">
                  <a:pos x="5" y="3"/>
                </a:cxn>
                <a:cxn ang="0">
                  <a:pos x="3" y="6"/>
                </a:cxn>
              </a:cxnLst>
              <a:rect l="0" t="0" r="r" b="b"/>
              <a:pathLst>
                <a:path w="6" h="6">
                  <a:moveTo>
                    <a:pt x="3" y="6"/>
                  </a:moveTo>
                  <a:cubicBezTo>
                    <a:pt x="0" y="5"/>
                    <a:pt x="3" y="3"/>
                    <a:pt x="3" y="2"/>
                  </a:cubicBezTo>
                  <a:cubicBezTo>
                    <a:pt x="5" y="0"/>
                    <a:pt x="6" y="0"/>
                    <a:pt x="5" y="3"/>
                  </a:cubicBezTo>
                  <a:cubicBezTo>
                    <a:pt x="3" y="6"/>
                    <a:pt x="3" y="6"/>
                    <a:pt x="3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2" name="Freeform 121"/>
            <p:cNvSpPr>
              <a:spLocks/>
            </p:cNvSpPr>
            <p:nvPr/>
          </p:nvSpPr>
          <p:spPr bwMode="auto">
            <a:xfrm>
              <a:off x="5665362" y="4584459"/>
              <a:ext cx="13163" cy="10135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2" y="4"/>
                </a:cxn>
                <a:cxn ang="0">
                  <a:pos x="3" y="0"/>
                </a:cxn>
              </a:cxnLst>
              <a:rect l="0" t="0" r="r" b="b"/>
              <a:pathLst>
                <a:path w="5" h="4">
                  <a:moveTo>
                    <a:pt x="3" y="0"/>
                  </a:moveTo>
                  <a:cubicBezTo>
                    <a:pt x="5" y="1"/>
                    <a:pt x="3" y="4"/>
                    <a:pt x="2" y="4"/>
                  </a:cubicBezTo>
                  <a:cubicBezTo>
                    <a:pt x="0" y="3"/>
                    <a:pt x="2" y="0"/>
                    <a:pt x="3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3" name="Freeform 129"/>
            <p:cNvSpPr>
              <a:spLocks/>
            </p:cNvSpPr>
            <p:nvPr/>
          </p:nvSpPr>
          <p:spPr bwMode="auto">
            <a:xfrm>
              <a:off x="5273113" y="3575293"/>
              <a:ext cx="250092" cy="244690"/>
            </a:xfrm>
            <a:custGeom>
              <a:avLst/>
              <a:gdLst/>
              <a:ahLst/>
              <a:cxnLst>
                <a:cxn ang="0">
                  <a:pos x="35" y="87"/>
                </a:cxn>
                <a:cxn ang="0">
                  <a:pos x="0" y="87"/>
                </a:cxn>
                <a:cxn ang="0">
                  <a:pos x="16" y="79"/>
                </a:cxn>
                <a:cxn ang="0">
                  <a:pos x="26" y="65"/>
                </a:cxn>
                <a:cxn ang="0">
                  <a:pos x="29" y="43"/>
                </a:cxn>
                <a:cxn ang="0">
                  <a:pos x="32" y="34"/>
                </a:cxn>
                <a:cxn ang="0">
                  <a:pos x="45" y="24"/>
                </a:cxn>
                <a:cxn ang="0">
                  <a:pos x="60" y="1"/>
                </a:cxn>
                <a:cxn ang="0">
                  <a:pos x="66" y="7"/>
                </a:cxn>
                <a:cxn ang="0">
                  <a:pos x="76" y="7"/>
                </a:cxn>
                <a:cxn ang="0">
                  <a:pos x="81" y="6"/>
                </a:cxn>
                <a:cxn ang="0">
                  <a:pos x="87" y="9"/>
                </a:cxn>
                <a:cxn ang="0">
                  <a:pos x="95" y="35"/>
                </a:cxn>
                <a:cxn ang="0">
                  <a:pos x="95" y="40"/>
                </a:cxn>
                <a:cxn ang="0">
                  <a:pos x="81" y="43"/>
                </a:cxn>
                <a:cxn ang="0">
                  <a:pos x="73" y="48"/>
                </a:cxn>
                <a:cxn ang="0">
                  <a:pos x="72" y="55"/>
                </a:cxn>
                <a:cxn ang="0">
                  <a:pos x="63" y="62"/>
                </a:cxn>
                <a:cxn ang="0">
                  <a:pos x="43" y="71"/>
                </a:cxn>
                <a:cxn ang="0">
                  <a:pos x="35" y="76"/>
                </a:cxn>
                <a:cxn ang="0">
                  <a:pos x="35" y="87"/>
                </a:cxn>
              </a:cxnLst>
              <a:rect l="0" t="0" r="r" b="b"/>
              <a:pathLst>
                <a:path w="98" h="87">
                  <a:moveTo>
                    <a:pt x="35" y="87"/>
                  </a:moveTo>
                  <a:cubicBezTo>
                    <a:pt x="0" y="87"/>
                    <a:pt x="0" y="87"/>
                    <a:pt x="0" y="87"/>
                  </a:cubicBezTo>
                  <a:cubicBezTo>
                    <a:pt x="2" y="80"/>
                    <a:pt x="10" y="85"/>
                    <a:pt x="16" y="79"/>
                  </a:cubicBezTo>
                  <a:cubicBezTo>
                    <a:pt x="20" y="71"/>
                    <a:pt x="20" y="79"/>
                    <a:pt x="26" y="65"/>
                  </a:cubicBezTo>
                  <a:cubicBezTo>
                    <a:pt x="29" y="59"/>
                    <a:pt x="23" y="51"/>
                    <a:pt x="29" y="43"/>
                  </a:cubicBezTo>
                  <a:cubicBezTo>
                    <a:pt x="34" y="37"/>
                    <a:pt x="28" y="38"/>
                    <a:pt x="32" y="34"/>
                  </a:cubicBezTo>
                  <a:cubicBezTo>
                    <a:pt x="37" y="29"/>
                    <a:pt x="32" y="29"/>
                    <a:pt x="45" y="24"/>
                  </a:cubicBezTo>
                  <a:cubicBezTo>
                    <a:pt x="57" y="20"/>
                    <a:pt x="54" y="3"/>
                    <a:pt x="60" y="1"/>
                  </a:cubicBezTo>
                  <a:cubicBezTo>
                    <a:pt x="64" y="0"/>
                    <a:pt x="60" y="4"/>
                    <a:pt x="66" y="7"/>
                  </a:cubicBezTo>
                  <a:cubicBezTo>
                    <a:pt x="72" y="10"/>
                    <a:pt x="73" y="6"/>
                    <a:pt x="76" y="7"/>
                  </a:cubicBezTo>
                  <a:cubicBezTo>
                    <a:pt x="80" y="9"/>
                    <a:pt x="81" y="3"/>
                    <a:pt x="81" y="6"/>
                  </a:cubicBezTo>
                  <a:cubicBezTo>
                    <a:pt x="81" y="10"/>
                    <a:pt x="86" y="9"/>
                    <a:pt x="87" y="9"/>
                  </a:cubicBezTo>
                  <a:cubicBezTo>
                    <a:pt x="93" y="12"/>
                    <a:pt x="89" y="32"/>
                    <a:pt x="95" y="35"/>
                  </a:cubicBezTo>
                  <a:cubicBezTo>
                    <a:pt x="98" y="37"/>
                    <a:pt x="95" y="37"/>
                    <a:pt x="95" y="40"/>
                  </a:cubicBezTo>
                  <a:cubicBezTo>
                    <a:pt x="95" y="43"/>
                    <a:pt x="84" y="38"/>
                    <a:pt x="81" y="43"/>
                  </a:cubicBezTo>
                  <a:cubicBezTo>
                    <a:pt x="78" y="46"/>
                    <a:pt x="72" y="43"/>
                    <a:pt x="73" y="48"/>
                  </a:cubicBezTo>
                  <a:cubicBezTo>
                    <a:pt x="76" y="52"/>
                    <a:pt x="78" y="52"/>
                    <a:pt x="72" y="55"/>
                  </a:cubicBezTo>
                  <a:cubicBezTo>
                    <a:pt x="66" y="57"/>
                    <a:pt x="66" y="57"/>
                    <a:pt x="63" y="62"/>
                  </a:cubicBezTo>
                  <a:cubicBezTo>
                    <a:pt x="63" y="63"/>
                    <a:pt x="45" y="68"/>
                    <a:pt x="43" y="71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5" y="87"/>
                    <a:pt x="35" y="87"/>
                    <a:pt x="35" y="8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4" name="Freeform 159"/>
            <p:cNvSpPr>
              <a:spLocks/>
            </p:cNvSpPr>
            <p:nvPr/>
          </p:nvSpPr>
          <p:spPr bwMode="auto">
            <a:xfrm>
              <a:off x="6079987" y="3177130"/>
              <a:ext cx="73711" cy="98456"/>
            </a:xfrm>
            <a:custGeom>
              <a:avLst/>
              <a:gdLst/>
              <a:ahLst/>
              <a:cxnLst>
                <a:cxn ang="0">
                  <a:pos x="12" y="35"/>
                </a:cxn>
                <a:cxn ang="0">
                  <a:pos x="12" y="31"/>
                </a:cxn>
                <a:cxn ang="0">
                  <a:pos x="10" y="18"/>
                </a:cxn>
                <a:cxn ang="0">
                  <a:pos x="7" y="12"/>
                </a:cxn>
                <a:cxn ang="0">
                  <a:pos x="0" y="3"/>
                </a:cxn>
                <a:cxn ang="0">
                  <a:pos x="6" y="1"/>
                </a:cxn>
                <a:cxn ang="0">
                  <a:pos x="15" y="5"/>
                </a:cxn>
                <a:cxn ang="0">
                  <a:pos x="19" y="6"/>
                </a:cxn>
                <a:cxn ang="0">
                  <a:pos x="19" y="9"/>
                </a:cxn>
                <a:cxn ang="0">
                  <a:pos x="22" y="14"/>
                </a:cxn>
                <a:cxn ang="0">
                  <a:pos x="24" y="18"/>
                </a:cxn>
                <a:cxn ang="0">
                  <a:pos x="25" y="25"/>
                </a:cxn>
                <a:cxn ang="0">
                  <a:pos x="25" y="25"/>
                </a:cxn>
                <a:cxn ang="0">
                  <a:pos x="19" y="25"/>
                </a:cxn>
                <a:cxn ang="0">
                  <a:pos x="18" y="26"/>
                </a:cxn>
                <a:cxn ang="0">
                  <a:pos x="15" y="34"/>
                </a:cxn>
                <a:cxn ang="0">
                  <a:pos x="12" y="35"/>
                </a:cxn>
              </a:cxnLst>
              <a:rect l="0" t="0" r="r" b="b"/>
              <a:pathLst>
                <a:path w="29" h="35">
                  <a:moveTo>
                    <a:pt x="12" y="35"/>
                  </a:moveTo>
                  <a:cubicBezTo>
                    <a:pt x="10" y="34"/>
                    <a:pt x="12" y="34"/>
                    <a:pt x="12" y="31"/>
                  </a:cubicBezTo>
                  <a:cubicBezTo>
                    <a:pt x="10" y="26"/>
                    <a:pt x="15" y="23"/>
                    <a:pt x="10" y="18"/>
                  </a:cubicBezTo>
                  <a:cubicBezTo>
                    <a:pt x="6" y="12"/>
                    <a:pt x="7" y="14"/>
                    <a:pt x="7" y="12"/>
                  </a:cubicBezTo>
                  <a:cubicBezTo>
                    <a:pt x="4" y="11"/>
                    <a:pt x="3" y="1"/>
                    <a:pt x="0" y="3"/>
                  </a:cubicBezTo>
                  <a:cubicBezTo>
                    <a:pt x="1" y="1"/>
                    <a:pt x="4" y="1"/>
                    <a:pt x="6" y="1"/>
                  </a:cubicBezTo>
                  <a:cubicBezTo>
                    <a:pt x="7" y="0"/>
                    <a:pt x="13" y="5"/>
                    <a:pt x="15" y="5"/>
                  </a:cubicBezTo>
                  <a:cubicBezTo>
                    <a:pt x="16" y="3"/>
                    <a:pt x="16" y="8"/>
                    <a:pt x="19" y="6"/>
                  </a:cubicBezTo>
                  <a:cubicBezTo>
                    <a:pt x="21" y="6"/>
                    <a:pt x="21" y="8"/>
                    <a:pt x="19" y="9"/>
                  </a:cubicBezTo>
                  <a:cubicBezTo>
                    <a:pt x="18" y="12"/>
                    <a:pt x="21" y="14"/>
                    <a:pt x="22" y="14"/>
                  </a:cubicBezTo>
                  <a:cubicBezTo>
                    <a:pt x="24" y="14"/>
                    <a:pt x="21" y="17"/>
                    <a:pt x="24" y="18"/>
                  </a:cubicBezTo>
                  <a:cubicBezTo>
                    <a:pt x="27" y="20"/>
                    <a:pt x="24" y="23"/>
                    <a:pt x="25" y="25"/>
                  </a:cubicBezTo>
                  <a:cubicBezTo>
                    <a:pt x="29" y="25"/>
                    <a:pt x="25" y="26"/>
                    <a:pt x="25" y="25"/>
                  </a:cubicBezTo>
                  <a:cubicBezTo>
                    <a:pt x="24" y="25"/>
                    <a:pt x="21" y="26"/>
                    <a:pt x="19" y="25"/>
                  </a:cubicBezTo>
                  <a:cubicBezTo>
                    <a:pt x="18" y="23"/>
                    <a:pt x="16" y="25"/>
                    <a:pt x="18" y="26"/>
                  </a:cubicBezTo>
                  <a:cubicBezTo>
                    <a:pt x="19" y="29"/>
                    <a:pt x="13" y="32"/>
                    <a:pt x="15" y="34"/>
                  </a:cubicBezTo>
                  <a:cubicBezTo>
                    <a:pt x="15" y="35"/>
                    <a:pt x="13" y="35"/>
                    <a:pt x="12" y="3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5" name="Freeform 160"/>
            <p:cNvSpPr>
              <a:spLocks/>
            </p:cNvSpPr>
            <p:nvPr/>
          </p:nvSpPr>
          <p:spPr bwMode="auto">
            <a:xfrm>
              <a:off x="5952308" y="3185816"/>
              <a:ext cx="188227" cy="150579"/>
            </a:xfrm>
            <a:custGeom>
              <a:avLst/>
              <a:gdLst/>
              <a:ahLst/>
              <a:cxnLst>
                <a:cxn ang="0">
                  <a:pos x="21" y="3"/>
                </a:cxn>
                <a:cxn ang="0">
                  <a:pos x="15" y="6"/>
                </a:cxn>
                <a:cxn ang="0">
                  <a:pos x="12" y="11"/>
                </a:cxn>
                <a:cxn ang="0">
                  <a:pos x="10" y="15"/>
                </a:cxn>
                <a:cxn ang="0">
                  <a:pos x="6" y="23"/>
                </a:cxn>
                <a:cxn ang="0">
                  <a:pos x="3" y="23"/>
                </a:cxn>
                <a:cxn ang="0">
                  <a:pos x="3" y="23"/>
                </a:cxn>
                <a:cxn ang="0">
                  <a:pos x="0" y="25"/>
                </a:cxn>
                <a:cxn ang="0">
                  <a:pos x="3" y="30"/>
                </a:cxn>
                <a:cxn ang="0">
                  <a:pos x="9" y="36"/>
                </a:cxn>
                <a:cxn ang="0">
                  <a:pos x="13" y="42"/>
                </a:cxn>
                <a:cxn ang="0">
                  <a:pos x="16" y="40"/>
                </a:cxn>
                <a:cxn ang="0">
                  <a:pos x="18" y="47"/>
                </a:cxn>
                <a:cxn ang="0">
                  <a:pos x="19" y="51"/>
                </a:cxn>
                <a:cxn ang="0">
                  <a:pos x="25" y="51"/>
                </a:cxn>
                <a:cxn ang="0">
                  <a:pos x="33" y="51"/>
                </a:cxn>
                <a:cxn ang="0">
                  <a:pos x="42" y="51"/>
                </a:cxn>
                <a:cxn ang="0">
                  <a:pos x="54" y="50"/>
                </a:cxn>
                <a:cxn ang="0">
                  <a:pos x="60" y="51"/>
                </a:cxn>
                <a:cxn ang="0">
                  <a:pos x="65" y="53"/>
                </a:cxn>
                <a:cxn ang="0">
                  <a:pos x="71" y="40"/>
                </a:cxn>
                <a:cxn ang="0">
                  <a:pos x="74" y="36"/>
                </a:cxn>
                <a:cxn ang="0">
                  <a:pos x="69" y="34"/>
                </a:cxn>
                <a:cxn ang="0">
                  <a:pos x="66" y="36"/>
                </a:cxn>
                <a:cxn ang="0">
                  <a:pos x="62" y="33"/>
                </a:cxn>
                <a:cxn ang="0">
                  <a:pos x="62" y="28"/>
                </a:cxn>
                <a:cxn ang="0">
                  <a:pos x="60" y="15"/>
                </a:cxn>
                <a:cxn ang="0">
                  <a:pos x="57" y="9"/>
                </a:cxn>
                <a:cxn ang="0">
                  <a:pos x="50" y="0"/>
                </a:cxn>
                <a:cxn ang="0">
                  <a:pos x="44" y="5"/>
                </a:cxn>
                <a:cxn ang="0">
                  <a:pos x="38" y="6"/>
                </a:cxn>
                <a:cxn ang="0">
                  <a:pos x="33" y="3"/>
                </a:cxn>
                <a:cxn ang="0">
                  <a:pos x="27" y="3"/>
                </a:cxn>
                <a:cxn ang="0">
                  <a:pos x="22" y="3"/>
                </a:cxn>
                <a:cxn ang="0">
                  <a:pos x="21" y="3"/>
                </a:cxn>
              </a:cxnLst>
              <a:rect l="0" t="0" r="r" b="b"/>
              <a:pathLst>
                <a:path w="74" h="54">
                  <a:moveTo>
                    <a:pt x="21" y="3"/>
                  </a:moveTo>
                  <a:cubicBezTo>
                    <a:pt x="18" y="8"/>
                    <a:pt x="16" y="5"/>
                    <a:pt x="15" y="6"/>
                  </a:cubicBezTo>
                  <a:cubicBezTo>
                    <a:pt x="13" y="8"/>
                    <a:pt x="15" y="8"/>
                    <a:pt x="12" y="11"/>
                  </a:cubicBezTo>
                  <a:cubicBezTo>
                    <a:pt x="9" y="14"/>
                    <a:pt x="12" y="14"/>
                    <a:pt x="10" y="15"/>
                  </a:cubicBezTo>
                  <a:cubicBezTo>
                    <a:pt x="9" y="19"/>
                    <a:pt x="6" y="23"/>
                    <a:pt x="6" y="23"/>
                  </a:cubicBezTo>
                  <a:cubicBezTo>
                    <a:pt x="4" y="23"/>
                    <a:pt x="4" y="22"/>
                    <a:pt x="3" y="23"/>
                  </a:cubicBezTo>
                  <a:cubicBezTo>
                    <a:pt x="3" y="23"/>
                    <a:pt x="4" y="23"/>
                    <a:pt x="3" y="23"/>
                  </a:cubicBezTo>
                  <a:cubicBezTo>
                    <a:pt x="1" y="23"/>
                    <a:pt x="0" y="23"/>
                    <a:pt x="0" y="25"/>
                  </a:cubicBezTo>
                  <a:cubicBezTo>
                    <a:pt x="1" y="28"/>
                    <a:pt x="4" y="28"/>
                    <a:pt x="3" y="30"/>
                  </a:cubicBezTo>
                  <a:cubicBezTo>
                    <a:pt x="3" y="34"/>
                    <a:pt x="10" y="34"/>
                    <a:pt x="9" y="36"/>
                  </a:cubicBezTo>
                  <a:cubicBezTo>
                    <a:pt x="7" y="39"/>
                    <a:pt x="9" y="42"/>
                    <a:pt x="13" y="42"/>
                  </a:cubicBezTo>
                  <a:cubicBezTo>
                    <a:pt x="16" y="44"/>
                    <a:pt x="15" y="40"/>
                    <a:pt x="16" y="40"/>
                  </a:cubicBezTo>
                  <a:cubicBezTo>
                    <a:pt x="22" y="45"/>
                    <a:pt x="13" y="42"/>
                    <a:pt x="18" y="47"/>
                  </a:cubicBezTo>
                  <a:cubicBezTo>
                    <a:pt x="24" y="50"/>
                    <a:pt x="18" y="50"/>
                    <a:pt x="19" y="51"/>
                  </a:cubicBezTo>
                  <a:cubicBezTo>
                    <a:pt x="21" y="53"/>
                    <a:pt x="22" y="50"/>
                    <a:pt x="25" y="51"/>
                  </a:cubicBezTo>
                  <a:cubicBezTo>
                    <a:pt x="30" y="54"/>
                    <a:pt x="30" y="51"/>
                    <a:pt x="33" y="51"/>
                  </a:cubicBezTo>
                  <a:cubicBezTo>
                    <a:pt x="36" y="53"/>
                    <a:pt x="39" y="54"/>
                    <a:pt x="42" y="51"/>
                  </a:cubicBezTo>
                  <a:cubicBezTo>
                    <a:pt x="45" y="50"/>
                    <a:pt x="53" y="47"/>
                    <a:pt x="54" y="50"/>
                  </a:cubicBezTo>
                  <a:cubicBezTo>
                    <a:pt x="56" y="51"/>
                    <a:pt x="57" y="48"/>
                    <a:pt x="60" y="51"/>
                  </a:cubicBezTo>
                  <a:cubicBezTo>
                    <a:pt x="60" y="53"/>
                    <a:pt x="63" y="53"/>
                    <a:pt x="65" y="53"/>
                  </a:cubicBezTo>
                  <a:cubicBezTo>
                    <a:pt x="65" y="45"/>
                    <a:pt x="66" y="42"/>
                    <a:pt x="71" y="40"/>
                  </a:cubicBezTo>
                  <a:cubicBezTo>
                    <a:pt x="74" y="40"/>
                    <a:pt x="74" y="39"/>
                    <a:pt x="74" y="36"/>
                  </a:cubicBezTo>
                  <a:cubicBezTo>
                    <a:pt x="73" y="33"/>
                    <a:pt x="69" y="34"/>
                    <a:pt x="69" y="34"/>
                  </a:cubicBezTo>
                  <a:cubicBezTo>
                    <a:pt x="68" y="36"/>
                    <a:pt x="66" y="34"/>
                    <a:pt x="66" y="36"/>
                  </a:cubicBezTo>
                  <a:cubicBezTo>
                    <a:pt x="65" y="37"/>
                    <a:pt x="63" y="36"/>
                    <a:pt x="62" y="33"/>
                  </a:cubicBezTo>
                  <a:cubicBezTo>
                    <a:pt x="60" y="31"/>
                    <a:pt x="62" y="33"/>
                    <a:pt x="62" y="28"/>
                  </a:cubicBezTo>
                  <a:cubicBezTo>
                    <a:pt x="60" y="25"/>
                    <a:pt x="65" y="20"/>
                    <a:pt x="60" y="15"/>
                  </a:cubicBezTo>
                  <a:cubicBezTo>
                    <a:pt x="56" y="11"/>
                    <a:pt x="59" y="11"/>
                    <a:pt x="57" y="9"/>
                  </a:cubicBezTo>
                  <a:cubicBezTo>
                    <a:pt x="54" y="8"/>
                    <a:pt x="54" y="0"/>
                    <a:pt x="50" y="0"/>
                  </a:cubicBezTo>
                  <a:cubicBezTo>
                    <a:pt x="47" y="1"/>
                    <a:pt x="48" y="3"/>
                    <a:pt x="44" y="5"/>
                  </a:cubicBezTo>
                  <a:cubicBezTo>
                    <a:pt x="39" y="5"/>
                    <a:pt x="39" y="5"/>
                    <a:pt x="38" y="6"/>
                  </a:cubicBezTo>
                  <a:cubicBezTo>
                    <a:pt x="36" y="8"/>
                    <a:pt x="35" y="3"/>
                    <a:pt x="33" y="3"/>
                  </a:cubicBezTo>
                  <a:cubicBezTo>
                    <a:pt x="30" y="5"/>
                    <a:pt x="30" y="3"/>
                    <a:pt x="27" y="3"/>
                  </a:cubicBezTo>
                  <a:cubicBezTo>
                    <a:pt x="24" y="3"/>
                    <a:pt x="22" y="1"/>
                    <a:pt x="22" y="3"/>
                  </a:cubicBezTo>
                  <a:cubicBezTo>
                    <a:pt x="21" y="5"/>
                    <a:pt x="21" y="3"/>
                    <a:pt x="21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6" name="Freeform 161"/>
            <p:cNvSpPr>
              <a:spLocks/>
            </p:cNvSpPr>
            <p:nvPr/>
          </p:nvSpPr>
          <p:spPr bwMode="auto">
            <a:xfrm>
              <a:off x="6066824" y="3381278"/>
              <a:ext cx="63181" cy="70946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11"/>
                </a:cxn>
                <a:cxn ang="0">
                  <a:pos x="0" y="16"/>
                </a:cxn>
                <a:cxn ang="0">
                  <a:pos x="5" y="17"/>
                </a:cxn>
                <a:cxn ang="0">
                  <a:pos x="2" y="22"/>
                </a:cxn>
                <a:cxn ang="0">
                  <a:pos x="5" y="20"/>
                </a:cxn>
                <a:cxn ang="0">
                  <a:pos x="11" y="16"/>
                </a:cxn>
                <a:cxn ang="0">
                  <a:pos x="15" y="14"/>
                </a:cxn>
                <a:cxn ang="0">
                  <a:pos x="23" y="12"/>
                </a:cxn>
                <a:cxn ang="0">
                  <a:pos x="20" y="9"/>
                </a:cxn>
                <a:cxn ang="0">
                  <a:pos x="15" y="2"/>
                </a:cxn>
                <a:cxn ang="0">
                  <a:pos x="12" y="3"/>
                </a:cxn>
                <a:cxn ang="0">
                  <a:pos x="8" y="2"/>
                </a:cxn>
                <a:cxn ang="0">
                  <a:pos x="5" y="3"/>
                </a:cxn>
                <a:cxn ang="0">
                  <a:pos x="2" y="5"/>
                </a:cxn>
              </a:cxnLst>
              <a:rect l="0" t="0" r="r" b="b"/>
              <a:pathLst>
                <a:path w="25" h="25">
                  <a:moveTo>
                    <a:pt x="2" y="5"/>
                  </a:moveTo>
                  <a:cubicBezTo>
                    <a:pt x="5" y="8"/>
                    <a:pt x="5" y="9"/>
                    <a:pt x="3" y="11"/>
                  </a:cubicBezTo>
                  <a:cubicBezTo>
                    <a:pt x="2" y="11"/>
                    <a:pt x="3" y="14"/>
                    <a:pt x="0" y="16"/>
                  </a:cubicBezTo>
                  <a:cubicBezTo>
                    <a:pt x="0" y="20"/>
                    <a:pt x="9" y="16"/>
                    <a:pt x="5" y="17"/>
                  </a:cubicBezTo>
                  <a:cubicBezTo>
                    <a:pt x="2" y="20"/>
                    <a:pt x="2" y="19"/>
                    <a:pt x="2" y="22"/>
                  </a:cubicBezTo>
                  <a:cubicBezTo>
                    <a:pt x="0" y="25"/>
                    <a:pt x="2" y="22"/>
                    <a:pt x="5" y="20"/>
                  </a:cubicBezTo>
                  <a:cubicBezTo>
                    <a:pt x="8" y="17"/>
                    <a:pt x="9" y="19"/>
                    <a:pt x="11" y="16"/>
                  </a:cubicBezTo>
                  <a:cubicBezTo>
                    <a:pt x="14" y="9"/>
                    <a:pt x="14" y="16"/>
                    <a:pt x="15" y="14"/>
                  </a:cubicBezTo>
                  <a:cubicBezTo>
                    <a:pt x="18" y="11"/>
                    <a:pt x="21" y="16"/>
                    <a:pt x="23" y="12"/>
                  </a:cubicBezTo>
                  <a:cubicBezTo>
                    <a:pt x="25" y="9"/>
                    <a:pt x="23" y="11"/>
                    <a:pt x="20" y="9"/>
                  </a:cubicBezTo>
                  <a:cubicBezTo>
                    <a:pt x="15" y="6"/>
                    <a:pt x="15" y="5"/>
                    <a:pt x="15" y="2"/>
                  </a:cubicBezTo>
                  <a:cubicBezTo>
                    <a:pt x="14" y="2"/>
                    <a:pt x="14" y="3"/>
                    <a:pt x="12" y="3"/>
                  </a:cubicBezTo>
                  <a:cubicBezTo>
                    <a:pt x="11" y="3"/>
                    <a:pt x="9" y="0"/>
                    <a:pt x="8" y="2"/>
                  </a:cubicBezTo>
                  <a:cubicBezTo>
                    <a:pt x="6" y="3"/>
                    <a:pt x="5" y="0"/>
                    <a:pt x="5" y="3"/>
                  </a:cubicBezTo>
                  <a:cubicBezTo>
                    <a:pt x="3" y="5"/>
                    <a:pt x="2" y="3"/>
                    <a:pt x="2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7" name="Freeform 162"/>
            <p:cNvSpPr>
              <a:spLocks/>
            </p:cNvSpPr>
            <p:nvPr/>
          </p:nvSpPr>
          <p:spPr bwMode="auto">
            <a:xfrm>
              <a:off x="6012857" y="2789100"/>
              <a:ext cx="102669" cy="81082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1" y="15"/>
                </a:cxn>
                <a:cxn ang="0">
                  <a:pos x="1" y="9"/>
                </a:cxn>
                <a:cxn ang="0">
                  <a:pos x="4" y="4"/>
                </a:cxn>
                <a:cxn ang="0">
                  <a:pos x="13" y="3"/>
                </a:cxn>
                <a:cxn ang="0">
                  <a:pos x="18" y="1"/>
                </a:cxn>
                <a:cxn ang="0">
                  <a:pos x="27" y="3"/>
                </a:cxn>
                <a:cxn ang="0">
                  <a:pos x="36" y="3"/>
                </a:cxn>
                <a:cxn ang="0">
                  <a:pos x="35" y="8"/>
                </a:cxn>
                <a:cxn ang="0">
                  <a:pos x="32" y="15"/>
                </a:cxn>
                <a:cxn ang="0">
                  <a:pos x="33" y="22"/>
                </a:cxn>
                <a:cxn ang="0">
                  <a:pos x="32" y="28"/>
                </a:cxn>
                <a:cxn ang="0">
                  <a:pos x="26" y="28"/>
                </a:cxn>
                <a:cxn ang="0">
                  <a:pos x="20" y="25"/>
                </a:cxn>
                <a:cxn ang="0">
                  <a:pos x="15" y="22"/>
                </a:cxn>
                <a:cxn ang="0">
                  <a:pos x="7" y="25"/>
                </a:cxn>
                <a:cxn ang="0">
                  <a:pos x="7" y="18"/>
                </a:cxn>
              </a:cxnLst>
              <a:rect l="0" t="0" r="r" b="b"/>
              <a:pathLst>
                <a:path w="40" h="29">
                  <a:moveTo>
                    <a:pt x="7" y="18"/>
                  </a:moveTo>
                  <a:cubicBezTo>
                    <a:pt x="3" y="20"/>
                    <a:pt x="3" y="17"/>
                    <a:pt x="1" y="15"/>
                  </a:cubicBezTo>
                  <a:cubicBezTo>
                    <a:pt x="0" y="12"/>
                    <a:pt x="0" y="12"/>
                    <a:pt x="1" y="9"/>
                  </a:cubicBezTo>
                  <a:cubicBezTo>
                    <a:pt x="1" y="6"/>
                    <a:pt x="4" y="8"/>
                    <a:pt x="4" y="4"/>
                  </a:cubicBezTo>
                  <a:cubicBezTo>
                    <a:pt x="6" y="3"/>
                    <a:pt x="10" y="3"/>
                    <a:pt x="13" y="3"/>
                  </a:cubicBezTo>
                  <a:cubicBezTo>
                    <a:pt x="18" y="3"/>
                    <a:pt x="13" y="0"/>
                    <a:pt x="18" y="1"/>
                  </a:cubicBezTo>
                  <a:cubicBezTo>
                    <a:pt x="23" y="3"/>
                    <a:pt x="26" y="1"/>
                    <a:pt x="27" y="3"/>
                  </a:cubicBezTo>
                  <a:cubicBezTo>
                    <a:pt x="30" y="4"/>
                    <a:pt x="33" y="4"/>
                    <a:pt x="36" y="3"/>
                  </a:cubicBezTo>
                  <a:cubicBezTo>
                    <a:pt x="40" y="6"/>
                    <a:pt x="35" y="4"/>
                    <a:pt x="35" y="8"/>
                  </a:cubicBezTo>
                  <a:cubicBezTo>
                    <a:pt x="35" y="12"/>
                    <a:pt x="30" y="9"/>
                    <a:pt x="32" y="15"/>
                  </a:cubicBezTo>
                  <a:cubicBezTo>
                    <a:pt x="35" y="20"/>
                    <a:pt x="30" y="17"/>
                    <a:pt x="33" y="22"/>
                  </a:cubicBezTo>
                  <a:cubicBezTo>
                    <a:pt x="36" y="26"/>
                    <a:pt x="33" y="23"/>
                    <a:pt x="32" y="28"/>
                  </a:cubicBezTo>
                  <a:cubicBezTo>
                    <a:pt x="29" y="29"/>
                    <a:pt x="30" y="26"/>
                    <a:pt x="26" y="28"/>
                  </a:cubicBezTo>
                  <a:cubicBezTo>
                    <a:pt x="23" y="29"/>
                    <a:pt x="21" y="25"/>
                    <a:pt x="20" y="25"/>
                  </a:cubicBezTo>
                  <a:cubicBezTo>
                    <a:pt x="18" y="25"/>
                    <a:pt x="17" y="22"/>
                    <a:pt x="15" y="22"/>
                  </a:cubicBezTo>
                  <a:cubicBezTo>
                    <a:pt x="12" y="20"/>
                    <a:pt x="12" y="23"/>
                    <a:pt x="7" y="25"/>
                  </a:cubicBezTo>
                  <a:cubicBezTo>
                    <a:pt x="9" y="18"/>
                    <a:pt x="10" y="15"/>
                    <a:pt x="7" y="1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8" name="Freeform 163"/>
            <p:cNvSpPr>
              <a:spLocks/>
            </p:cNvSpPr>
            <p:nvPr/>
          </p:nvSpPr>
          <p:spPr bwMode="auto">
            <a:xfrm>
              <a:off x="5961523" y="2842671"/>
              <a:ext cx="154003" cy="89767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5" y="24"/>
                </a:cxn>
                <a:cxn ang="0">
                  <a:pos x="26" y="24"/>
                </a:cxn>
                <a:cxn ang="0">
                  <a:pos x="32" y="22"/>
                </a:cxn>
                <a:cxn ang="0">
                  <a:pos x="35" y="26"/>
                </a:cxn>
                <a:cxn ang="0">
                  <a:pos x="46" y="32"/>
                </a:cxn>
                <a:cxn ang="0">
                  <a:pos x="53" y="30"/>
                </a:cxn>
                <a:cxn ang="0">
                  <a:pos x="58" y="27"/>
                </a:cxn>
                <a:cxn ang="0">
                  <a:pos x="56" y="21"/>
                </a:cxn>
                <a:cxn ang="0">
                  <a:pos x="55" y="18"/>
                </a:cxn>
                <a:cxn ang="0">
                  <a:pos x="55" y="13"/>
                </a:cxn>
                <a:cxn ang="0">
                  <a:pos x="52" y="8"/>
                </a:cxn>
                <a:cxn ang="0">
                  <a:pos x="46" y="8"/>
                </a:cxn>
                <a:cxn ang="0">
                  <a:pos x="40" y="5"/>
                </a:cxn>
                <a:cxn ang="0">
                  <a:pos x="35" y="2"/>
                </a:cxn>
                <a:cxn ang="0">
                  <a:pos x="27" y="5"/>
                </a:cxn>
                <a:cxn ang="0">
                  <a:pos x="24" y="15"/>
                </a:cxn>
                <a:cxn ang="0">
                  <a:pos x="15" y="10"/>
                </a:cxn>
                <a:cxn ang="0">
                  <a:pos x="12" y="7"/>
                </a:cxn>
                <a:cxn ang="0">
                  <a:pos x="4" y="10"/>
                </a:cxn>
                <a:cxn ang="0">
                  <a:pos x="4" y="13"/>
                </a:cxn>
                <a:cxn ang="0">
                  <a:pos x="1" y="19"/>
                </a:cxn>
                <a:cxn ang="0">
                  <a:pos x="0" y="27"/>
                </a:cxn>
              </a:cxnLst>
              <a:rect l="0" t="0" r="r" b="b"/>
              <a:pathLst>
                <a:path w="60" h="32">
                  <a:moveTo>
                    <a:pt x="0" y="27"/>
                  </a:moveTo>
                  <a:cubicBezTo>
                    <a:pt x="7" y="22"/>
                    <a:pt x="9" y="22"/>
                    <a:pt x="15" y="24"/>
                  </a:cubicBezTo>
                  <a:cubicBezTo>
                    <a:pt x="21" y="24"/>
                    <a:pt x="23" y="22"/>
                    <a:pt x="26" y="24"/>
                  </a:cubicBezTo>
                  <a:cubicBezTo>
                    <a:pt x="30" y="26"/>
                    <a:pt x="30" y="22"/>
                    <a:pt x="32" y="22"/>
                  </a:cubicBezTo>
                  <a:cubicBezTo>
                    <a:pt x="33" y="24"/>
                    <a:pt x="30" y="26"/>
                    <a:pt x="35" y="26"/>
                  </a:cubicBezTo>
                  <a:cubicBezTo>
                    <a:pt x="40" y="26"/>
                    <a:pt x="41" y="30"/>
                    <a:pt x="46" y="32"/>
                  </a:cubicBezTo>
                  <a:cubicBezTo>
                    <a:pt x="50" y="29"/>
                    <a:pt x="52" y="32"/>
                    <a:pt x="53" y="30"/>
                  </a:cubicBezTo>
                  <a:cubicBezTo>
                    <a:pt x="55" y="27"/>
                    <a:pt x="55" y="27"/>
                    <a:pt x="58" y="27"/>
                  </a:cubicBezTo>
                  <a:cubicBezTo>
                    <a:pt x="58" y="27"/>
                    <a:pt x="60" y="24"/>
                    <a:pt x="56" y="21"/>
                  </a:cubicBezTo>
                  <a:cubicBezTo>
                    <a:pt x="55" y="18"/>
                    <a:pt x="56" y="18"/>
                    <a:pt x="55" y="18"/>
                  </a:cubicBezTo>
                  <a:cubicBezTo>
                    <a:pt x="53" y="18"/>
                    <a:pt x="55" y="15"/>
                    <a:pt x="55" y="13"/>
                  </a:cubicBezTo>
                  <a:cubicBezTo>
                    <a:pt x="56" y="11"/>
                    <a:pt x="53" y="11"/>
                    <a:pt x="52" y="8"/>
                  </a:cubicBezTo>
                  <a:cubicBezTo>
                    <a:pt x="49" y="10"/>
                    <a:pt x="50" y="7"/>
                    <a:pt x="46" y="8"/>
                  </a:cubicBezTo>
                  <a:cubicBezTo>
                    <a:pt x="43" y="10"/>
                    <a:pt x="41" y="5"/>
                    <a:pt x="40" y="5"/>
                  </a:cubicBezTo>
                  <a:cubicBezTo>
                    <a:pt x="38" y="5"/>
                    <a:pt x="37" y="2"/>
                    <a:pt x="35" y="2"/>
                  </a:cubicBezTo>
                  <a:cubicBezTo>
                    <a:pt x="32" y="0"/>
                    <a:pt x="32" y="3"/>
                    <a:pt x="27" y="5"/>
                  </a:cubicBezTo>
                  <a:cubicBezTo>
                    <a:pt x="26" y="8"/>
                    <a:pt x="30" y="13"/>
                    <a:pt x="24" y="15"/>
                  </a:cubicBezTo>
                  <a:cubicBezTo>
                    <a:pt x="17" y="18"/>
                    <a:pt x="20" y="11"/>
                    <a:pt x="15" y="10"/>
                  </a:cubicBezTo>
                  <a:cubicBezTo>
                    <a:pt x="10" y="8"/>
                    <a:pt x="15" y="5"/>
                    <a:pt x="12" y="7"/>
                  </a:cubicBezTo>
                  <a:cubicBezTo>
                    <a:pt x="7" y="8"/>
                    <a:pt x="6" y="8"/>
                    <a:pt x="4" y="10"/>
                  </a:cubicBezTo>
                  <a:cubicBezTo>
                    <a:pt x="4" y="11"/>
                    <a:pt x="3" y="11"/>
                    <a:pt x="4" y="13"/>
                  </a:cubicBezTo>
                  <a:cubicBezTo>
                    <a:pt x="4" y="16"/>
                    <a:pt x="1" y="16"/>
                    <a:pt x="1" y="19"/>
                  </a:cubicBezTo>
                  <a:cubicBezTo>
                    <a:pt x="0" y="22"/>
                    <a:pt x="0" y="24"/>
                    <a:pt x="0" y="2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79" name="Freeform 164"/>
            <p:cNvSpPr>
              <a:spLocks/>
            </p:cNvSpPr>
            <p:nvPr/>
          </p:nvSpPr>
          <p:spPr bwMode="auto">
            <a:xfrm>
              <a:off x="5961523" y="2904929"/>
              <a:ext cx="121097" cy="98456"/>
            </a:xfrm>
            <a:custGeom>
              <a:avLst/>
              <a:gdLst/>
              <a:ahLst/>
              <a:cxnLst>
                <a:cxn ang="0">
                  <a:pos x="46" y="10"/>
                </a:cxn>
                <a:cxn ang="0">
                  <a:pos x="46" y="16"/>
                </a:cxn>
                <a:cxn ang="0">
                  <a:pos x="38" y="22"/>
                </a:cxn>
                <a:cxn ang="0">
                  <a:pos x="38" y="29"/>
                </a:cxn>
                <a:cxn ang="0">
                  <a:pos x="32" y="30"/>
                </a:cxn>
                <a:cxn ang="0">
                  <a:pos x="21" y="32"/>
                </a:cxn>
                <a:cxn ang="0">
                  <a:pos x="15" y="27"/>
                </a:cxn>
                <a:cxn ang="0">
                  <a:pos x="13" y="19"/>
                </a:cxn>
                <a:cxn ang="0">
                  <a:pos x="3" y="16"/>
                </a:cxn>
                <a:cxn ang="0">
                  <a:pos x="1" y="10"/>
                </a:cxn>
                <a:cxn ang="0">
                  <a:pos x="0" y="5"/>
                </a:cxn>
                <a:cxn ang="0">
                  <a:pos x="15" y="2"/>
                </a:cxn>
                <a:cxn ang="0">
                  <a:pos x="26" y="2"/>
                </a:cxn>
                <a:cxn ang="0">
                  <a:pos x="32" y="0"/>
                </a:cxn>
                <a:cxn ang="0">
                  <a:pos x="35" y="3"/>
                </a:cxn>
                <a:cxn ang="0">
                  <a:pos x="46" y="10"/>
                </a:cxn>
              </a:cxnLst>
              <a:rect l="0" t="0" r="r" b="b"/>
              <a:pathLst>
                <a:path w="47" h="35">
                  <a:moveTo>
                    <a:pt x="46" y="10"/>
                  </a:moveTo>
                  <a:cubicBezTo>
                    <a:pt x="42" y="18"/>
                    <a:pt x="47" y="13"/>
                    <a:pt x="46" y="16"/>
                  </a:cubicBezTo>
                  <a:cubicBezTo>
                    <a:pt x="44" y="19"/>
                    <a:pt x="42" y="16"/>
                    <a:pt x="38" y="22"/>
                  </a:cubicBezTo>
                  <a:cubicBezTo>
                    <a:pt x="35" y="27"/>
                    <a:pt x="41" y="27"/>
                    <a:pt x="38" y="29"/>
                  </a:cubicBezTo>
                  <a:cubicBezTo>
                    <a:pt x="36" y="32"/>
                    <a:pt x="38" y="24"/>
                    <a:pt x="32" y="30"/>
                  </a:cubicBezTo>
                  <a:cubicBezTo>
                    <a:pt x="27" y="35"/>
                    <a:pt x="26" y="30"/>
                    <a:pt x="21" y="32"/>
                  </a:cubicBezTo>
                  <a:cubicBezTo>
                    <a:pt x="21" y="29"/>
                    <a:pt x="16" y="25"/>
                    <a:pt x="15" y="27"/>
                  </a:cubicBezTo>
                  <a:cubicBezTo>
                    <a:pt x="13" y="22"/>
                    <a:pt x="16" y="21"/>
                    <a:pt x="13" y="19"/>
                  </a:cubicBezTo>
                  <a:cubicBezTo>
                    <a:pt x="10" y="16"/>
                    <a:pt x="13" y="21"/>
                    <a:pt x="3" y="16"/>
                  </a:cubicBezTo>
                  <a:cubicBezTo>
                    <a:pt x="3" y="14"/>
                    <a:pt x="3" y="11"/>
                    <a:pt x="1" y="10"/>
                  </a:cubicBezTo>
                  <a:cubicBezTo>
                    <a:pt x="0" y="8"/>
                    <a:pt x="0" y="8"/>
                    <a:pt x="0" y="5"/>
                  </a:cubicBezTo>
                  <a:cubicBezTo>
                    <a:pt x="7" y="0"/>
                    <a:pt x="9" y="0"/>
                    <a:pt x="15" y="2"/>
                  </a:cubicBezTo>
                  <a:cubicBezTo>
                    <a:pt x="21" y="2"/>
                    <a:pt x="23" y="0"/>
                    <a:pt x="26" y="2"/>
                  </a:cubicBezTo>
                  <a:cubicBezTo>
                    <a:pt x="30" y="3"/>
                    <a:pt x="30" y="0"/>
                    <a:pt x="32" y="0"/>
                  </a:cubicBezTo>
                  <a:cubicBezTo>
                    <a:pt x="33" y="2"/>
                    <a:pt x="30" y="3"/>
                    <a:pt x="35" y="3"/>
                  </a:cubicBezTo>
                  <a:cubicBezTo>
                    <a:pt x="39" y="3"/>
                    <a:pt x="41" y="8"/>
                    <a:pt x="46" y="1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0" name="Freeform 165"/>
            <p:cNvSpPr>
              <a:spLocks/>
            </p:cNvSpPr>
            <p:nvPr/>
          </p:nvSpPr>
          <p:spPr bwMode="auto">
            <a:xfrm>
              <a:off x="6001011" y="2913617"/>
              <a:ext cx="206655" cy="176641"/>
            </a:xfrm>
            <a:custGeom>
              <a:avLst/>
              <a:gdLst/>
              <a:ahLst/>
              <a:cxnLst>
                <a:cxn ang="0">
                  <a:pos x="70" y="50"/>
                </a:cxn>
                <a:cxn ang="0">
                  <a:pos x="63" y="58"/>
                </a:cxn>
                <a:cxn ang="0">
                  <a:pos x="60" y="60"/>
                </a:cxn>
                <a:cxn ang="0">
                  <a:pos x="54" y="60"/>
                </a:cxn>
                <a:cxn ang="0">
                  <a:pos x="47" y="58"/>
                </a:cxn>
                <a:cxn ang="0">
                  <a:pos x="40" y="57"/>
                </a:cxn>
                <a:cxn ang="0">
                  <a:pos x="32" y="55"/>
                </a:cxn>
                <a:cxn ang="0">
                  <a:pos x="17" y="54"/>
                </a:cxn>
                <a:cxn ang="0">
                  <a:pos x="9" y="57"/>
                </a:cxn>
                <a:cxn ang="0">
                  <a:pos x="6" y="58"/>
                </a:cxn>
                <a:cxn ang="0">
                  <a:pos x="3" y="50"/>
                </a:cxn>
                <a:cxn ang="0">
                  <a:pos x="8" y="46"/>
                </a:cxn>
                <a:cxn ang="0">
                  <a:pos x="6" y="29"/>
                </a:cxn>
                <a:cxn ang="0">
                  <a:pos x="17" y="27"/>
                </a:cxn>
                <a:cxn ang="0">
                  <a:pos x="23" y="25"/>
                </a:cxn>
                <a:cxn ang="0">
                  <a:pos x="23" y="19"/>
                </a:cxn>
                <a:cxn ang="0">
                  <a:pos x="31" y="13"/>
                </a:cxn>
                <a:cxn ang="0">
                  <a:pos x="31" y="7"/>
                </a:cxn>
                <a:cxn ang="0">
                  <a:pos x="38" y="5"/>
                </a:cxn>
                <a:cxn ang="0">
                  <a:pos x="43" y="2"/>
                </a:cxn>
                <a:cxn ang="0">
                  <a:pos x="49" y="3"/>
                </a:cxn>
                <a:cxn ang="0">
                  <a:pos x="55" y="7"/>
                </a:cxn>
                <a:cxn ang="0">
                  <a:pos x="61" y="7"/>
                </a:cxn>
                <a:cxn ang="0">
                  <a:pos x="64" y="10"/>
                </a:cxn>
                <a:cxn ang="0">
                  <a:pos x="64" y="16"/>
                </a:cxn>
                <a:cxn ang="0">
                  <a:pos x="66" y="22"/>
                </a:cxn>
                <a:cxn ang="0">
                  <a:pos x="72" y="29"/>
                </a:cxn>
                <a:cxn ang="0">
                  <a:pos x="76" y="33"/>
                </a:cxn>
                <a:cxn ang="0">
                  <a:pos x="78" y="36"/>
                </a:cxn>
                <a:cxn ang="0">
                  <a:pos x="70" y="38"/>
                </a:cxn>
                <a:cxn ang="0">
                  <a:pos x="69" y="41"/>
                </a:cxn>
                <a:cxn ang="0">
                  <a:pos x="70" y="50"/>
                </a:cxn>
              </a:cxnLst>
              <a:rect l="0" t="0" r="r" b="b"/>
              <a:pathLst>
                <a:path w="81" h="63">
                  <a:moveTo>
                    <a:pt x="70" y="50"/>
                  </a:moveTo>
                  <a:cubicBezTo>
                    <a:pt x="64" y="50"/>
                    <a:pt x="63" y="54"/>
                    <a:pt x="63" y="58"/>
                  </a:cubicBezTo>
                  <a:cubicBezTo>
                    <a:pt x="63" y="63"/>
                    <a:pt x="61" y="63"/>
                    <a:pt x="60" y="60"/>
                  </a:cubicBezTo>
                  <a:cubicBezTo>
                    <a:pt x="58" y="60"/>
                    <a:pt x="55" y="60"/>
                    <a:pt x="54" y="60"/>
                  </a:cubicBezTo>
                  <a:cubicBezTo>
                    <a:pt x="50" y="61"/>
                    <a:pt x="52" y="55"/>
                    <a:pt x="47" y="58"/>
                  </a:cubicBezTo>
                  <a:cubicBezTo>
                    <a:pt x="44" y="61"/>
                    <a:pt x="49" y="57"/>
                    <a:pt x="40" y="57"/>
                  </a:cubicBezTo>
                  <a:cubicBezTo>
                    <a:pt x="34" y="57"/>
                    <a:pt x="37" y="55"/>
                    <a:pt x="32" y="55"/>
                  </a:cubicBezTo>
                  <a:cubicBezTo>
                    <a:pt x="29" y="57"/>
                    <a:pt x="28" y="52"/>
                    <a:pt x="17" y="54"/>
                  </a:cubicBezTo>
                  <a:cubicBezTo>
                    <a:pt x="8" y="55"/>
                    <a:pt x="12" y="58"/>
                    <a:pt x="9" y="57"/>
                  </a:cubicBezTo>
                  <a:cubicBezTo>
                    <a:pt x="8" y="57"/>
                    <a:pt x="6" y="58"/>
                    <a:pt x="6" y="58"/>
                  </a:cubicBezTo>
                  <a:cubicBezTo>
                    <a:pt x="5" y="55"/>
                    <a:pt x="9" y="52"/>
                    <a:pt x="3" y="50"/>
                  </a:cubicBezTo>
                  <a:cubicBezTo>
                    <a:pt x="0" y="49"/>
                    <a:pt x="5" y="46"/>
                    <a:pt x="8" y="46"/>
                  </a:cubicBezTo>
                  <a:cubicBezTo>
                    <a:pt x="11" y="44"/>
                    <a:pt x="8" y="38"/>
                    <a:pt x="6" y="29"/>
                  </a:cubicBezTo>
                  <a:cubicBezTo>
                    <a:pt x="11" y="27"/>
                    <a:pt x="12" y="32"/>
                    <a:pt x="17" y="27"/>
                  </a:cubicBezTo>
                  <a:cubicBezTo>
                    <a:pt x="23" y="21"/>
                    <a:pt x="21" y="29"/>
                    <a:pt x="23" y="25"/>
                  </a:cubicBezTo>
                  <a:cubicBezTo>
                    <a:pt x="26" y="24"/>
                    <a:pt x="20" y="24"/>
                    <a:pt x="23" y="19"/>
                  </a:cubicBezTo>
                  <a:cubicBezTo>
                    <a:pt x="28" y="13"/>
                    <a:pt x="29" y="16"/>
                    <a:pt x="31" y="13"/>
                  </a:cubicBezTo>
                  <a:cubicBezTo>
                    <a:pt x="32" y="10"/>
                    <a:pt x="28" y="14"/>
                    <a:pt x="31" y="7"/>
                  </a:cubicBezTo>
                  <a:cubicBezTo>
                    <a:pt x="35" y="3"/>
                    <a:pt x="37" y="7"/>
                    <a:pt x="38" y="5"/>
                  </a:cubicBezTo>
                  <a:cubicBezTo>
                    <a:pt x="40" y="2"/>
                    <a:pt x="40" y="2"/>
                    <a:pt x="43" y="2"/>
                  </a:cubicBezTo>
                  <a:cubicBezTo>
                    <a:pt x="47" y="0"/>
                    <a:pt x="44" y="3"/>
                    <a:pt x="49" y="3"/>
                  </a:cubicBezTo>
                  <a:cubicBezTo>
                    <a:pt x="55" y="2"/>
                    <a:pt x="50" y="8"/>
                    <a:pt x="55" y="7"/>
                  </a:cubicBezTo>
                  <a:cubicBezTo>
                    <a:pt x="58" y="3"/>
                    <a:pt x="61" y="5"/>
                    <a:pt x="61" y="7"/>
                  </a:cubicBezTo>
                  <a:cubicBezTo>
                    <a:pt x="63" y="8"/>
                    <a:pt x="66" y="7"/>
                    <a:pt x="64" y="10"/>
                  </a:cubicBezTo>
                  <a:cubicBezTo>
                    <a:pt x="63" y="14"/>
                    <a:pt x="67" y="14"/>
                    <a:pt x="64" y="16"/>
                  </a:cubicBezTo>
                  <a:cubicBezTo>
                    <a:pt x="61" y="19"/>
                    <a:pt x="66" y="18"/>
                    <a:pt x="66" y="22"/>
                  </a:cubicBezTo>
                  <a:cubicBezTo>
                    <a:pt x="67" y="29"/>
                    <a:pt x="73" y="27"/>
                    <a:pt x="72" y="29"/>
                  </a:cubicBezTo>
                  <a:cubicBezTo>
                    <a:pt x="69" y="33"/>
                    <a:pt x="76" y="29"/>
                    <a:pt x="76" y="33"/>
                  </a:cubicBezTo>
                  <a:cubicBezTo>
                    <a:pt x="76" y="35"/>
                    <a:pt x="81" y="35"/>
                    <a:pt x="78" y="36"/>
                  </a:cubicBezTo>
                  <a:cubicBezTo>
                    <a:pt x="75" y="38"/>
                    <a:pt x="75" y="41"/>
                    <a:pt x="70" y="38"/>
                  </a:cubicBezTo>
                  <a:cubicBezTo>
                    <a:pt x="69" y="36"/>
                    <a:pt x="67" y="39"/>
                    <a:pt x="69" y="41"/>
                  </a:cubicBezTo>
                  <a:cubicBezTo>
                    <a:pt x="72" y="46"/>
                    <a:pt x="67" y="46"/>
                    <a:pt x="70" y="5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1" name="Freeform 166"/>
            <p:cNvSpPr>
              <a:spLocks/>
            </p:cNvSpPr>
            <p:nvPr/>
          </p:nvSpPr>
          <p:spPr bwMode="auto">
            <a:xfrm>
              <a:off x="5819365" y="2962845"/>
              <a:ext cx="217185" cy="199806"/>
            </a:xfrm>
            <a:custGeom>
              <a:avLst/>
              <a:gdLst/>
              <a:ahLst/>
              <a:cxnLst>
                <a:cxn ang="0">
                  <a:pos x="77" y="40"/>
                </a:cxn>
                <a:cxn ang="0">
                  <a:pos x="79" y="47"/>
                </a:cxn>
                <a:cxn ang="0">
                  <a:pos x="80" y="50"/>
                </a:cxn>
                <a:cxn ang="0">
                  <a:pos x="79" y="54"/>
                </a:cxn>
                <a:cxn ang="0">
                  <a:pos x="71" y="62"/>
                </a:cxn>
                <a:cxn ang="0">
                  <a:pos x="71" y="68"/>
                </a:cxn>
                <a:cxn ang="0">
                  <a:pos x="68" y="70"/>
                </a:cxn>
                <a:cxn ang="0">
                  <a:pos x="63" y="67"/>
                </a:cxn>
                <a:cxn ang="0">
                  <a:pos x="53" y="65"/>
                </a:cxn>
                <a:cxn ang="0">
                  <a:pos x="48" y="68"/>
                </a:cxn>
                <a:cxn ang="0">
                  <a:pos x="47" y="67"/>
                </a:cxn>
                <a:cxn ang="0">
                  <a:pos x="42" y="65"/>
                </a:cxn>
                <a:cxn ang="0">
                  <a:pos x="41" y="65"/>
                </a:cxn>
                <a:cxn ang="0">
                  <a:pos x="39" y="65"/>
                </a:cxn>
                <a:cxn ang="0">
                  <a:pos x="35" y="59"/>
                </a:cxn>
                <a:cxn ang="0">
                  <a:pos x="30" y="57"/>
                </a:cxn>
                <a:cxn ang="0">
                  <a:pos x="28" y="56"/>
                </a:cxn>
                <a:cxn ang="0">
                  <a:pos x="24" y="54"/>
                </a:cxn>
                <a:cxn ang="0">
                  <a:pos x="21" y="56"/>
                </a:cxn>
                <a:cxn ang="0">
                  <a:pos x="21" y="51"/>
                </a:cxn>
                <a:cxn ang="0">
                  <a:pos x="15" y="50"/>
                </a:cxn>
                <a:cxn ang="0">
                  <a:pos x="9" y="48"/>
                </a:cxn>
                <a:cxn ang="0">
                  <a:pos x="6" y="39"/>
                </a:cxn>
                <a:cxn ang="0">
                  <a:pos x="6" y="31"/>
                </a:cxn>
                <a:cxn ang="0">
                  <a:pos x="4" y="26"/>
                </a:cxn>
                <a:cxn ang="0">
                  <a:pos x="3" y="14"/>
                </a:cxn>
                <a:cxn ang="0">
                  <a:pos x="6" y="14"/>
                </a:cxn>
                <a:cxn ang="0">
                  <a:pos x="6" y="12"/>
                </a:cxn>
                <a:cxn ang="0">
                  <a:pos x="3" y="12"/>
                </a:cxn>
                <a:cxn ang="0">
                  <a:pos x="3" y="11"/>
                </a:cxn>
                <a:cxn ang="0">
                  <a:pos x="15" y="8"/>
                </a:cxn>
                <a:cxn ang="0">
                  <a:pos x="22" y="3"/>
                </a:cxn>
                <a:cxn ang="0">
                  <a:pos x="30" y="0"/>
                </a:cxn>
                <a:cxn ang="0">
                  <a:pos x="39" y="3"/>
                </a:cxn>
                <a:cxn ang="0">
                  <a:pos x="38" y="3"/>
                </a:cxn>
                <a:cxn ang="0">
                  <a:pos x="38" y="5"/>
                </a:cxn>
                <a:cxn ang="0">
                  <a:pos x="45" y="5"/>
                </a:cxn>
                <a:cxn ang="0">
                  <a:pos x="71" y="6"/>
                </a:cxn>
                <a:cxn ang="0">
                  <a:pos x="77" y="11"/>
                </a:cxn>
                <a:cxn ang="0">
                  <a:pos x="79" y="28"/>
                </a:cxn>
                <a:cxn ang="0">
                  <a:pos x="74" y="33"/>
                </a:cxn>
                <a:cxn ang="0">
                  <a:pos x="77" y="40"/>
                </a:cxn>
              </a:cxnLst>
              <a:rect l="0" t="0" r="r" b="b"/>
              <a:pathLst>
                <a:path w="85" h="71">
                  <a:moveTo>
                    <a:pt x="77" y="40"/>
                  </a:moveTo>
                  <a:cubicBezTo>
                    <a:pt x="79" y="43"/>
                    <a:pt x="76" y="42"/>
                    <a:pt x="79" y="47"/>
                  </a:cubicBezTo>
                  <a:cubicBezTo>
                    <a:pt x="85" y="51"/>
                    <a:pt x="79" y="48"/>
                    <a:pt x="80" y="50"/>
                  </a:cubicBezTo>
                  <a:cubicBezTo>
                    <a:pt x="82" y="51"/>
                    <a:pt x="83" y="53"/>
                    <a:pt x="79" y="54"/>
                  </a:cubicBezTo>
                  <a:cubicBezTo>
                    <a:pt x="77" y="54"/>
                    <a:pt x="72" y="59"/>
                    <a:pt x="71" y="62"/>
                  </a:cubicBezTo>
                  <a:cubicBezTo>
                    <a:pt x="68" y="65"/>
                    <a:pt x="71" y="67"/>
                    <a:pt x="71" y="68"/>
                  </a:cubicBezTo>
                  <a:cubicBezTo>
                    <a:pt x="69" y="70"/>
                    <a:pt x="74" y="71"/>
                    <a:pt x="68" y="70"/>
                  </a:cubicBezTo>
                  <a:cubicBezTo>
                    <a:pt x="63" y="68"/>
                    <a:pt x="65" y="67"/>
                    <a:pt x="63" y="67"/>
                  </a:cubicBezTo>
                  <a:cubicBezTo>
                    <a:pt x="59" y="65"/>
                    <a:pt x="54" y="65"/>
                    <a:pt x="53" y="65"/>
                  </a:cubicBezTo>
                  <a:cubicBezTo>
                    <a:pt x="50" y="65"/>
                    <a:pt x="50" y="70"/>
                    <a:pt x="48" y="68"/>
                  </a:cubicBezTo>
                  <a:cubicBezTo>
                    <a:pt x="48" y="68"/>
                    <a:pt x="47" y="68"/>
                    <a:pt x="47" y="67"/>
                  </a:cubicBezTo>
                  <a:cubicBezTo>
                    <a:pt x="48" y="64"/>
                    <a:pt x="44" y="62"/>
                    <a:pt x="42" y="65"/>
                  </a:cubicBezTo>
                  <a:cubicBezTo>
                    <a:pt x="42" y="67"/>
                    <a:pt x="41" y="67"/>
                    <a:pt x="41" y="65"/>
                  </a:cubicBezTo>
                  <a:cubicBezTo>
                    <a:pt x="41" y="65"/>
                    <a:pt x="41" y="65"/>
                    <a:pt x="39" y="65"/>
                  </a:cubicBezTo>
                  <a:cubicBezTo>
                    <a:pt x="39" y="62"/>
                    <a:pt x="38" y="61"/>
                    <a:pt x="35" y="59"/>
                  </a:cubicBezTo>
                  <a:cubicBezTo>
                    <a:pt x="32" y="57"/>
                    <a:pt x="33" y="59"/>
                    <a:pt x="30" y="57"/>
                  </a:cubicBezTo>
                  <a:cubicBezTo>
                    <a:pt x="28" y="56"/>
                    <a:pt x="32" y="56"/>
                    <a:pt x="28" y="56"/>
                  </a:cubicBezTo>
                  <a:cubicBezTo>
                    <a:pt x="25" y="54"/>
                    <a:pt x="22" y="53"/>
                    <a:pt x="24" y="54"/>
                  </a:cubicBezTo>
                  <a:cubicBezTo>
                    <a:pt x="25" y="56"/>
                    <a:pt x="24" y="59"/>
                    <a:pt x="21" y="56"/>
                  </a:cubicBezTo>
                  <a:cubicBezTo>
                    <a:pt x="16" y="51"/>
                    <a:pt x="21" y="53"/>
                    <a:pt x="21" y="51"/>
                  </a:cubicBezTo>
                  <a:cubicBezTo>
                    <a:pt x="19" y="50"/>
                    <a:pt x="19" y="51"/>
                    <a:pt x="15" y="50"/>
                  </a:cubicBezTo>
                  <a:cubicBezTo>
                    <a:pt x="9" y="47"/>
                    <a:pt x="12" y="45"/>
                    <a:pt x="9" y="48"/>
                  </a:cubicBezTo>
                  <a:cubicBezTo>
                    <a:pt x="10" y="39"/>
                    <a:pt x="7" y="43"/>
                    <a:pt x="6" y="39"/>
                  </a:cubicBezTo>
                  <a:cubicBezTo>
                    <a:pt x="6" y="36"/>
                    <a:pt x="9" y="36"/>
                    <a:pt x="6" y="31"/>
                  </a:cubicBezTo>
                  <a:cubicBezTo>
                    <a:pt x="4" y="29"/>
                    <a:pt x="9" y="29"/>
                    <a:pt x="4" y="26"/>
                  </a:cubicBezTo>
                  <a:cubicBezTo>
                    <a:pt x="0" y="23"/>
                    <a:pt x="6" y="22"/>
                    <a:pt x="3" y="14"/>
                  </a:cubicBezTo>
                  <a:cubicBezTo>
                    <a:pt x="6" y="14"/>
                    <a:pt x="6" y="15"/>
                    <a:pt x="6" y="14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4" y="12"/>
                    <a:pt x="4" y="14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7" y="12"/>
                    <a:pt x="7" y="9"/>
                    <a:pt x="15" y="8"/>
                  </a:cubicBezTo>
                  <a:cubicBezTo>
                    <a:pt x="22" y="6"/>
                    <a:pt x="18" y="5"/>
                    <a:pt x="22" y="3"/>
                  </a:cubicBezTo>
                  <a:cubicBezTo>
                    <a:pt x="28" y="1"/>
                    <a:pt x="22" y="1"/>
                    <a:pt x="30" y="0"/>
                  </a:cubicBezTo>
                  <a:cubicBezTo>
                    <a:pt x="36" y="0"/>
                    <a:pt x="35" y="0"/>
                    <a:pt x="39" y="3"/>
                  </a:cubicBezTo>
                  <a:cubicBezTo>
                    <a:pt x="41" y="3"/>
                    <a:pt x="39" y="5"/>
                    <a:pt x="38" y="3"/>
                  </a:cubicBezTo>
                  <a:cubicBezTo>
                    <a:pt x="36" y="0"/>
                    <a:pt x="36" y="1"/>
                    <a:pt x="38" y="5"/>
                  </a:cubicBezTo>
                  <a:cubicBezTo>
                    <a:pt x="38" y="6"/>
                    <a:pt x="44" y="6"/>
                    <a:pt x="45" y="5"/>
                  </a:cubicBezTo>
                  <a:cubicBezTo>
                    <a:pt x="56" y="6"/>
                    <a:pt x="65" y="8"/>
                    <a:pt x="71" y="6"/>
                  </a:cubicBezTo>
                  <a:cubicBezTo>
                    <a:pt x="72" y="5"/>
                    <a:pt x="77" y="8"/>
                    <a:pt x="77" y="11"/>
                  </a:cubicBezTo>
                  <a:cubicBezTo>
                    <a:pt x="79" y="20"/>
                    <a:pt x="82" y="26"/>
                    <a:pt x="79" y="28"/>
                  </a:cubicBezTo>
                  <a:cubicBezTo>
                    <a:pt x="76" y="28"/>
                    <a:pt x="71" y="31"/>
                    <a:pt x="74" y="33"/>
                  </a:cubicBezTo>
                  <a:cubicBezTo>
                    <a:pt x="80" y="34"/>
                    <a:pt x="76" y="37"/>
                    <a:pt x="77" y="4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2" name="Freeform 167"/>
            <p:cNvSpPr>
              <a:spLocks/>
            </p:cNvSpPr>
            <p:nvPr/>
          </p:nvSpPr>
          <p:spPr bwMode="auto">
            <a:xfrm>
              <a:off x="5436331" y="3093153"/>
              <a:ext cx="272468" cy="283782"/>
            </a:xfrm>
            <a:custGeom>
              <a:avLst/>
              <a:gdLst/>
              <a:ahLst/>
              <a:cxnLst>
                <a:cxn ang="0">
                  <a:pos x="96" y="67"/>
                </a:cxn>
                <a:cxn ang="0">
                  <a:pos x="95" y="78"/>
                </a:cxn>
                <a:cxn ang="0">
                  <a:pos x="99" y="86"/>
                </a:cxn>
                <a:cxn ang="0">
                  <a:pos x="85" y="92"/>
                </a:cxn>
                <a:cxn ang="0">
                  <a:pos x="78" y="89"/>
                </a:cxn>
                <a:cxn ang="0">
                  <a:pos x="69" y="89"/>
                </a:cxn>
                <a:cxn ang="0">
                  <a:pos x="64" y="100"/>
                </a:cxn>
                <a:cxn ang="0">
                  <a:pos x="54" y="100"/>
                </a:cxn>
                <a:cxn ang="0">
                  <a:pos x="44" y="97"/>
                </a:cxn>
                <a:cxn ang="0">
                  <a:pos x="35" y="95"/>
                </a:cxn>
                <a:cxn ang="0">
                  <a:pos x="26" y="89"/>
                </a:cxn>
                <a:cxn ang="0">
                  <a:pos x="31" y="75"/>
                </a:cxn>
                <a:cxn ang="0">
                  <a:pos x="31" y="70"/>
                </a:cxn>
                <a:cxn ang="0">
                  <a:pos x="35" y="69"/>
                </a:cxn>
                <a:cxn ang="0">
                  <a:pos x="31" y="61"/>
                </a:cxn>
                <a:cxn ang="0">
                  <a:pos x="28" y="55"/>
                </a:cxn>
                <a:cxn ang="0">
                  <a:pos x="23" y="47"/>
                </a:cxn>
                <a:cxn ang="0">
                  <a:pos x="20" y="42"/>
                </a:cxn>
                <a:cxn ang="0">
                  <a:pos x="17" y="41"/>
                </a:cxn>
                <a:cxn ang="0">
                  <a:pos x="6" y="38"/>
                </a:cxn>
                <a:cxn ang="0">
                  <a:pos x="6" y="35"/>
                </a:cxn>
                <a:cxn ang="0">
                  <a:pos x="5" y="32"/>
                </a:cxn>
                <a:cxn ang="0">
                  <a:pos x="6" y="28"/>
                </a:cxn>
                <a:cxn ang="0">
                  <a:pos x="12" y="27"/>
                </a:cxn>
                <a:cxn ang="0">
                  <a:pos x="19" y="30"/>
                </a:cxn>
                <a:cxn ang="0">
                  <a:pos x="23" y="28"/>
                </a:cxn>
                <a:cxn ang="0">
                  <a:pos x="28" y="30"/>
                </a:cxn>
                <a:cxn ang="0">
                  <a:pos x="26" y="21"/>
                </a:cxn>
                <a:cxn ang="0">
                  <a:pos x="29" y="16"/>
                </a:cxn>
                <a:cxn ang="0">
                  <a:pos x="40" y="21"/>
                </a:cxn>
                <a:cxn ang="0">
                  <a:pos x="44" y="14"/>
                </a:cxn>
                <a:cxn ang="0">
                  <a:pos x="52" y="10"/>
                </a:cxn>
                <a:cxn ang="0">
                  <a:pos x="52" y="4"/>
                </a:cxn>
                <a:cxn ang="0">
                  <a:pos x="66" y="5"/>
                </a:cxn>
                <a:cxn ang="0">
                  <a:pos x="73" y="11"/>
                </a:cxn>
                <a:cxn ang="0">
                  <a:pos x="81" y="16"/>
                </a:cxn>
                <a:cxn ang="0">
                  <a:pos x="90" y="19"/>
                </a:cxn>
                <a:cxn ang="0">
                  <a:pos x="98" y="24"/>
                </a:cxn>
                <a:cxn ang="0">
                  <a:pos x="99" y="41"/>
                </a:cxn>
                <a:cxn ang="0">
                  <a:pos x="95" y="45"/>
                </a:cxn>
                <a:cxn ang="0">
                  <a:pos x="90" y="52"/>
                </a:cxn>
                <a:cxn ang="0">
                  <a:pos x="88" y="58"/>
                </a:cxn>
                <a:cxn ang="0">
                  <a:pos x="93" y="58"/>
                </a:cxn>
              </a:cxnLst>
              <a:rect l="0" t="0" r="r" b="b"/>
              <a:pathLst>
                <a:path w="107" h="101">
                  <a:moveTo>
                    <a:pt x="95" y="61"/>
                  </a:moveTo>
                  <a:cubicBezTo>
                    <a:pt x="93" y="64"/>
                    <a:pt x="98" y="66"/>
                    <a:pt x="96" y="67"/>
                  </a:cubicBezTo>
                  <a:cubicBezTo>
                    <a:pt x="95" y="70"/>
                    <a:pt x="90" y="69"/>
                    <a:pt x="95" y="72"/>
                  </a:cubicBezTo>
                  <a:cubicBezTo>
                    <a:pt x="99" y="75"/>
                    <a:pt x="93" y="75"/>
                    <a:pt x="95" y="78"/>
                  </a:cubicBezTo>
                  <a:cubicBezTo>
                    <a:pt x="96" y="83"/>
                    <a:pt x="101" y="80"/>
                    <a:pt x="101" y="80"/>
                  </a:cubicBezTo>
                  <a:cubicBezTo>
                    <a:pt x="102" y="81"/>
                    <a:pt x="99" y="84"/>
                    <a:pt x="99" y="86"/>
                  </a:cubicBezTo>
                  <a:cubicBezTo>
                    <a:pt x="98" y="86"/>
                    <a:pt x="93" y="89"/>
                    <a:pt x="93" y="89"/>
                  </a:cubicBezTo>
                  <a:cubicBezTo>
                    <a:pt x="93" y="92"/>
                    <a:pt x="87" y="94"/>
                    <a:pt x="85" y="92"/>
                  </a:cubicBezTo>
                  <a:cubicBezTo>
                    <a:pt x="84" y="91"/>
                    <a:pt x="84" y="94"/>
                    <a:pt x="82" y="91"/>
                  </a:cubicBezTo>
                  <a:cubicBezTo>
                    <a:pt x="81" y="89"/>
                    <a:pt x="81" y="89"/>
                    <a:pt x="78" y="89"/>
                  </a:cubicBezTo>
                  <a:cubicBezTo>
                    <a:pt x="75" y="91"/>
                    <a:pt x="78" y="89"/>
                    <a:pt x="75" y="89"/>
                  </a:cubicBezTo>
                  <a:cubicBezTo>
                    <a:pt x="72" y="89"/>
                    <a:pt x="75" y="84"/>
                    <a:pt x="69" y="89"/>
                  </a:cubicBezTo>
                  <a:cubicBezTo>
                    <a:pt x="67" y="91"/>
                    <a:pt x="64" y="91"/>
                    <a:pt x="64" y="94"/>
                  </a:cubicBezTo>
                  <a:cubicBezTo>
                    <a:pt x="66" y="97"/>
                    <a:pt x="64" y="95"/>
                    <a:pt x="64" y="100"/>
                  </a:cubicBezTo>
                  <a:cubicBezTo>
                    <a:pt x="61" y="100"/>
                    <a:pt x="63" y="101"/>
                    <a:pt x="60" y="100"/>
                  </a:cubicBezTo>
                  <a:cubicBezTo>
                    <a:pt x="58" y="100"/>
                    <a:pt x="58" y="101"/>
                    <a:pt x="54" y="100"/>
                  </a:cubicBezTo>
                  <a:cubicBezTo>
                    <a:pt x="54" y="98"/>
                    <a:pt x="54" y="97"/>
                    <a:pt x="52" y="98"/>
                  </a:cubicBezTo>
                  <a:cubicBezTo>
                    <a:pt x="43" y="92"/>
                    <a:pt x="47" y="97"/>
                    <a:pt x="44" y="97"/>
                  </a:cubicBezTo>
                  <a:cubicBezTo>
                    <a:pt x="41" y="95"/>
                    <a:pt x="41" y="98"/>
                    <a:pt x="40" y="97"/>
                  </a:cubicBezTo>
                  <a:cubicBezTo>
                    <a:pt x="38" y="95"/>
                    <a:pt x="35" y="97"/>
                    <a:pt x="35" y="95"/>
                  </a:cubicBezTo>
                  <a:cubicBezTo>
                    <a:pt x="34" y="92"/>
                    <a:pt x="29" y="94"/>
                    <a:pt x="29" y="92"/>
                  </a:cubicBezTo>
                  <a:cubicBezTo>
                    <a:pt x="29" y="89"/>
                    <a:pt x="28" y="91"/>
                    <a:pt x="26" y="89"/>
                  </a:cubicBezTo>
                  <a:cubicBezTo>
                    <a:pt x="28" y="89"/>
                    <a:pt x="29" y="87"/>
                    <a:pt x="29" y="81"/>
                  </a:cubicBezTo>
                  <a:cubicBezTo>
                    <a:pt x="31" y="75"/>
                    <a:pt x="31" y="75"/>
                    <a:pt x="31" y="75"/>
                  </a:cubicBezTo>
                  <a:cubicBezTo>
                    <a:pt x="32" y="75"/>
                    <a:pt x="31" y="73"/>
                    <a:pt x="31" y="73"/>
                  </a:cubicBezTo>
                  <a:cubicBezTo>
                    <a:pt x="29" y="75"/>
                    <a:pt x="29" y="73"/>
                    <a:pt x="31" y="70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4" y="66"/>
                    <a:pt x="35" y="72"/>
                    <a:pt x="35" y="69"/>
                  </a:cubicBezTo>
                  <a:cubicBezTo>
                    <a:pt x="34" y="67"/>
                    <a:pt x="35" y="66"/>
                    <a:pt x="31" y="64"/>
                  </a:cubicBezTo>
                  <a:cubicBezTo>
                    <a:pt x="28" y="61"/>
                    <a:pt x="31" y="63"/>
                    <a:pt x="31" y="61"/>
                  </a:cubicBezTo>
                  <a:cubicBezTo>
                    <a:pt x="32" y="58"/>
                    <a:pt x="29" y="58"/>
                    <a:pt x="31" y="56"/>
                  </a:cubicBezTo>
                  <a:cubicBezTo>
                    <a:pt x="31" y="55"/>
                    <a:pt x="31" y="56"/>
                    <a:pt x="28" y="55"/>
                  </a:cubicBezTo>
                  <a:cubicBezTo>
                    <a:pt x="25" y="53"/>
                    <a:pt x="22" y="50"/>
                    <a:pt x="23" y="49"/>
                  </a:cubicBezTo>
                  <a:cubicBezTo>
                    <a:pt x="25" y="49"/>
                    <a:pt x="25" y="47"/>
                    <a:pt x="23" y="47"/>
                  </a:cubicBezTo>
                  <a:cubicBezTo>
                    <a:pt x="22" y="47"/>
                    <a:pt x="25" y="44"/>
                    <a:pt x="22" y="45"/>
                  </a:cubicBezTo>
                  <a:cubicBezTo>
                    <a:pt x="19" y="45"/>
                    <a:pt x="20" y="44"/>
                    <a:pt x="20" y="42"/>
                  </a:cubicBezTo>
                  <a:cubicBezTo>
                    <a:pt x="22" y="42"/>
                    <a:pt x="20" y="42"/>
                    <a:pt x="19" y="42"/>
                  </a:cubicBezTo>
                  <a:cubicBezTo>
                    <a:pt x="16" y="42"/>
                    <a:pt x="19" y="41"/>
                    <a:pt x="17" y="41"/>
                  </a:cubicBezTo>
                  <a:cubicBezTo>
                    <a:pt x="14" y="41"/>
                    <a:pt x="14" y="39"/>
                    <a:pt x="12" y="39"/>
                  </a:cubicBezTo>
                  <a:cubicBezTo>
                    <a:pt x="9" y="38"/>
                    <a:pt x="8" y="38"/>
                    <a:pt x="6" y="38"/>
                  </a:cubicBezTo>
                  <a:cubicBezTo>
                    <a:pt x="5" y="39"/>
                    <a:pt x="6" y="38"/>
                    <a:pt x="3" y="36"/>
                  </a:cubicBezTo>
                  <a:cubicBezTo>
                    <a:pt x="0" y="35"/>
                    <a:pt x="6" y="35"/>
                    <a:pt x="6" y="35"/>
                  </a:cubicBezTo>
                  <a:cubicBezTo>
                    <a:pt x="5" y="33"/>
                    <a:pt x="3" y="35"/>
                    <a:pt x="3" y="33"/>
                  </a:cubicBezTo>
                  <a:cubicBezTo>
                    <a:pt x="3" y="33"/>
                    <a:pt x="6" y="33"/>
                    <a:pt x="5" y="32"/>
                  </a:cubicBezTo>
                  <a:cubicBezTo>
                    <a:pt x="3" y="32"/>
                    <a:pt x="2" y="33"/>
                    <a:pt x="2" y="32"/>
                  </a:cubicBezTo>
                  <a:cubicBezTo>
                    <a:pt x="2" y="30"/>
                    <a:pt x="3" y="28"/>
                    <a:pt x="6" y="28"/>
                  </a:cubicBezTo>
                  <a:cubicBezTo>
                    <a:pt x="9" y="28"/>
                    <a:pt x="6" y="27"/>
                    <a:pt x="9" y="28"/>
                  </a:cubicBezTo>
                  <a:cubicBezTo>
                    <a:pt x="11" y="28"/>
                    <a:pt x="12" y="28"/>
                    <a:pt x="12" y="27"/>
                  </a:cubicBezTo>
                  <a:cubicBezTo>
                    <a:pt x="11" y="25"/>
                    <a:pt x="12" y="27"/>
                    <a:pt x="14" y="25"/>
                  </a:cubicBezTo>
                  <a:cubicBezTo>
                    <a:pt x="16" y="25"/>
                    <a:pt x="17" y="28"/>
                    <a:pt x="19" y="30"/>
                  </a:cubicBezTo>
                  <a:cubicBezTo>
                    <a:pt x="19" y="32"/>
                    <a:pt x="20" y="28"/>
                    <a:pt x="22" y="28"/>
                  </a:cubicBezTo>
                  <a:cubicBezTo>
                    <a:pt x="23" y="27"/>
                    <a:pt x="22" y="30"/>
                    <a:pt x="23" y="28"/>
                  </a:cubicBezTo>
                  <a:cubicBezTo>
                    <a:pt x="25" y="28"/>
                    <a:pt x="23" y="28"/>
                    <a:pt x="25" y="28"/>
                  </a:cubicBezTo>
                  <a:cubicBezTo>
                    <a:pt x="26" y="28"/>
                    <a:pt x="25" y="30"/>
                    <a:pt x="28" y="30"/>
                  </a:cubicBezTo>
                  <a:cubicBezTo>
                    <a:pt x="29" y="28"/>
                    <a:pt x="28" y="28"/>
                    <a:pt x="28" y="25"/>
                  </a:cubicBezTo>
                  <a:cubicBezTo>
                    <a:pt x="28" y="24"/>
                    <a:pt x="28" y="21"/>
                    <a:pt x="26" y="21"/>
                  </a:cubicBezTo>
                  <a:cubicBezTo>
                    <a:pt x="25" y="19"/>
                    <a:pt x="26" y="19"/>
                    <a:pt x="25" y="18"/>
                  </a:cubicBezTo>
                  <a:cubicBezTo>
                    <a:pt x="25" y="14"/>
                    <a:pt x="26" y="18"/>
                    <a:pt x="29" y="16"/>
                  </a:cubicBezTo>
                  <a:cubicBezTo>
                    <a:pt x="31" y="16"/>
                    <a:pt x="29" y="21"/>
                    <a:pt x="31" y="21"/>
                  </a:cubicBezTo>
                  <a:cubicBezTo>
                    <a:pt x="35" y="19"/>
                    <a:pt x="38" y="22"/>
                    <a:pt x="40" y="21"/>
                  </a:cubicBezTo>
                  <a:cubicBezTo>
                    <a:pt x="41" y="19"/>
                    <a:pt x="43" y="19"/>
                    <a:pt x="41" y="19"/>
                  </a:cubicBezTo>
                  <a:cubicBezTo>
                    <a:pt x="41" y="19"/>
                    <a:pt x="38" y="18"/>
                    <a:pt x="44" y="14"/>
                  </a:cubicBezTo>
                  <a:cubicBezTo>
                    <a:pt x="50" y="13"/>
                    <a:pt x="50" y="13"/>
                    <a:pt x="52" y="11"/>
                  </a:cubicBezTo>
                  <a:cubicBezTo>
                    <a:pt x="52" y="10"/>
                    <a:pt x="54" y="11"/>
                    <a:pt x="52" y="10"/>
                  </a:cubicBezTo>
                  <a:cubicBezTo>
                    <a:pt x="52" y="8"/>
                    <a:pt x="54" y="8"/>
                    <a:pt x="52" y="8"/>
                  </a:cubicBezTo>
                  <a:cubicBezTo>
                    <a:pt x="52" y="7"/>
                    <a:pt x="52" y="7"/>
                    <a:pt x="52" y="4"/>
                  </a:cubicBezTo>
                  <a:cubicBezTo>
                    <a:pt x="52" y="2"/>
                    <a:pt x="54" y="0"/>
                    <a:pt x="60" y="0"/>
                  </a:cubicBezTo>
                  <a:cubicBezTo>
                    <a:pt x="63" y="7"/>
                    <a:pt x="64" y="2"/>
                    <a:pt x="66" y="5"/>
                  </a:cubicBezTo>
                  <a:cubicBezTo>
                    <a:pt x="67" y="8"/>
                    <a:pt x="67" y="5"/>
                    <a:pt x="69" y="8"/>
                  </a:cubicBezTo>
                  <a:cubicBezTo>
                    <a:pt x="70" y="10"/>
                    <a:pt x="73" y="8"/>
                    <a:pt x="73" y="11"/>
                  </a:cubicBezTo>
                  <a:cubicBezTo>
                    <a:pt x="75" y="16"/>
                    <a:pt x="76" y="10"/>
                    <a:pt x="78" y="11"/>
                  </a:cubicBezTo>
                  <a:cubicBezTo>
                    <a:pt x="79" y="11"/>
                    <a:pt x="76" y="14"/>
                    <a:pt x="81" y="16"/>
                  </a:cubicBezTo>
                  <a:cubicBezTo>
                    <a:pt x="82" y="16"/>
                    <a:pt x="82" y="19"/>
                    <a:pt x="85" y="19"/>
                  </a:cubicBezTo>
                  <a:cubicBezTo>
                    <a:pt x="88" y="19"/>
                    <a:pt x="88" y="19"/>
                    <a:pt x="90" y="19"/>
                  </a:cubicBezTo>
                  <a:cubicBezTo>
                    <a:pt x="93" y="19"/>
                    <a:pt x="92" y="22"/>
                    <a:pt x="95" y="22"/>
                  </a:cubicBezTo>
                  <a:cubicBezTo>
                    <a:pt x="96" y="22"/>
                    <a:pt x="95" y="24"/>
                    <a:pt x="98" y="24"/>
                  </a:cubicBezTo>
                  <a:cubicBezTo>
                    <a:pt x="101" y="22"/>
                    <a:pt x="102" y="24"/>
                    <a:pt x="104" y="25"/>
                  </a:cubicBezTo>
                  <a:cubicBezTo>
                    <a:pt x="107" y="25"/>
                    <a:pt x="99" y="28"/>
                    <a:pt x="99" y="41"/>
                  </a:cubicBezTo>
                  <a:cubicBezTo>
                    <a:pt x="98" y="44"/>
                    <a:pt x="96" y="41"/>
                    <a:pt x="96" y="42"/>
                  </a:cubicBezTo>
                  <a:cubicBezTo>
                    <a:pt x="95" y="44"/>
                    <a:pt x="96" y="44"/>
                    <a:pt x="95" y="45"/>
                  </a:cubicBezTo>
                  <a:cubicBezTo>
                    <a:pt x="93" y="45"/>
                    <a:pt x="95" y="47"/>
                    <a:pt x="92" y="49"/>
                  </a:cubicBezTo>
                  <a:cubicBezTo>
                    <a:pt x="90" y="49"/>
                    <a:pt x="93" y="50"/>
                    <a:pt x="90" y="52"/>
                  </a:cubicBezTo>
                  <a:cubicBezTo>
                    <a:pt x="87" y="53"/>
                    <a:pt x="90" y="55"/>
                    <a:pt x="88" y="56"/>
                  </a:cubicBezTo>
                  <a:cubicBezTo>
                    <a:pt x="85" y="58"/>
                    <a:pt x="87" y="58"/>
                    <a:pt x="88" y="58"/>
                  </a:cubicBezTo>
                  <a:cubicBezTo>
                    <a:pt x="92" y="56"/>
                    <a:pt x="88" y="55"/>
                    <a:pt x="92" y="55"/>
                  </a:cubicBezTo>
                  <a:cubicBezTo>
                    <a:pt x="95" y="53"/>
                    <a:pt x="93" y="56"/>
                    <a:pt x="93" y="58"/>
                  </a:cubicBezTo>
                  <a:cubicBezTo>
                    <a:pt x="93" y="58"/>
                    <a:pt x="95" y="58"/>
                    <a:pt x="95" y="6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3" name="Freeform 169"/>
            <p:cNvSpPr>
              <a:spLocks/>
            </p:cNvSpPr>
            <p:nvPr/>
          </p:nvSpPr>
          <p:spPr bwMode="auto">
            <a:xfrm>
              <a:off x="5711431" y="3356665"/>
              <a:ext cx="21061" cy="5067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5" y="3"/>
                </a:cxn>
                <a:cxn ang="0">
                  <a:pos x="2" y="4"/>
                </a:cxn>
                <a:cxn ang="0">
                  <a:pos x="0" y="12"/>
                </a:cxn>
                <a:cxn ang="0">
                  <a:pos x="0" y="13"/>
                </a:cxn>
                <a:cxn ang="0">
                  <a:pos x="2" y="13"/>
                </a:cxn>
                <a:cxn ang="0">
                  <a:pos x="2" y="16"/>
                </a:cxn>
                <a:cxn ang="0">
                  <a:pos x="5" y="18"/>
                </a:cxn>
                <a:cxn ang="0">
                  <a:pos x="5" y="16"/>
                </a:cxn>
                <a:cxn ang="0">
                  <a:pos x="7" y="12"/>
                </a:cxn>
                <a:cxn ang="0">
                  <a:pos x="8" y="7"/>
                </a:cxn>
                <a:cxn ang="0">
                  <a:pos x="7" y="3"/>
                </a:cxn>
                <a:cxn ang="0">
                  <a:pos x="7" y="0"/>
                </a:cxn>
              </a:cxnLst>
              <a:rect l="0" t="0" r="r" b="b"/>
              <a:pathLst>
                <a:path w="8" h="18">
                  <a:moveTo>
                    <a:pt x="7" y="0"/>
                  </a:moveTo>
                  <a:cubicBezTo>
                    <a:pt x="5" y="0"/>
                    <a:pt x="7" y="4"/>
                    <a:pt x="5" y="3"/>
                  </a:cubicBezTo>
                  <a:cubicBezTo>
                    <a:pt x="3" y="3"/>
                    <a:pt x="2" y="4"/>
                    <a:pt x="2" y="4"/>
                  </a:cubicBezTo>
                  <a:cubicBezTo>
                    <a:pt x="0" y="4"/>
                    <a:pt x="0" y="12"/>
                    <a:pt x="0" y="12"/>
                  </a:cubicBezTo>
                  <a:cubicBezTo>
                    <a:pt x="2" y="12"/>
                    <a:pt x="2" y="12"/>
                    <a:pt x="0" y="13"/>
                  </a:cubicBezTo>
                  <a:cubicBezTo>
                    <a:pt x="0" y="13"/>
                    <a:pt x="0" y="13"/>
                    <a:pt x="2" y="13"/>
                  </a:cubicBezTo>
                  <a:cubicBezTo>
                    <a:pt x="3" y="15"/>
                    <a:pt x="0" y="15"/>
                    <a:pt x="2" y="16"/>
                  </a:cubicBezTo>
                  <a:cubicBezTo>
                    <a:pt x="5" y="18"/>
                    <a:pt x="3" y="18"/>
                    <a:pt x="5" y="18"/>
                  </a:cubicBezTo>
                  <a:cubicBezTo>
                    <a:pt x="7" y="18"/>
                    <a:pt x="5" y="16"/>
                    <a:pt x="5" y="16"/>
                  </a:cubicBezTo>
                  <a:cubicBezTo>
                    <a:pt x="7" y="15"/>
                    <a:pt x="7" y="13"/>
                    <a:pt x="7" y="12"/>
                  </a:cubicBezTo>
                  <a:cubicBezTo>
                    <a:pt x="7" y="10"/>
                    <a:pt x="8" y="10"/>
                    <a:pt x="8" y="7"/>
                  </a:cubicBezTo>
                  <a:cubicBezTo>
                    <a:pt x="8" y="3"/>
                    <a:pt x="7" y="4"/>
                    <a:pt x="7" y="3"/>
                  </a:cubicBezTo>
                  <a:cubicBezTo>
                    <a:pt x="8" y="1"/>
                    <a:pt x="8" y="0"/>
                    <a:pt x="7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4" name="Freeform 170"/>
            <p:cNvSpPr>
              <a:spLocks noEditPoints="1"/>
            </p:cNvSpPr>
            <p:nvPr/>
          </p:nvSpPr>
          <p:spPr bwMode="auto">
            <a:xfrm>
              <a:off x="5665362" y="3224909"/>
              <a:ext cx="251407" cy="331562"/>
            </a:xfrm>
            <a:custGeom>
              <a:avLst/>
              <a:gdLst/>
              <a:ahLst/>
              <a:cxnLst>
                <a:cxn ang="0">
                  <a:pos x="54" y="15"/>
                </a:cxn>
                <a:cxn ang="0">
                  <a:pos x="47" y="22"/>
                </a:cxn>
                <a:cxn ang="0">
                  <a:pos x="50" y="36"/>
                </a:cxn>
                <a:cxn ang="0">
                  <a:pos x="67" y="57"/>
                </a:cxn>
                <a:cxn ang="0">
                  <a:pos x="87" y="68"/>
                </a:cxn>
                <a:cxn ang="0">
                  <a:pos x="96" y="79"/>
                </a:cxn>
                <a:cxn ang="0">
                  <a:pos x="90" y="76"/>
                </a:cxn>
                <a:cxn ang="0">
                  <a:pos x="81" y="81"/>
                </a:cxn>
                <a:cxn ang="0">
                  <a:pos x="84" y="92"/>
                </a:cxn>
                <a:cxn ang="0">
                  <a:pos x="75" y="102"/>
                </a:cxn>
                <a:cxn ang="0">
                  <a:pos x="76" y="95"/>
                </a:cxn>
                <a:cxn ang="0">
                  <a:pos x="70" y="79"/>
                </a:cxn>
                <a:cxn ang="0">
                  <a:pos x="63" y="71"/>
                </a:cxn>
                <a:cxn ang="0">
                  <a:pos x="47" y="61"/>
                </a:cxn>
                <a:cxn ang="0">
                  <a:pos x="38" y="53"/>
                </a:cxn>
                <a:cxn ang="0">
                  <a:pos x="32" y="42"/>
                </a:cxn>
                <a:cxn ang="0">
                  <a:pos x="19" y="31"/>
                </a:cxn>
                <a:cxn ang="0">
                  <a:pos x="11" y="33"/>
                </a:cxn>
                <a:cxn ang="0">
                  <a:pos x="5" y="25"/>
                </a:cxn>
                <a:cxn ang="0">
                  <a:pos x="5" y="14"/>
                </a:cxn>
                <a:cxn ang="0">
                  <a:pos x="14" y="12"/>
                </a:cxn>
                <a:cxn ang="0">
                  <a:pos x="17" y="8"/>
                </a:cxn>
                <a:cxn ang="0">
                  <a:pos x="22" y="14"/>
                </a:cxn>
                <a:cxn ang="0">
                  <a:pos x="25" y="6"/>
                </a:cxn>
                <a:cxn ang="0">
                  <a:pos x="31" y="9"/>
                </a:cxn>
                <a:cxn ang="0">
                  <a:pos x="34" y="6"/>
                </a:cxn>
                <a:cxn ang="0">
                  <a:pos x="37" y="3"/>
                </a:cxn>
                <a:cxn ang="0">
                  <a:pos x="44" y="0"/>
                </a:cxn>
                <a:cxn ang="0">
                  <a:pos x="47" y="3"/>
                </a:cxn>
                <a:cxn ang="0">
                  <a:pos x="57" y="9"/>
                </a:cxn>
                <a:cxn ang="0">
                  <a:pos x="58" y="14"/>
                </a:cxn>
                <a:cxn ang="0">
                  <a:pos x="57" y="15"/>
                </a:cxn>
                <a:cxn ang="0">
                  <a:pos x="61" y="112"/>
                </a:cxn>
                <a:cxn ang="0">
                  <a:pos x="70" y="115"/>
                </a:cxn>
                <a:cxn ang="0">
                  <a:pos x="73" y="99"/>
                </a:cxn>
                <a:cxn ang="0">
                  <a:pos x="57" y="101"/>
                </a:cxn>
                <a:cxn ang="0">
                  <a:pos x="49" y="104"/>
                </a:cxn>
                <a:cxn ang="0">
                  <a:pos x="17" y="79"/>
                </a:cxn>
                <a:cxn ang="0">
                  <a:pos x="20" y="92"/>
                </a:cxn>
                <a:cxn ang="0">
                  <a:pos x="28" y="84"/>
                </a:cxn>
                <a:cxn ang="0">
                  <a:pos x="26" y="68"/>
                </a:cxn>
                <a:cxn ang="0">
                  <a:pos x="14" y="71"/>
                </a:cxn>
              </a:cxnLst>
              <a:rect l="0" t="0" r="r" b="b"/>
              <a:pathLst>
                <a:path w="98" h="118">
                  <a:moveTo>
                    <a:pt x="57" y="15"/>
                  </a:moveTo>
                  <a:cubicBezTo>
                    <a:pt x="55" y="17"/>
                    <a:pt x="57" y="14"/>
                    <a:pt x="54" y="15"/>
                  </a:cubicBezTo>
                  <a:cubicBezTo>
                    <a:pt x="50" y="17"/>
                    <a:pt x="50" y="20"/>
                    <a:pt x="49" y="19"/>
                  </a:cubicBezTo>
                  <a:cubicBezTo>
                    <a:pt x="47" y="17"/>
                    <a:pt x="46" y="20"/>
                    <a:pt x="47" y="22"/>
                  </a:cubicBezTo>
                  <a:cubicBezTo>
                    <a:pt x="49" y="23"/>
                    <a:pt x="50" y="25"/>
                    <a:pt x="49" y="26"/>
                  </a:cubicBezTo>
                  <a:cubicBezTo>
                    <a:pt x="46" y="26"/>
                    <a:pt x="47" y="33"/>
                    <a:pt x="50" y="36"/>
                  </a:cubicBezTo>
                  <a:cubicBezTo>
                    <a:pt x="54" y="37"/>
                    <a:pt x="55" y="40"/>
                    <a:pt x="57" y="40"/>
                  </a:cubicBezTo>
                  <a:cubicBezTo>
                    <a:pt x="60" y="40"/>
                    <a:pt x="58" y="48"/>
                    <a:pt x="67" y="57"/>
                  </a:cubicBezTo>
                  <a:cubicBezTo>
                    <a:pt x="70" y="61"/>
                    <a:pt x="82" y="57"/>
                    <a:pt x="78" y="62"/>
                  </a:cubicBezTo>
                  <a:cubicBezTo>
                    <a:pt x="73" y="65"/>
                    <a:pt x="85" y="67"/>
                    <a:pt x="87" y="68"/>
                  </a:cubicBezTo>
                  <a:cubicBezTo>
                    <a:pt x="87" y="70"/>
                    <a:pt x="89" y="71"/>
                    <a:pt x="92" y="73"/>
                  </a:cubicBezTo>
                  <a:cubicBezTo>
                    <a:pt x="93" y="75"/>
                    <a:pt x="98" y="76"/>
                    <a:pt x="96" y="79"/>
                  </a:cubicBezTo>
                  <a:cubicBezTo>
                    <a:pt x="96" y="82"/>
                    <a:pt x="98" y="82"/>
                    <a:pt x="95" y="82"/>
                  </a:cubicBezTo>
                  <a:cubicBezTo>
                    <a:pt x="92" y="82"/>
                    <a:pt x="93" y="76"/>
                    <a:pt x="90" y="76"/>
                  </a:cubicBezTo>
                  <a:cubicBezTo>
                    <a:pt x="87" y="76"/>
                    <a:pt x="87" y="75"/>
                    <a:pt x="84" y="76"/>
                  </a:cubicBezTo>
                  <a:cubicBezTo>
                    <a:pt x="81" y="78"/>
                    <a:pt x="82" y="79"/>
                    <a:pt x="81" y="81"/>
                  </a:cubicBezTo>
                  <a:cubicBezTo>
                    <a:pt x="79" y="84"/>
                    <a:pt x="81" y="84"/>
                    <a:pt x="82" y="85"/>
                  </a:cubicBezTo>
                  <a:cubicBezTo>
                    <a:pt x="85" y="85"/>
                    <a:pt x="89" y="90"/>
                    <a:pt x="84" y="92"/>
                  </a:cubicBezTo>
                  <a:cubicBezTo>
                    <a:pt x="81" y="95"/>
                    <a:pt x="82" y="96"/>
                    <a:pt x="81" y="99"/>
                  </a:cubicBezTo>
                  <a:cubicBezTo>
                    <a:pt x="78" y="101"/>
                    <a:pt x="78" y="106"/>
                    <a:pt x="75" y="102"/>
                  </a:cubicBezTo>
                  <a:cubicBezTo>
                    <a:pt x="73" y="102"/>
                    <a:pt x="73" y="101"/>
                    <a:pt x="75" y="98"/>
                  </a:cubicBezTo>
                  <a:cubicBezTo>
                    <a:pt x="76" y="96"/>
                    <a:pt x="75" y="96"/>
                    <a:pt x="76" y="95"/>
                  </a:cubicBezTo>
                  <a:cubicBezTo>
                    <a:pt x="78" y="93"/>
                    <a:pt x="78" y="93"/>
                    <a:pt x="76" y="85"/>
                  </a:cubicBezTo>
                  <a:cubicBezTo>
                    <a:pt x="75" y="79"/>
                    <a:pt x="73" y="81"/>
                    <a:pt x="70" y="79"/>
                  </a:cubicBezTo>
                  <a:cubicBezTo>
                    <a:pt x="66" y="76"/>
                    <a:pt x="70" y="73"/>
                    <a:pt x="66" y="73"/>
                  </a:cubicBezTo>
                  <a:cubicBezTo>
                    <a:pt x="63" y="75"/>
                    <a:pt x="66" y="71"/>
                    <a:pt x="63" y="71"/>
                  </a:cubicBezTo>
                  <a:cubicBezTo>
                    <a:pt x="60" y="71"/>
                    <a:pt x="61" y="67"/>
                    <a:pt x="58" y="67"/>
                  </a:cubicBezTo>
                  <a:cubicBezTo>
                    <a:pt x="55" y="67"/>
                    <a:pt x="50" y="65"/>
                    <a:pt x="47" y="61"/>
                  </a:cubicBezTo>
                  <a:cubicBezTo>
                    <a:pt x="44" y="57"/>
                    <a:pt x="44" y="61"/>
                    <a:pt x="43" y="57"/>
                  </a:cubicBezTo>
                  <a:cubicBezTo>
                    <a:pt x="43" y="53"/>
                    <a:pt x="38" y="54"/>
                    <a:pt x="38" y="53"/>
                  </a:cubicBezTo>
                  <a:cubicBezTo>
                    <a:pt x="38" y="51"/>
                    <a:pt x="38" y="51"/>
                    <a:pt x="35" y="48"/>
                  </a:cubicBezTo>
                  <a:cubicBezTo>
                    <a:pt x="32" y="47"/>
                    <a:pt x="35" y="45"/>
                    <a:pt x="32" y="42"/>
                  </a:cubicBezTo>
                  <a:cubicBezTo>
                    <a:pt x="31" y="40"/>
                    <a:pt x="32" y="34"/>
                    <a:pt x="28" y="34"/>
                  </a:cubicBezTo>
                  <a:cubicBezTo>
                    <a:pt x="25" y="36"/>
                    <a:pt x="23" y="29"/>
                    <a:pt x="19" y="31"/>
                  </a:cubicBezTo>
                  <a:cubicBezTo>
                    <a:pt x="15" y="33"/>
                    <a:pt x="19" y="36"/>
                    <a:pt x="9" y="39"/>
                  </a:cubicBezTo>
                  <a:cubicBezTo>
                    <a:pt x="9" y="37"/>
                    <a:pt x="12" y="34"/>
                    <a:pt x="11" y="33"/>
                  </a:cubicBezTo>
                  <a:cubicBezTo>
                    <a:pt x="11" y="33"/>
                    <a:pt x="6" y="36"/>
                    <a:pt x="5" y="31"/>
                  </a:cubicBezTo>
                  <a:cubicBezTo>
                    <a:pt x="3" y="28"/>
                    <a:pt x="9" y="28"/>
                    <a:pt x="5" y="25"/>
                  </a:cubicBezTo>
                  <a:cubicBezTo>
                    <a:pt x="0" y="22"/>
                    <a:pt x="5" y="23"/>
                    <a:pt x="6" y="20"/>
                  </a:cubicBezTo>
                  <a:cubicBezTo>
                    <a:pt x="8" y="19"/>
                    <a:pt x="3" y="17"/>
                    <a:pt x="5" y="14"/>
                  </a:cubicBezTo>
                  <a:cubicBezTo>
                    <a:pt x="6" y="14"/>
                    <a:pt x="6" y="14"/>
                    <a:pt x="9" y="14"/>
                  </a:cubicBezTo>
                  <a:cubicBezTo>
                    <a:pt x="11" y="12"/>
                    <a:pt x="11" y="14"/>
                    <a:pt x="14" y="12"/>
                  </a:cubicBezTo>
                  <a:cubicBezTo>
                    <a:pt x="17" y="9"/>
                    <a:pt x="14" y="9"/>
                    <a:pt x="15" y="9"/>
                  </a:cubicBezTo>
                  <a:cubicBezTo>
                    <a:pt x="15" y="8"/>
                    <a:pt x="17" y="6"/>
                    <a:pt x="17" y="8"/>
                  </a:cubicBezTo>
                  <a:cubicBezTo>
                    <a:pt x="17" y="8"/>
                    <a:pt x="17" y="9"/>
                    <a:pt x="19" y="11"/>
                  </a:cubicBezTo>
                  <a:cubicBezTo>
                    <a:pt x="20" y="12"/>
                    <a:pt x="20" y="15"/>
                    <a:pt x="22" y="14"/>
                  </a:cubicBezTo>
                  <a:cubicBezTo>
                    <a:pt x="23" y="14"/>
                    <a:pt x="20" y="12"/>
                    <a:pt x="23" y="11"/>
                  </a:cubicBezTo>
                  <a:cubicBezTo>
                    <a:pt x="25" y="9"/>
                    <a:pt x="23" y="6"/>
                    <a:pt x="25" y="6"/>
                  </a:cubicBezTo>
                  <a:cubicBezTo>
                    <a:pt x="26" y="6"/>
                    <a:pt x="26" y="9"/>
                    <a:pt x="28" y="9"/>
                  </a:cubicBezTo>
                  <a:cubicBezTo>
                    <a:pt x="29" y="8"/>
                    <a:pt x="29" y="11"/>
                    <a:pt x="31" y="9"/>
                  </a:cubicBezTo>
                  <a:cubicBezTo>
                    <a:pt x="32" y="9"/>
                    <a:pt x="29" y="6"/>
                    <a:pt x="31" y="6"/>
                  </a:cubicBezTo>
                  <a:cubicBezTo>
                    <a:pt x="31" y="5"/>
                    <a:pt x="32" y="8"/>
                    <a:pt x="34" y="6"/>
                  </a:cubicBezTo>
                  <a:cubicBezTo>
                    <a:pt x="34" y="6"/>
                    <a:pt x="32" y="5"/>
                    <a:pt x="34" y="1"/>
                  </a:cubicBezTo>
                  <a:cubicBezTo>
                    <a:pt x="35" y="1"/>
                    <a:pt x="35" y="5"/>
                    <a:pt x="37" y="3"/>
                  </a:cubicBezTo>
                  <a:cubicBezTo>
                    <a:pt x="38" y="3"/>
                    <a:pt x="38" y="1"/>
                    <a:pt x="40" y="1"/>
                  </a:cubicBezTo>
                  <a:cubicBezTo>
                    <a:pt x="41" y="0"/>
                    <a:pt x="41" y="1"/>
                    <a:pt x="44" y="0"/>
                  </a:cubicBezTo>
                  <a:cubicBezTo>
                    <a:pt x="49" y="0"/>
                    <a:pt x="46" y="0"/>
                    <a:pt x="46" y="1"/>
                  </a:cubicBezTo>
                  <a:cubicBezTo>
                    <a:pt x="47" y="1"/>
                    <a:pt x="47" y="1"/>
                    <a:pt x="47" y="3"/>
                  </a:cubicBezTo>
                  <a:cubicBezTo>
                    <a:pt x="47" y="5"/>
                    <a:pt x="50" y="6"/>
                    <a:pt x="58" y="6"/>
                  </a:cubicBezTo>
                  <a:cubicBezTo>
                    <a:pt x="58" y="8"/>
                    <a:pt x="57" y="8"/>
                    <a:pt x="57" y="9"/>
                  </a:cubicBezTo>
                  <a:cubicBezTo>
                    <a:pt x="57" y="11"/>
                    <a:pt x="60" y="9"/>
                    <a:pt x="58" y="11"/>
                  </a:cubicBezTo>
                  <a:cubicBezTo>
                    <a:pt x="57" y="12"/>
                    <a:pt x="57" y="14"/>
                    <a:pt x="58" y="14"/>
                  </a:cubicBezTo>
                  <a:cubicBezTo>
                    <a:pt x="60" y="15"/>
                    <a:pt x="61" y="17"/>
                    <a:pt x="58" y="17"/>
                  </a:cubicBezTo>
                  <a:cubicBezTo>
                    <a:pt x="58" y="17"/>
                    <a:pt x="60" y="15"/>
                    <a:pt x="57" y="15"/>
                  </a:cubicBezTo>
                  <a:close/>
                  <a:moveTo>
                    <a:pt x="54" y="107"/>
                  </a:moveTo>
                  <a:cubicBezTo>
                    <a:pt x="55" y="109"/>
                    <a:pt x="58" y="112"/>
                    <a:pt x="61" y="112"/>
                  </a:cubicBezTo>
                  <a:cubicBezTo>
                    <a:pt x="64" y="112"/>
                    <a:pt x="64" y="115"/>
                    <a:pt x="67" y="115"/>
                  </a:cubicBezTo>
                  <a:cubicBezTo>
                    <a:pt x="70" y="116"/>
                    <a:pt x="70" y="118"/>
                    <a:pt x="70" y="115"/>
                  </a:cubicBezTo>
                  <a:cubicBezTo>
                    <a:pt x="70" y="113"/>
                    <a:pt x="72" y="110"/>
                    <a:pt x="70" y="109"/>
                  </a:cubicBezTo>
                  <a:cubicBezTo>
                    <a:pt x="69" y="109"/>
                    <a:pt x="73" y="101"/>
                    <a:pt x="73" y="99"/>
                  </a:cubicBezTo>
                  <a:cubicBezTo>
                    <a:pt x="75" y="98"/>
                    <a:pt x="70" y="101"/>
                    <a:pt x="69" y="101"/>
                  </a:cubicBezTo>
                  <a:cubicBezTo>
                    <a:pt x="66" y="99"/>
                    <a:pt x="61" y="104"/>
                    <a:pt x="57" y="101"/>
                  </a:cubicBezTo>
                  <a:cubicBezTo>
                    <a:pt x="54" y="96"/>
                    <a:pt x="54" y="104"/>
                    <a:pt x="52" y="101"/>
                  </a:cubicBezTo>
                  <a:cubicBezTo>
                    <a:pt x="50" y="99"/>
                    <a:pt x="49" y="101"/>
                    <a:pt x="49" y="104"/>
                  </a:cubicBezTo>
                  <a:cubicBezTo>
                    <a:pt x="49" y="107"/>
                    <a:pt x="50" y="107"/>
                    <a:pt x="54" y="107"/>
                  </a:cubicBezTo>
                  <a:close/>
                  <a:moveTo>
                    <a:pt x="17" y="79"/>
                  </a:moveTo>
                  <a:cubicBezTo>
                    <a:pt x="17" y="82"/>
                    <a:pt x="19" y="81"/>
                    <a:pt x="17" y="84"/>
                  </a:cubicBezTo>
                  <a:cubicBezTo>
                    <a:pt x="15" y="88"/>
                    <a:pt x="17" y="93"/>
                    <a:pt x="20" y="92"/>
                  </a:cubicBezTo>
                  <a:cubicBezTo>
                    <a:pt x="23" y="92"/>
                    <a:pt x="22" y="88"/>
                    <a:pt x="23" y="90"/>
                  </a:cubicBezTo>
                  <a:cubicBezTo>
                    <a:pt x="26" y="90"/>
                    <a:pt x="26" y="90"/>
                    <a:pt x="28" y="84"/>
                  </a:cubicBezTo>
                  <a:cubicBezTo>
                    <a:pt x="28" y="78"/>
                    <a:pt x="25" y="78"/>
                    <a:pt x="28" y="76"/>
                  </a:cubicBezTo>
                  <a:cubicBezTo>
                    <a:pt x="29" y="75"/>
                    <a:pt x="28" y="70"/>
                    <a:pt x="26" y="68"/>
                  </a:cubicBezTo>
                  <a:cubicBezTo>
                    <a:pt x="25" y="67"/>
                    <a:pt x="25" y="65"/>
                    <a:pt x="20" y="70"/>
                  </a:cubicBezTo>
                  <a:cubicBezTo>
                    <a:pt x="15" y="73"/>
                    <a:pt x="14" y="67"/>
                    <a:pt x="14" y="71"/>
                  </a:cubicBezTo>
                  <a:cubicBezTo>
                    <a:pt x="14" y="75"/>
                    <a:pt x="17" y="75"/>
                    <a:pt x="17" y="7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5" name="Freeform 171"/>
            <p:cNvSpPr>
              <a:spLocks/>
            </p:cNvSpPr>
            <p:nvPr/>
          </p:nvSpPr>
          <p:spPr bwMode="auto">
            <a:xfrm>
              <a:off x="5656147" y="3195951"/>
              <a:ext cx="96088" cy="70946"/>
            </a:xfrm>
            <a:custGeom>
              <a:avLst/>
              <a:gdLst/>
              <a:ahLst/>
              <a:cxnLst>
                <a:cxn ang="0">
                  <a:pos x="30" y="5"/>
                </a:cxn>
                <a:cxn ang="0">
                  <a:pos x="30" y="10"/>
                </a:cxn>
                <a:cxn ang="0">
                  <a:pos x="35" y="13"/>
                </a:cxn>
                <a:cxn ang="0">
                  <a:pos x="38" y="11"/>
                </a:cxn>
                <a:cxn ang="0">
                  <a:pos x="38" y="16"/>
                </a:cxn>
                <a:cxn ang="0">
                  <a:pos x="35" y="16"/>
                </a:cxn>
                <a:cxn ang="0">
                  <a:pos x="35" y="19"/>
                </a:cxn>
                <a:cxn ang="0">
                  <a:pos x="32" y="19"/>
                </a:cxn>
                <a:cxn ang="0">
                  <a:pos x="29" y="16"/>
                </a:cxn>
                <a:cxn ang="0">
                  <a:pos x="27" y="21"/>
                </a:cxn>
                <a:cxn ang="0">
                  <a:pos x="26" y="24"/>
                </a:cxn>
                <a:cxn ang="0">
                  <a:pos x="23" y="21"/>
                </a:cxn>
                <a:cxn ang="0">
                  <a:pos x="21" y="18"/>
                </a:cxn>
                <a:cxn ang="0">
                  <a:pos x="19" y="19"/>
                </a:cxn>
                <a:cxn ang="0">
                  <a:pos x="18" y="22"/>
                </a:cxn>
                <a:cxn ang="0">
                  <a:pos x="13" y="24"/>
                </a:cxn>
                <a:cxn ang="0">
                  <a:pos x="9" y="24"/>
                </a:cxn>
                <a:cxn ang="0">
                  <a:pos x="7" y="21"/>
                </a:cxn>
                <a:cxn ang="0">
                  <a:pos x="6" y="18"/>
                </a:cxn>
                <a:cxn ang="0">
                  <a:pos x="3" y="21"/>
                </a:cxn>
                <a:cxn ang="0">
                  <a:pos x="3" y="19"/>
                </a:cxn>
                <a:cxn ang="0">
                  <a:pos x="4" y="14"/>
                </a:cxn>
                <a:cxn ang="0">
                  <a:pos x="6" y="11"/>
                </a:cxn>
                <a:cxn ang="0">
                  <a:pos x="9" y="8"/>
                </a:cxn>
                <a:cxn ang="0">
                  <a:pos x="10" y="5"/>
                </a:cxn>
                <a:cxn ang="0">
                  <a:pos x="13" y="4"/>
                </a:cxn>
                <a:cxn ang="0">
                  <a:pos x="19" y="4"/>
                </a:cxn>
                <a:cxn ang="0">
                  <a:pos x="23" y="2"/>
                </a:cxn>
                <a:cxn ang="0">
                  <a:pos x="26" y="4"/>
                </a:cxn>
                <a:cxn ang="0">
                  <a:pos x="30" y="5"/>
                </a:cxn>
              </a:cxnLst>
              <a:rect l="0" t="0" r="r" b="b"/>
              <a:pathLst>
                <a:path w="38" h="25">
                  <a:moveTo>
                    <a:pt x="30" y="5"/>
                  </a:moveTo>
                  <a:cubicBezTo>
                    <a:pt x="32" y="7"/>
                    <a:pt x="27" y="11"/>
                    <a:pt x="30" y="10"/>
                  </a:cubicBezTo>
                  <a:cubicBezTo>
                    <a:pt x="35" y="10"/>
                    <a:pt x="32" y="13"/>
                    <a:pt x="35" y="13"/>
                  </a:cubicBezTo>
                  <a:cubicBezTo>
                    <a:pt x="36" y="13"/>
                    <a:pt x="36" y="8"/>
                    <a:pt x="38" y="11"/>
                  </a:cubicBezTo>
                  <a:cubicBezTo>
                    <a:pt x="36" y="14"/>
                    <a:pt x="38" y="16"/>
                    <a:pt x="38" y="16"/>
                  </a:cubicBezTo>
                  <a:cubicBezTo>
                    <a:pt x="36" y="18"/>
                    <a:pt x="35" y="14"/>
                    <a:pt x="35" y="16"/>
                  </a:cubicBezTo>
                  <a:cubicBezTo>
                    <a:pt x="33" y="16"/>
                    <a:pt x="36" y="19"/>
                    <a:pt x="35" y="19"/>
                  </a:cubicBezTo>
                  <a:cubicBezTo>
                    <a:pt x="33" y="21"/>
                    <a:pt x="33" y="18"/>
                    <a:pt x="32" y="19"/>
                  </a:cubicBezTo>
                  <a:cubicBezTo>
                    <a:pt x="30" y="19"/>
                    <a:pt x="30" y="16"/>
                    <a:pt x="29" y="16"/>
                  </a:cubicBezTo>
                  <a:cubicBezTo>
                    <a:pt x="27" y="16"/>
                    <a:pt x="29" y="19"/>
                    <a:pt x="27" y="21"/>
                  </a:cubicBezTo>
                  <a:cubicBezTo>
                    <a:pt x="24" y="22"/>
                    <a:pt x="27" y="24"/>
                    <a:pt x="26" y="24"/>
                  </a:cubicBezTo>
                  <a:cubicBezTo>
                    <a:pt x="24" y="25"/>
                    <a:pt x="24" y="22"/>
                    <a:pt x="23" y="21"/>
                  </a:cubicBezTo>
                  <a:cubicBezTo>
                    <a:pt x="21" y="19"/>
                    <a:pt x="21" y="18"/>
                    <a:pt x="21" y="18"/>
                  </a:cubicBezTo>
                  <a:cubicBezTo>
                    <a:pt x="21" y="16"/>
                    <a:pt x="19" y="18"/>
                    <a:pt x="19" y="19"/>
                  </a:cubicBezTo>
                  <a:cubicBezTo>
                    <a:pt x="18" y="19"/>
                    <a:pt x="21" y="19"/>
                    <a:pt x="18" y="22"/>
                  </a:cubicBezTo>
                  <a:cubicBezTo>
                    <a:pt x="15" y="24"/>
                    <a:pt x="15" y="22"/>
                    <a:pt x="13" y="24"/>
                  </a:cubicBezTo>
                  <a:cubicBezTo>
                    <a:pt x="10" y="24"/>
                    <a:pt x="10" y="24"/>
                    <a:pt x="9" y="24"/>
                  </a:cubicBezTo>
                  <a:cubicBezTo>
                    <a:pt x="9" y="21"/>
                    <a:pt x="7" y="21"/>
                    <a:pt x="7" y="21"/>
                  </a:cubicBezTo>
                  <a:cubicBezTo>
                    <a:pt x="7" y="19"/>
                    <a:pt x="9" y="16"/>
                    <a:pt x="6" y="18"/>
                  </a:cubicBezTo>
                  <a:cubicBezTo>
                    <a:pt x="3" y="18"/>
                    <a:pt x="6" y="19"/>
                    <a:pt x="3" y="21"/>
                  </a:cubicBezTo>
                  <a:cubicBezTo>
                    <a:pt x="1" y="21"/>
                    <a:pt x="0" y="21"/>
                    <a:pt x="3" y="19"/>
                  </a:cubicBezTo>
                  <a:cubicBezTo>
                    <a:pt x="4" y="18"/>
                    <a:pt x="1" y="16"/>
                    <a:pt x="4" y="14"/>
                  </a:cubicBezTo>
                  <a:cubicBezTo>
                    <a:pt x="7" y="13"/>
                    <a:pt x="4" y="11"/>
                    <a:pt x="6" y="11"/>
                  </a:cubicBezTo>
                  <a:cubicBezTo>
                    <a:pt x="9" y="10"/>
                    <a:pt x="7" y="8"/>
                    <a:pt x="9" y="8"/>
                  </a:cubicBezTo>
                  <a:cubicBezTo>
                    <a:pt x="10" y="7"/>
                    <a:pt x="9" y="7"/>
                    <a:pt x="10" y="5"/>
                  </a:cubicBezTo>
                  <a:cubicBezTo>
                    <a:pt x="10" y="4"/>
                    <a:pt x="12" y="7"/>
                    <a:pt x="13" y="4"/>
                  </a:cubicBezTo>
                  <a:cubicBezTo>
                    <a:pt x="16" y="5"/>
                    <a:pt x="16" y="4"/>
                    <a:pt x="19" y="4"/>
                  </a:cubicBezTo>
                  <a:cubicBezTo>
                    <a:pt x="23" y="4"/>
                    <a:pt x="19" y="2"/>
                    <a:pt x="23" y="2"/>
                  </a:cubicBezTo>
                  <a:cubicBezTo>
                    <a:pt x="24" y="0"/>
                    <a:pt x="24" y="4"/>
                    <a:pt x="26" y="4"/>
                  </a:cubicBezTo>
                  <a:cubicBezTo>
                    <a:pt x="27" y="2"/>
                    <a:pt x="29" y="4"/>
                    <a:pt x="30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6" name="Freeform 172"/>
            <p:cNvSpPr>
              <a:spLocks/>
            </p:cNvSpPr>
            <p:nvPr/>
          </p:nvSpPr>
          <p:spPr bwMode="auto">
            <a:xfrm>
              <a:off x="5724593" y="3153964"/>
              <a:ext cx="163218" cy="95559"/>
            </a:xfrm>
            <a:custGeom>
              <a:avLst/>
              <a:gdLst/>
              <a:ahLst/>
              <a:cxnLst>
                <a:cxn ang="0">
                  <a:pos x="3" y="20"/>
                </a:cxn>
                <a:cxn ang="0">
                  <a:pos x="9" y="22"/>
                </a:cxn>
                <a:cxn ang="0">
                  <a:pos x="10" y="19"/>
                </a:cxn>
                <a:cxn ang="0">
                  <a:pos x="13" y="20"/>
                </a:cxn>
                <a:cxn ang="0">
                  <a:pos x="20" y="19"/>
                </a:cxn>
                <a:cxn ang="0">
                  <a:pos x="24" y="17"/>
                </a:cxn>
                <a:cxn ang="0">
                  <a:pos x="27" y="19"/>
                </a:cxn>
                <a:cxn ang="0">
                  <a:pos x="30" y="20"/>
                </a:cxn>
                <a:cxn ang="0">
                  <a:pos x="30" y="16"/>
                </a:cxn>
                <a:cxn ang="0">
                  <a:pos x="29" y="11"/>
                </a:cxn>
                <a:cxn ang="0">
                  <a:pos x="33" y="10"/>
                </a:cxn>
                <a:cxn ang="0">
                  <a:pos x="37" y="5"/>
                </a:cxn>
                <a:cxn ang="0">
                  <a:pos x="40" y="8"/>
                </a:cxn>
                <a:cxn ang="0">
                  <a:pos x="46" y="4"/>
                </a:cxn>
                <a:cxn ang="0">
                  <a:pos x="49" y="4"/>
                </a:cxn>
                <a:cxn ang="0">
                  <a:pos x="56" y="5"/>
                </a:cxn>
                <a:cxn ang="0">
                  <a:pos x="63" y="7"/>
                </a:cxn>
                <a:cxn ang="0">
                  <a:pos x="63" y="14"/>
                </a:cxn>
                <a:cxn ang="0">
                  <a:pos x="63" y="17"/>
                </a:cxn>
                <a:cxn ang="0">
                  <a:pos x="58" y="17"/>
                </a:cxn>
                <a:cxn ang="0">
                  <a:pos x="60" y="20"/>
                </a:cxn>
                <a:cxn ang="0">
                  <a:pos x="58" y="22"/>
                </a:cxn>
                <a:cxn ang="0">
                  <a:pos x="58" y="25"/>
                </a:cxn>
                <a:cxn ang="0">
                  <a:pos x="55" y="27"/>
                </a:cxn>
                <a:cxn ang="0">
                  <a:pos x="55" y="28"/>
                </a:cxn>
                <a:cxn ang="0">
                  <a:pos x="52" y="30"/>
                </a:cxn>
                <a:cxn ang="0">
                  <a:pos x="49" y="30"/>
                </a:cxn>
                <a:cxn ang="0">
                  <a:pos x="44" y="33"/>
                </a:cxn>
                <a:cxn ang="0">
                  <a:pos x="41" y="33"/>
                </a:cxn>
                <a:cxn ang="0">
                  <a:pos x="35" y="31"/>
                </a:cxn>
                <a:cxn ang="0">
                  <a:pos x="24" y="28"/>
                </a:cxn>
                <a:cxn ang="0">
                  <a:pos x="23" y="27"/>
                </a:cxn>
                <a:cxn ang="0">
                  <a:pos x="21" y="25"/>
                </a:cxn>
                <a:cxn ang="0">
                  <a:pos x="17" y="27"/>
                </a:cxn>
                <a:cxn ang="0">
                  <a:pos x="13" y="28"/>
                </a:cxn>
                <a:cxn ang="0">
                  <a:pos x="10" y="27"/>
                </a:cxn>
                <a:cxn ang="0">
                  <a:pos x="7" y="28"/>
                </a:cxn>
                <a:cxn ang="0">
                  <a:pos x="3" y="25"/>
                </a:cxn>
                <a:cxn ang="0">
                  <a:pos x="3" y="20"/>
                </a:cxn>
              </a:cxnLst>
              <a:rect l="0" t="0" r="r" b="b"/>
              <a:pathLst>
                <a:path w="64" h="34">
                  <a:moveTo>
                    <a:pt x="3" y="20"/>
                  </a:moveTo>
                  <a:cubicBezTo>
                    <a:pt x="6" y="17"/>
                    <a:pt x="7" y="22"/>
                    <a:pt x="9" y="22"/>
                  </a:cubicBezTo>
                  <a:cubicBezTo>
                    <a:pt x="10" y="22"/>
                    <a:pt x="9" y="19"/>
                    <a:pt x="10" y="19"/>
                  </a:cubicBezTo>
                  <a:cubicBezTo>
                    <a:pt x="12" y="20"/>
                    <a:pt x="13" y="19"/>
                    <a:pt x="13" y="20"/>
                  </a:cubicBezTo>
                  <a:cubicBezTo>
                    <a:pt x="15" y="22"/>
                    <a:pt x="17" y="20"/>
                    <a:pt x="20" y="19"/>
                  </a:cubicBezTo>
                  <a:cubicBezTo>
                    <a:pt x="21" y="17"/>
                    <a:pt x="23" y="20"/>
                    <a:pt x="24" y="17"/>
                  </a:cubicBezTo>
                  <a:cubicBezTo>
                    <a:pt x="24" y="16"/>
                    <a:pt x="26" y="19"/>
                    <a:pt x="27" y="19"/>
                  </a:cubicBezTo>
                  <a:cubicBezTo>
                    <a:pt x="29" y="17"/>
                    <a:pt x="29" y="22"/>
                    <a:pt x="30" y="20"/>
                  </a:cubicBezTo>
                  <a:cubicBezTo>
                    <a:pt x="32" y="19"/>
                    <a:pt x="27" y="17"/>
                    <a:pt x="30" y="16"/>
                  </a:cubicBezTo>
                  <a:cubicBezTo>
                    <a:pt x="32" y="16"/>
                    <a:pt x="27" y="14"/>
                    <a:pt x="29" y="11"/>
                  </a:cubicBezTo>
                  <a:cubicBezTo>
                    <a:pt x="32" y="10"/>
                    <a:pt x="33" y="11"/>
                    <a:pt x="33" y="10"/>
                  </a:cubicBezTo>
                  <a:cubicBezTo>
                    <a:pt x="33" y="7"/>
                    <a:pt x="37" y="10"/>
                    <a:pt x="37" y="5"/>
                  </a:cubicBezTo>
                  <a:cubicBezTo>
                    <a:pt x="40" y="7"/>
                    <a:pt x="37" y="8"/>
                    <a:pt x="40" y="8"/>
                  </a:cubicBezTo>
                  <a:cubicBezTo>
                    <a:pt x="43" y="7"/>
                    <a:pt x="46" y="7"/>
                    <a:pt x="46" y="4"/>
                  </a:cubicBezTo>
                  <a:cubicBezTo>
                    <a:pt x="46" y="0"/>
                    <a:pt x="47" y="4"/>
                    <a:pt x="49" y="4"/>
                  </a:cubicBezTo>
                  <a:cubicBezTo>
                    <a:pt x="50" y="4"/>
                    <a:pt x="55" y="7"/>
                    <a:pt x="56" y="5"/>
                  </a:cubicBezTo>
                  <a:cubicBezTo>
                    <a:pt x="60" y="4"/>
                    <a:pt x="61" y="7"/>
                    <a:pt x="63" y="7"/>
                  </a:cubicBezTo>
                  <a:cubicBezTo>
                    <a:pt x="61" y="10"/>
                    <a:pt x="60" y="10"/>
                    <a:pt x="63" y="14"/>
                  </a:cubicBezTo>
                  <a:cubicBezTo>
                    <a:pt x="63" y="16"/>
                    <a:pt x="64" y="17"/>
                    <a:pt x="63" y="17"/>
                  </a:cubicBezTo>
                  <a:cubicBezTo>
                    <a:pt x="61" y="17"/>
                    <a:pt x="58" y="17"/>
                    <a:pt x="58" y="17"/>
                  </a:cubicBezTo>
                  <a:cubicBezTo>
                    <a:pt x="58" y="19"/>
                    <a:pt x="60" y="19"/>
                    <a:pt x="60" y="20"/>
                  </a:cubicBezTo>
                  <a:cubicBezTo>
                    <a:pt x="60" y="22"/>
                    <a:pt x="58" y="20"/>
                    <a:pt x="58" y="22"/>
                  </a:cubicBezTo>
                  <a:cubicBezTo>
                    <a:pt x="58" y="25"/>
                    <a:pt x="58" y="25"/>
                    <a:pt x="58" y="25"/>
                  </a:cubicBezTo>
                  <a:cubicBezTo>
                    <a:pt x="58" y="25"/>
                    <a:pt x="56" y="27"/>
                    <a:pt x="55" y="27"/>
                  </a:cubicBezTo>
                  <a:cubicBezTo>
                    <a:pt x="55" y="28"/>
                    <a:pt x="53" y="27"/>
                    <a:pt x="55" y="28"/>
                  </a:cubicBezTo>
                  <a:cubicBezTo>
                    <a:pt x="55" y="30"/>
                    <a:pt x="55" y="30"/>
                    <a:pt x="52" y="30"/>
                  </a:cubicBezTo>
                  <a:cubicBezTo>
                    <a:pt x="50" y="30"/>
                    <a:pt x="52" y="31"/>
                    <a:pt x="49" y="30"/>
                  </a:cubicBezTo>
                  <a:cubicBezTo>
                    <a:pt x="46" y="30"/>
                    <a:pt x="46" y="30"/>
                    <a:pt x="44" y="33"/>
                  </a:cubicBezTo>
                  <a:cubicBezTo>
                    <a:pt x="41" y="34"/>
                    <a:pt x="43" y="31"/>
                    <a:pt x="41" y="33"/>
                  </a:cubicBezTo>
                  <a:cubicBezTo>
                    <a:pt x="38" y="33"/>
                    <a:pt x="40" y="31"/>
                    <a:pt x="35" y="31"/>
                  </a:cubicBezTo>
                  <a:cubicBezTo>
                    <a:pt x="27" y="31"/>
                    <a:pt x="24" y="30"/>
                    <a:pt x="24" y="28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5"/>
                    <a:pt x="26" y="25"/>
                    <a:pt x="21" y="25"/>
                  </a:cubicBezTo>
                  <a:cubicBezTo>
                    <a:pt x="18" y="27"/>
                    <a:pt x="18" y="25"/>
                    <a:pt x="17" y="27"/>
                  </a:cubicBezTo>
                  <a:cubicBezTo>
                    <a:pt x="15" y="27"/>
                    <a:pt x="15" y="28"/>
                    <a:pt x="13" y="28"/>
                  </a:cubicBezTo>
                  <a:cubicBezTo>
                    <a:pt x="12" y="30"/>
                    <a:pt x="12" y="27"/>
                    <a:pt x="10" y="27"/>
                  </a:cubicBezTo>
                  <a:cubicBezTo>
                    <a:pt x="9" y="24"/>
                    <a:pt x="9" y="28"/>
                    <a:pt x="7" y="28"/>
                  </a:cubicBezTo>
                  <a:cubicBezTo>
                    <a:pt x="4" y="28"/>
                    <a:pt x="7" y="25"/>
                    <a:pt x="3" y="25"/>
                  </a:cubicBezTo>
                  <a:cubicBezTo>
                    <a:pt x="0" y="27"/>
                    <a:pt x="4" y="22"/>
                    <a:pt x="3" y="2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7" name="Freeform 173"/>
            <p:cNvSpPr>
              <a:spLocks/>
            </p:cNvSpPr>
            <p:nvPr/>
          </p:nvSpPr>
          <p:spPr bwMode="auto">
            <a:xfrm>
              <a:off x="5783825" y="3090256"/>
              <a:ext cx="134260" cy="86872"/>
            </a:xfrm>
            <a:custGeom>
              <a:avLst/>
              <a:gdLst/>
              <a:ahLst/>
              <a:cxnLst>
                <a:cxn ang="0">
                  <a:pos x="13" y="28"/>
                </a:cxn>
                <a:cxn ang="0">
                  <a:pos x="17" y="31"/>
                </a:cxn>
                <a:cxn ang="0">
                  <a:pos x="23" y="26"/>
                </a:cxn>
                <a:cxn ang="0">
                  <a:pos x="26" y="26"/>
                </a:cxn>
                <a:cxn ang="0">
                  <a:pos x="33" y="28"/>
                </a:cxn>
                <a:cxn ang="0">
                  <a:pos x="39" y="29"/>
                </a:cxn>
                <a:cxn ang="0">
                  <a:pos x="46" y="26"/>
                </a:cxn>
                <a:cxn ang="0">
                  <a:pos x="53" y="20"/>
                </a:cxn>
                <a:cxn ang="0">
                  <a:pos x="49" y="14"/>
                </a:cxn>
                <a:cxn ang="0">
                  <a:pos x="44" y="12"/>
                </a:cxn>
                <a:cxn ang="0">
                  <a:pos x="42" y="11"/>
                </a:cxn>
                <a:cxn ang="0">
                  <a:pos x="38" y="9"/>
                </a:cxn>
                <a:cxn ang="0">
                  <a:pos x="35" y="11"/>
                </a:cxn>
                <a:cxn ang="0">
                  <a:pos x="35" y="6"/>
                </a:cxn>
                <a:cxn ang="0">
                  <a:pos x="29" y="5"/>
                </a:cxn>
                <a:cxn ang="0">
                  <a:pos x="23" y="3"/>
                </a:cxn>
                <a:cxn ang="0">
                  <a:pos x="18" y="1"/>
                </a:cxn>
                <a:cxn ang="0">
                  <a:pos x="15" y="5"/>
                </a:cxn>
                <a:cxn ang="0">
                  <a:pos x="4" y="9"/>
                </a:cxn>
                <a:cxn ang="0">
                  <a:pos x="1" y="14"/>
                </a:cxn>
                <a:cxn ang="0">
                  <a:pos x="6" y="20"/>
                </a:cxn>
                <a:cxn ang="0">
                  <a:pos x="13" y="28"/>
                </a:cxn>
              </a:cxnLst>
              <a:rect l="0" t="0" r="r" b="b"/>
              <a:pathLst>
                <a:path w="53" h="31">
                  <a:moveTo>
                    <a:pt x="13" y="28"/>
                  </a:moveTo>
                  <a:cubicBezTo>
                    <a:pt x="17" y="29"/>
                    <a:pt x="13" y="31"/>
                    <a:pt x="17" y="31"/>
                  </a:cubicBezTo>
                  <a:cubicBezTo>
                    <a:pt x="20" y="29"/>
                    <a:pt x="23" y="29"/>
                    <a:pt x="23" y="26"/>
                  </a:cubicBezTo>
                  <a:cubicBezTo>
                    <a:pt x="23" y="23"/>
                    <a:pt x="24" y="26"/>
                    <a:pt x="26" y="26"/>
                  </a:cubicBezTo>
                  <a:cubicBezTo>
                    <a:pt x="27" y="26"/>
                    <a:pt x="32" y="29"/>
                    <a:pt x="33" y="28"/>
                  </a:cubicBezTo>
                  <a:cubicBezTo>
                    <a:pt x="36" y="26"/>
                    <a:pt x="38" y="29"/>
                    <a:pt x="39" y="29"/>
                  </a:cubicBezTo>
                  <a:cubicBezTo>
                    <a:pt x="41" y="25"/>
                    <a:pt x="42" y="28"/>
                    <a:pt x="46" y="26"/>
                  </a:cubicBezTo>
                  <a:cubicBezTo>
                    <a:pt x="50" y="25"/>
                    <a:pt x="46" y="23"/>
                    <a:pt x="53" y="20"/>
                  </a:cubicBezTo>
                  <a:cubicBezTo>
                    <a:pt x="53" y="17"/>
                    <a:pt x="52" y="15"/>
                    <a:pt x="49" y="14"/>
                  </a:cubicBezTo>
                  <a:cubicBezTo>
                    <a:pt x="46" y="12"/>
                    <a:pt x="47" y="14"/>
                    <a:pt x="44" y="12"/>
                  </a:cubicBezTo>
                  <a:cubicBezTo>
                    <a:pt x="42" y="11"/>
                    <a:pt x="46" y="11"/>
                    <a:pt x="42" y="11"/>
                  </a:cubicBezTo>
                  <a:cubicBezTo>
                    <a:pt x="39" y="9"/>
                    <a:pt x="36" y="8"/>
                    <a:pt x="38" y="9"/>
                  </a:cubicBezTo>
                  <a:cubicBezTo>
                    <a:pt x="39" y="11"/>
                    <a:pt x="38" y="14"/>
                    <a:pt x="35" y="11"/>
                  </a:cubicBezTo>
                  <a:cubicBezTo>
                    <a:pt x="30" y="6"/>
                    <a:pt x="35" y="8"/>
                    <a:pt x="35" y="6"/>
                  </a:cubicBezTo>
                  <a:cubicBezTo>
                    <a:pt x="33" y="5"/>
                    <a:pt x="33" y="6"/>
                    <a:pt x="29" y="5"/>
                  </a:cubicBezTo>
                  <a:cubicBezTo>
                    <a:pt x="23" y="1"/>
                    <a:pt x="26" y="0"/>
                    <a:pt x="23" y="3"/>
                  </a:cubicBezTo>
                  <a:cubicBezTo>
                    <a:pt x="20" y="5"/>
                    <a:pt x="18" y="1"/>
                    <a:pt x="18" y="1"/>
                  </a:cubicBezTo>
                  <a:cubicBezTo>
                    <a:pt x="17" y="1"/>
                    <a:pt x="20" y="3"/>
                    <a:pt x="15" y="5"/>
                  </a:cubicBezTo>
                  <a:cubicBezTo>
                    <a:pt x="10" y="5"/>
                    <a:pt x="9" y="8"/>
                    <a:pt x="4" y="9"/>
                  </a:cubicBezTo>
                  <a:cubicBezTo>
                    <a:pt x="1" y="11"/>
                    <a:pt x="0" y="11"/>
                    <a:pt x="1" y="14"/>
                  </a:cubicBezTo>
                  <a:cubicBezTo>
                    <a:pt x="4" y="17"/>
                    <a:pt x="0" y="19"/>
                    <a:pt x="6" y="20"/>
                  </a:cubicBezTo>
                  <a:cubicBezTo>
                    <a:pt x="9" y="22"/>
                    <a:pt x="9" y="25"/>
                    <a:pt x="13" y="2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8" name="Freeform 174"/>
            <p:cNvSpPr>
              <a:spLocks/>
            </p:cNvSpPr>
            <p:nvPr/>
          </p:nvSpPr>
          <p:spPr bwMode="auto">
            <a:xfrm>
              <a:off x="5990480" y="3314677"/>
              <a:ext cx="127678" cy="101351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4" y="27"/>
                </a:cxn>
                <a:cxn ang="0">
                  <a:pos x="6" y="33"/>
                </a:cxn>
                <a:cxn ang="0">
                  <a:pos x="10" y="33"/>
                </a:cxn>
                <a:cxn ang="0">
                  <a:pos x="16" y="31"/>
                </a:cxn>
                <a:cxn ang="0">
                  <a:pos x="19" y="31"/>
                </a:cxn>
                <a:cxn ang="0">
                  <a:pos x="23" y="33"/>
                </a:cxn>
                <a:cxn ang="0">
                  <a:pos x="29" y="33"/>
                </a:cxn>
                <a:cxn ang="0">
                  <a:pos x="32" y="28"/>
                </a:cxn>
                <a:cxn ang="0">
                  <a:pos x="35" y="27"/>
                </a:cxn>
                <a:cxn ang="0">
                  <a:pos x="38" y="25"/>
                </a:cxn>
                <a:cxn ang="0">
                  <a:pos x="42" y="27"/>
                </a:cxn>
                <a:cxn ang="0">
                  <a:pos x="45" y="25"/>
                </a:cxn>
                <a:cxn ang="0">
                  <a:pos x="44" y="22"/>
                </a:cxn>
                <a:cxn ang="0">
                  <a:pos x="42" y="19"/>
                </a:cxn>
                <a:cxn ang="0">
                  <a:pos x="45" y="11"/>
                </a:cxn>
                <a:cxn ang="0">
                  <a:pos x="50" y="7"/>
                </a:cxn>
                <a:cxn ang="0">
                  <a:pos x="45" y="4"/>
                </a:cxn>
                <a:cxn ang="0">
                  <a:pos x="39" y="2"/>
                </a:cxn>
                <a:cxn ang="0">
                  <a:pos x="29" y="5"/>
                </a:cxn>
                <a:cxn ang="0">
                  <a:pos x="19" y="5"/>
                </a:cxn>
                <a:cxn ang="0">
                  <a:pos x="12" y="5"/>
                </a:cxn>
                <a:cxn ang="0">
                  <a:pos x="4" y="5"/>
                </a:cxn>
                <a:cxn ang="0">
                  <a:pos x="3" y="0"/>
                </a:cxn>
                <a:cxn ang="0">
                  <a:pos x="1" y="7"/>
                </a:cxn>
                <a:cxn ang="0">
                  <a:pos x="4" y="14"/>
                </a:cxn>
                <a:cxn ang="0">
                  <a:pos x="1" y="17"/>
                </a:cxn>
                <a:cxn ang="0">
                  <a:pos x="1" y="22"/>
                </a:cxn>
              </a:cxnLst>
              <a:rect l="0" t="0" r="r" b="b"/>
              <a:pathLst>
                <a:path w="50" h="36">
                  <a:moveTo>
                    <a:pt x="1" y="22"/>
                  </a:moveTo>
                  <a:cubicBezTo>
                    <a:pt x="1" y="25"/>
                    <a:pt x="4" y="24"/>
                    <a:pt x="4" y="27"/>
                  </a:cubicBezTo>
                  <a:cubicBezTo>
                    <a:pt x="6" y="30"/>
                    <a:pt x="4" y="31"/>
                    <a:pt x="6" y="33"/>
                  </a:cubicBezTo>
                  <a:cubicBezTo>
                    <a:pt x="7" y="34"/>
                    <a:pt x="6" y="31"/>
                    <a:pt x="10" y="33"/>
                  </a:cubicBezTo>
                  <a:cubicBezTo>
                    <a:pt x="13" y="33"/>
                    <a:pt x="15" y="30"/>
                    <a:pt x="16" y="31"/>
                  </a:cubicBezTo>
                  <a:cubicBezTo>
                    <a:pt x="18" y="31"/>
                    <a:pt x="16" y="28"/>
                    <a:pt x="19" y="31"/>
                  </a:cubicBezTo>
                  <a:cubicBezTo>
                    <a:pt x="21" y="34"/>
                    <a:pt x="21" y="30"/>
                    <a:pt x="23" y="33"/>
                  </a:cubicBezTo>
                  <a:cubicBezTo>
                    <a:pt x="24" y="36"/>
                    <a:pt x="26" y="33"/>
                    <a:pt x="29" y="33"/>
                  </a:cubicBezTo>
                  <a:cubicBezTo>
                    <a:pt x="33" y="33"/>
                    <a:pt x="27" y="27"/>
                    <a:pt x="32" y="28"/>
                  </a:cubicBezTo>
                  <a:cubicBezTo>
                    <a:pt x="32" y="27"/>
                    <a:pt x="33" y="28"/>
                    <a:pt x="35" y="27"/>
                  </a:cubicBezTo>
                  <a:cubicBezTo>
                    <a:pt x="35" y="24"/>
                    <a:pt x="36" y="27"/>
                    <a:pt x="38" y="25"/>
                  </a:cubicBezTo>
                  <a:cubicBezTo>
                    <a:pt x="39" y="24"/>
                    <a:pt x="41" y="27"/>
                    <a:pt x="42" y="27"/>
                  </a:cubicBezTo>
                  <a:cubicBezTo>
                    <a:pt x="44" y="27"/>
                    <a:pt x="44" y="25"/>
                    <a:pt x="45" y="25"/>
                  </a:cubicBezTo>
                  <a:cubicBezTo>
                    <a:pt x="45" y="24"/>
                    <a:pt x="42" y="25"/>
                    <a:pt x="44" y="22"/>
                  </a:cubicBezTo>
                  <a:cubicBezTo>
                    <a:pt x="44" y="19"/>
                    <a:pt x="38" y="22"/>
                    <a:pt x="42" y="19"/>
                  </a:cubicBezTo>
                  <a:cubicBezTo>
                    <a:pt x="47" y="16"/>
                    <a:pt x="42" y="16"/>
                    <a:pt x="45" y="11"/>
                  </a:cubicBezTo>
                  <a:cubicBezTo>
                    <a:pt x="47" y="7"/>
                    <a:pt x="50" y="14"/>
                    <a:pt x="50" y="7"/>
                  </a:cubicBezTo>
                  <a:cubicBezTo>
                    <a:pt x="49" y="5"/>
                    <a:pt x="47" y="7"/>
                    <a:pt x="45" y="4"/>
                  </a:cubicBezTo>
                  <a:cubicBezTo>
                    <a:pt x="42" y="0"/>
                    <a:pt x="41" y="5"/>
                    <a:pt x="39" y="2"/>
                  </a:cubicBezTo>
                  <a:cubicBezTo>
                    <a:pt x="38" y="0"/>
                    <a:pt x="32" y="4"/>
                    <a:pt x="29" y="5"/>
                  </a:cubicBezTo>
                  <a:cubicBezTo>
                    <a:pt x="24" y="8"/>
                    <a:pt x="21" y="7"/>
                    <a:pt x="19" y="5"/>
                  </a:cubicBezTo>
                  <a:cubicBezTo>
                    <a:pt x="16" y="5"/>
                    <a:pt x="15" y="8"/>
                    <a:pt x="12" y="5"/>
                  </a:cubicBezTo>
                  <a:cubicBezTo>
                    <a:pt x="7" y="4"/>
                    <a:pt x="7" y="7"/>
                    <a:pt x="4" y="5"/>
                  </a:cubicBezTo>
                  <a:cubicBezTo>
                    <a:pt x="3" y="4"/>
                    <a:pt x="9" y="4"/>
                    <a:pt x="3" y="0"/>
                  </a:cubicBezTo>
                  <a:cubicBezTo>
                    <a:pt x="3" y="4"/>
                    <a:pt x="0" y="2"/>
                    <a:pt x="1" y="7"/>
                  </a:cubicBezTo>
                  <a:cubicBezTo>
                    <a:pt x="3" y="13"/>
                    <a:pt x="7" y="11"/>
                    <a:pt x="4" y="14"/>
                  </a:cubicBezTo>
                  <a:cubicBezTo>
                    <a:pt x="3" y="17"/>
                    <a:pt x="1" y="14"/>
                    <a:pt x="1" y="17"/>
                  </a:cubicBezTo>
                  <a:cubicBezTo>
                    <a:pt x="1" y="19"/>
                    <a:pt x="4" y="21"/>
                    <a:pt x="1" y="2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89" name="Freeform 175"/>
            <p:cNvSpPr>
              <a:spLocks/>
            </p:cNvSpPr>
            <p:nvPr/>
          </p:nvSpPr>
          <p:spPr bwMode="auto">
            <a:xfrm>
              <a:off x="5918086" y="3255314"/>
              <a:ext cx="89506" cy="134652"/>
            </a:xfrm>
            <a:custGeom>
              <a:avLst/>
              <a:gdLst/>
              <a:ahLst/>
              <a:cxnLst>
                <a:cxn ang="0">
                  <a:pos x="11" y="40"/>
                </a:cxn>
                <a:cxn ang="0">
                  <a:pos x="12" y="43"/>
                </a:cxn>
                <a:cxn ang="0">
                  <a:pos x="14" y="48"/>
                </a:cxn>
                <a:cxn ang="0">
                  <a:pos x="17" y="45"/>
                </a:cxn>
                <a:cxn ang="0">
                  <a:pos x="23" y="43"/>
                </a:cxn>
                <a:cxn ang="0">
                  <a:pos x="29" y="43"/>
                </a:cxn>
                <a:cxn ang="0">
                  <a:pos x="29" y="39"/>
                </a:cxn>
                <a:cxn ang="0">
                  <a:pos x="32" y="36"/>
                </a:cxn>
                <a:cxn ang="0">
                  <a:pos x="29" y="28"/>
                </a:cxn>
                <a:cxn ang="0">
                  <a:pos x="31" y="22"/>
                </a:cxn>
                <a:cxn ang="0">
                  <a:pos x="29" y="17"/>
                </a:cxn>
                <a:cxn ang="0">
                  <a:pos x="26" y="19"/>
                </a:cxn>
                <a:cxn ang="0">
                  <a:pos x="21" y="12"/>
                </a:cxn>
                <a:cxn ang="0">
                  <a:pos x="15" y="6"/>
                </a:cxn>
                <a:cxn ang="0">
                  <a:pos x="12" y="0"/>
                </a:cxn>
                <a:cxn ang="0">
                  <a:pos x="6" y="0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5" y="11"/>
                </a:cxn>
                <a:cxn ang="0">
                  <a:pos x="2" y="14"/>
                </a:cxn>
                <a:cxn ang="0">
                  <a:pos x="3" y="19"/>
                </a:cxn>
                <a:cxn ang="0">
                  <a:pos x="6" y="25"/>
                </a:cxn>
                <a:cxn ang="0">
                  <a:pos x="3" y="25"/>
                </a:cxn>
                <a:cxn ang="0">
                  <a:pos x="6" y="29"/>
                </a:cxn>
                <a:cxn ang="0">
                  <a:pos x="3" y="29"/>
                </a:cxn>
                <a:cxn ang="0">
                  <a:pos x="12" y="37"/>
                </a:cxn>
                <a:cxn ang="0">
                  <a:pos x="9" y="39"/>
                </a:cxn>
                <a:cxn ang="0">
                  <a:pos x="11" y="40"/>
                </a:cxn>
              </a:cxnLst>
              <a:rect l="0" t="0" r="r" b="b"/>
              <a:pathLst>
                <a:path w="35" h="48">
                  <a:moveTo>
                    <a:pt x="11" y="40"/>
                  </a:moveTo>
                  <a:cubicBezTo>
                    <a:pt x="12" y="42"/>
                    <a:pt x="11" y="43"/>
                    <a:pt x="12" y="43"/>
                  </a:cubicBezTo>
                  <a:cubicBezTo>
                    <a:pt x="15" y="45"/>
                    <a:pt x="14" y="46"/>
                    <a:pt x="14" y="48"/>
                  </a:cubicBezTo>
                  <a:cubicBezTo>
                    <a:pt x="17" y="48"/>
                    <a:pt x="14" y="46"/>
                    <a:pt x="17" y="45"/>
                  </a:cubicBezTo>
                  <a:cubicBezTo>
                    <a:pt x="21" y="45"/>
                    <a:pt x="20" y="43"/>
                    <a:pt x="23" y="43"/>
                  </a:cubicBezTo>
                  <a:cubicBezTo>
                    <a:pt x="26" y="45"/>
                    <a:pt x="26" y="42"/>
                    <a:pt x="29" y="43"/>
                  </a:cubicBezTo>
                  <a:cubicBezTo>
                    <a:pt x="32" y="42"/>
                    <a:pt x="29" y="40"/>
                    <a:pt x="29" y="39"/>
                  </a:cubicBezTo>
                  <a:cubicBezTo>
                    <a:pt x="29" y="36"/>
                    <a:pt x="31" y="39"/>
                    <a:pt x="32" y="36"/>
                  </a:cubicBezTo>
                  <a:cubicBezTo>
                    <a:pt x="35" y="32"/>
                    <a:pt x="31" y="34"/>
                    <a:pt x="29" y="28"/>
                  </a:cubicBezTo>
                  <a:cubicBezTo>
                    <a:pt x="28" y="23"/>
                    <a:pt x="31" y="25"/>
                    <a:pt x="31" y="22"/>
                  </a:cubicBezTo>
                  <a:cubicBezTo>
                    <a:pt x="26" y="17"/>
                    <a:pt x="35" y="20"/>
                    <a:pt x="29" y="17"/>
                  </a:cubicBezTo>
                  <a:cubicBezTo>
                    <a:pt x="28" y="15"/>
                    <a:pt x="29" y="19"/>
                    <a:pt x="26" y="19"/>
                  </a:cubicBezTo>
                  <a:cubicBezTo>
                    <a:pt x="21" y="17"/>
                    <a:pt x="20" y="14"/>
                    <a:pt x="21" y="12"/>
                  </a:cubicBezTo>
                  <a:cubicBezTo>
                    <a:pt x="23" y="9"/>
                    <a:pt x="15" y="11"/>
                    <a:pt x="15" y="6"/>
                  </a:cubicBezTo>
                  <a:cubicBezTo>
                    <a:pt x="17" y="3"/>
                    <a:pt x="14" y="3"/>
                    <a:pt x="12" y="0"/>
                  </a:cubicBezTo>
                  <a:cubicBezTo>
                    <a:pt x="9" y="0"/>
                    <a:pt x="8" y="0"/>
                    <a:pt x="6" y="0"/>
                  </a:cubicBezTo>
                  <a:cubicBezTo>
                    <a:pt x="5" y="0"/>
                    <a:pt x="5" y="1"/>
                    <a:pt x="0" y="3"/>
                  </a:cubicBezTo>
                  <a:cubicBezTo>
                    <a:pt x="2" y="5"/>
                    <a:pt x="2" y="8"/>
                    <a:pt x="2" y="9"/>
                  </a:cubicBezTo>
                  <a:cubicBezTo>
                    <a:pt x="5" y="11"/>
                    <a:pt x="6" y="9"/>
                    <a:pt x="5" y="11"/>
                  </a:cubicBezTo>
                  <a:cubicBezTo>
                    <a:pt x="5" y="12"/>
                    <a:pt x="3" y="11"/>
                    <a:pt x="2" y="14"/>
                  </a:cubicBezTo>
                  <a:cubicBezTo>
                    <a:pt x="6" y="14"/>
                    <a:pt x="5" y="14"/>
                    <a:pt x="3" y="19"/>
                  </a:cubicBezTo>
                  <a:cubicBezTo>
                    <a:pt x="2" y="22"/>
                    <a:pt x="8" y="23"/>
                    <a:pt x="6" y="25"/>
                  </a:cubicBezTo>
                  <a:cubicBezTo>
                    <a:pt x="5" y="26"/>
                    <a:pt x="5" y="23"/>
                    <a:pt x="3" y="25"/>
                  </a:cubicBezTo>
                  <a:cubicBezTo>
                    <a:pt x="3" y="25"/>
                    <a:pt x="6" y="28"/>
                    <a:pt x="6" y="29"/>
                  </a:cubicBezTo>
                  <a:cubicBezTo>
                    <a:pt x="5" y="29"/>
                    <a:pt x="5" y="28"/>
                    <a:pt x="3" y="29"/>
                  </a:cubicBezTo>
                  <a:cubicBezTo>
                    <a:pt x="6" y="34"/>
                    <a:pt x="12" y="36"/>
                    <a:pt x="12" y="37"/>
                  </a:cubicBezTo>
                  <a:cubicBezTo>
                    <a:pt x="12" y="39"/>
                    <a:pt x="8" y="39"/>
                    <a:pt x="9" y="39"/>
                  </a:cubicBezTo>
                  <a:cubicBezTo>
                    <a:pt x="11" y="40"/>
                    <a:pt x="9" y="40"/>
                    <a:pt x="11" y="4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0" name="Freeform 176"/>
            <p:cNvSpPr>
              <a:spLocks/>
            </p:cNvSpPr>
            <p:nvPr/>
          </p:nvSpPr>
          <p:spPr bwMode="auto">
            <a:xfrm>
              <a:off x="5952308" y="3374040"/>
              <a:ext cx="52651" cy="50675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4" y="17"/>
                </a:cxn>
                <a:cxn ang="0">
                  <a:pos x="4" y="18"/>
                </a:cxn>
                <a:cxn ang="0">
                  <a:pos x="15" y="14"/>
                </a:cxn>
                <a:cxn ang="0">
                  <a:pos x="21" y="12"/>
                </a:cxn>
                <a:cxn ang="0">
                  <a:pos x="19" y="6"/>
                </a:cxn>
                <a:cxn ang="0">
                  <a:pos x="16" y="2"/>
                </a:cxn>
                <a:cxn ang="0">
                  <a:pos x="10" y="2"/>
                </a:cxn>
                <a:cxn ang="0">
                  <a:pos x="4" y="3"/>
                </a:cxn>
                <a:cxn ang="0">
                  <a:pos x="1" y="6"/>
                </a:cxn>
              </a:cxnLst>
              <a:rect l="0" t="0" r="r" b="b"/>
              <a:pathLst>
                <a:path w="21" h="18">
                  <a:moveTo>
                    <a:pt x="1" y="6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1"/>
                    <a:pt x="1" y="12"/>
                  </a:cubicBezTo>
                  <a:cubicBezTo>
                    <a:pt x="1" y="14"/>
                    <a:pt x="3" y="17"/>
                    <a:pt x="4" y="17"/>
                  </a:cubicBezTo>
                  <a:cubicBezTo>
                    <a:pt x="4" y="15"/>
                    <a:pt x="4" y="17"/>
                    <a:pt x="4" y="18"/>
                  </a:cubicBezTo>
                  <a:cubicBezTo>
                    <a:pt x="16" y="17"/>
                    <a:pt x="10" y="12"/>
                    <a:pt x="15" y="14"/>
                  </a:cubicBezTo>
                  <a:cubicBezTo>
                    <a:pt x="19" y="17"/>
                    <a:pt x="18" y="12"/>
                    <a:pt x="21" y="12"/>
                  </a:cubicBezTo>
                  <a:cubicBezTo>
                    <a:pt x="19" y="11"/>
                    <a:pt x="21" y="9"/>
                    <a:pt x="19" y="6"/>
                  </a:cubicBezTo>
                  <a:cubicBezTo>
                    <a:pt x="19" y="3"/>
                    <a:pt x="16" y="5"/>
                    <a:pt x="16" y="2"/>
                  </a:cubicBezTo>
                  <a:cubicBezTo>
                    <a:pt x="13" y="0"/>
                    <a:pt x="13" y="3"/>
                    <a:pt x="10" y="2"/>
                  </a:cubicBezTo>
                  <a:cubicBezTo>
                    <a:pt x="7" y="2"/>
                    <a:pt x="9" y="3"/>
                    <a:pt x="4" y="3"/>
                  </a:cubicBezTo>
                  <a:cubicBezTo>
                    <a:pt x="1" y="5"/>
                    <a:pt x="4" y="6"/>
                    <a:pt x="1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1" name="Freeform 177"/>
            <p:cNvSpPr>
              <a:spLocks/>
            </p:cNvSpPr>
            <p:nvPr/>
          </p:nvSpPr>
          <p:spPr bwMode="auto">
            <a:xfrm>
              <a:off x="5928615" y="3359561"/>
              <a:ext cx="35539" cy="101351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21"/>
                </a:cxn>
                <a:cxn ang="0">
                  <a:pos x="1" y="27"/>
                </a:cxn>
                <a:cxn ang="0">
                  <a:pos x="3" y="30"/>
                </a:cxn>
                <a:cxn ang="0">
                  <a:pos x="7" y="36"/>
                </a:cxn>
                <a:cxn ang="0">
                  <a:pos x="8" y="34"/>
                </a:cxn>
                <a:cxn ang="0">
                  <a:pos x="8" y="33"/>
                </a:cxn>
                <a:cxn ang="0">
                  <a:pos x="11" y="30"/>
                </a:cxn>
                <a:cxn ang="0">
                  <a:pos x="14" y="27"/>
                </a:cxn>
                <a:cxn ang="0">
                  <a:pos x="13" y="24"/>
                </a:cxn>
                <a:cxn ang="0">
                  <a:pos x="13" y="22"/>
                </a:cxn>
                <a:cxn ang="0">
                  <a:pos x="10" y="17"/>
                </a:cxn>
                <a:cxn ang="0">
                  <a:pos x="10" y="14"/>
                </a:cxn>
                <a:cxn ang="0">
                  <a:pos x="10" y="11"/>
                </a:cxn>
                <a:cxn ang="0">
                  <a:pos x="8" y="7"/>
                </a:cxn>
                <a:cxn ang="0">
                  <a:pos x="7" y="4"/>
                </a:cxn>
                <a:cxn ang="0">
                  <a:pos x="4" y="4"/>
                </a:cxn>
                <a:cxn ang="0">
                  <a:pos x="1" y="7"/>
                </a:cxn>
                <a:cxn ang="0">
                  <a:pos x="1" y="11"/>
                </a:cxn>
              </a:cxnLst>
              <a:rect l="0" t="0" r="r" b="b"/>
              <a:pathLst>
                <a:path w="14" h="36">
                  <a:moveTo>
                    <a:pt x="1" y="11"/>
                  </a:moveTo>
                  <a:cubicBezTo>
                    <a:pt x="4" y="11"/>
                    <a:pt x="1" y="21"/>
                    <a:pt x="1" y="21"/>
                  </a:cubicBezTo>
                  <a:cubicBezTo>
                    <a:pt x="3" y="22"/>
                    <a:pt x="0" y="22"/>
                    <a:pt x="1" y="27"/>
                  </a:cubicBezTo>
                  <a:cubicBezTo>
                    <a:pt x="3" y="30"/>
                    <a:pt x="0" y="27"/>
                    <a:pt x="3" y="30"/>
                  </a:cubicBezTo>
                  <a:cubicBezTo>
                    <a:pt x="7" y="33"/>
                    <a:pt x="4" y="34"/>
                    <a:pt x="7" y="36"/>
                  </a:cubicBezTo>
                  <a:cubicBezTo>
                    <a:pt x="7" y="36"/>
                    <a:pt x="8" y="36"/>
                    <a:pt x="8" y="34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1"/>
                    <a:pt x="11" y="33"/>
                    <a:pt x="11" y="30"/>
                  </a:cubicBezTo>
                  <a:cubicBezTo>
                    <a:pt x="11" y="25"/>
                    <a:pt x="13" y="28"/>
                    <a:pt x="14" y="27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3" y="22"/>
                    <a:pt x="13" y="21"/>
                    <a:pt x="13" y="22"/>
                  </a:cubicBezTo>
                  <a:cubicBezTo>
                    <a:pt x="11" y="22"/>
                    <a:pt x="10" y="19"/>
                    <a:pt x="10" y="17"/>
                  </a:cubicBezTo>
                  <a:cubicBezTo>
                    <a:pt x="10" y="16"/>
                    <a:pt x="8" y="16"/>
                    <a:pt x="10" y="14"/>
                  </a:cubicBezTo>
                  <a:cubicBezTo>
                    <a:pt x="10" y="14"/>
                    <a:pt x="10" y="14"/>
                    <a:pt x="10" y="11"/>
                  </a:cubicBezTo>
                  <a:cubicBezTo>
                    <a:pt x="10" y="10"/>
                    <a:pt x="11" y="8"/>
                    <a:pt x="8" y="7"/>
                  </a:cubicBezTo>
                  <a:cubicBezTo>
                    <a:pt x="7" y="7"/>
                    <a:pt x="8" y="5"/>
                    <a:pt x="7" y="4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0"/>
                    <a:pt x="3" y="5"/>
                    <a:pt x="1" y="7"/>
                  </a:cubicBezTo>
                  <a:cubicBezTo>
                    <a:pt x="0" y="10"/>
                    <a:pt x="3" y="8"/>
                    <a:pt x="1" y="1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2" name="Freeform 178"/>
            <p:cNvSpPr>
              <a:spLocks/>
            </p:cNvSpPr>
            <p:nvPr/>
          </p:nvSpPr>
          <p:spPr bwMode="auto">
            <a:xfrm>
              <a:off x="5865435" y="3171338"/>
              <a:ext cx="135576" cy="95559"/>
            </a:xfrm>
            <a:custGeom>
              <a:avLst/>
              <a:gdLst/>
              <a:ahLst/>
              <a:cxnLst>
                <a:cxn ang="0">
                  <a:pos x="21" y="33"/>
                </a:cxn>
                <a:cxn ang="0">
                  <a:pos x="27" y="30"/>
                </a:cxn>
                <a:cxn ang="0">
                  <a:pos x="33" y="30"/>
                </a:cxn>
                <a:cxn ang="0">
                  <a:pos x="36" y="30"/>
                </a:cxn>
                <a:cxn ang="0">
                  <a:pos x="36" y="28"/>
                </a:cxn>
                <a:cxn ang="0">
                  <a:pos x="39" y="28"/>
                </a:cxn>
                <a:cxn ang="0">
                  <a:pos x="44" y="22"/>
                </a:cxn>
                <a:cxn ang="0">
                  <a:pos x="46" y="17"/>
                </a:cxn>
                <a:cxn ang="0">
                  <a:pos x="49" y="11"/>
                </a:cxn>
                <a:cxn ang="0">
                  <a:pos x="53" y="8"/>
                </a:cxn>
                <a:cxn ang="0">
                  <a:pos x="53" y="8"/>
                </a:cxn>
                <a:cxn ang="0">
                  <a:pos x="52" y="7"/>
                </a:cxn>
                <a:cxn ang="0">
                  <a:pos x="47" y="4"/>
                </a:cxn>
                <a:cxn ang="0">
                  <a:pos x="44" y="4"/>
                </a:cxn>
                <a:cxn ang="0">
                  <a:pos x="41" y="2"/>
                </a:cxn>
                <a:cxn ang="0">
                  <a:pos x="36" y="2"/>
                </a:cxn>
                <a:cxn ang="0">
                  <a:pos x="33" y="5"/>
                </a:cxn>
                <a:cxn ang="0">
                  <a:pos x="30" y="7"/>
                </a:cxn>
                <a:cxn ang="0">
                  <a:pos x="27" y="7"/>
                </a:cxn>
                <a:cxn ang="0">
                  <a:pos x="21" y="8"/>
                </a:cxn>
                <a:cxn ang="0">
                  <a:pos x="21" y="10"/>
                </a:cxn>
                <a:cxn ang="0">
                  <a:pos x="15" y="11"/>
                </a:cxn>
                <a:cxn ang="0">
                  <a:pos x="8" y="8"/>
                </a:cxn>
                <a:cxn ang="0">
                  <a:pos x="8" y="11"/>
                </a:cxn>
                <a:cxn ang="0">
                  <a:pos x="3" y="11"/>
                </a:cxn>
                <a:cxn ang="0">
                  <a:pos x="5" y="14"/>
                </a:cxn>
                <a:cxn ang="0">
                  <a:pos x="3" y="16"/>
                </a:cxn>
                <a:cxn ang="0">
                  <a:pos x="3" y="19"/>
                </a:cxn>
                <a:cxn ang="0">
                  <a:pos x="0" y="20"/>
                </a:cxn>
                <a:cxn ang="0">
                  <a:pos x="3" y="25"/>
                </a:cxn>
                <a:cxn ang="0">
                  <a:pos x="11" y="31"/>
                </a:cxn>
                <a:cxn ang="0">
                  <a:pos x="18" y="34"/>
                </a:cxn>
                <a:cxn ang="0">
                  <a:pos x="21" y="33"/>
                </a:cxn>
              </a:cxnLst>
              <a:rect l="0" t="0" r="r" b="b"/>
              <a:pathLst>
                <a:path w="53" h="34">
                  <a:moveTo>
                    <a:pt x="21" y="33"/>
                  </a:moveTo>
                  <a:cubicBezTo>
                    <a:pt x="26" y="31"/>
                    <a:pt x="26" y="30"/>
                    <a:pt x="27" y="30"/>
                  </a:cubicBezTo>
                  <a:cubicBezTo>
                    <a:pt x="29" y="30"/>
                    <a:pt x="30" y="30"/>
                    <a:pt x="33" y="30"/>
                  </a:cubicBezTo>
                  <a:cubicBezTo>
                    <a:pt x="33" y="30"/>
                    <a:pt x="35" y="30"/>
                    <a:pt x="36" y="30"/>
                  </a:cubicBezTo>
                  <a:cubicBezTo>
                    <a:pt x="38" y="28"/>
                    <a:pt x="36" y="28"/>
                    <a:pt x="36" y="28"/>
                  </a:cubicBezTo>
                  <a:cubicBezTo>
                    <a:pt x="38" y="28"/>
                    <a:pt x="38" y="28"/>
                    <a:pt x="39" y="28"/>
                  </a:cubicBezTo>
                  <a:cubicBezTo>
                    <a:pt x="39" y="28"/>
                    <a:pt x="43" y="24"/>
                    <a:pt x="44" y="22"/>
                  </a:cubicBezTo>
                  <a:cubicBezTo>
                    <a:pt x="44" y="19"/>
                    <a:pt x="43" y="19"/>
                    <a:pt x="46" y="17"/>
                  </a:cubicBezTo>
                  <a:cubicBezTo>
                    <a:pt x="49" y="14"/>
                    <a:pt x="47" y="14"/>
                    <a:pt x="49" y="11"/>
                  </a:cubicBezTo>
                  <a:cubicBezTo>
                    <a:pt x="50" y="10"/>
                    <a:pt x="50" y="13"/>
                    <a:pt x="53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8"/>
                    <a:pt x="53" y="7"/>
                    <a:pt x="52" y="7"/>
                  </a:cubicBezTo>
                  <a:cubicBezTo>
                    <a:pt x="50" y="8"/>
                    <a:pt x="52" y="5"/>
                    <a:pt x="47" y="4"/>
                  </a:cubicBezTo>
                  <a:cubicBezTo>
                    <a:pt x="47" y="4"/>
                    <a:pt x="44" y="5"/>
                    <a:pt x="44" y="4"/>
                  </a:cubicBezTo>
                  <a:cubicBezTo>
                    <a:pt x="44" y="4"/>
                    <a:pt x="43" y="0"/>
                    <a:pt x="41" y="2"/>
                  </a:cubicBezTo>
                  <a:cubicBezTo>
                    <a:pt x="39" y="4"/>
                    <a:pt x="38" y="2"/>
                    <a:pt x="36" y="2"/>
                  </a:cubicBezTo>
                  <a:cubicBezTo>
                    <a:pt x="33" y="2"/>
                    <a:pt x="35" y="5"/>
                    <a:pt x="33" y="5"/>
                  </a:cubicBezTo>
                  <a:cubicBezTo>
                    <a:pt x="33" y="5"/>
                    <a:pt x="32" y="7"/>
                    <a:pt x="30" y="7"/>
                  </a:cubicBezTo>
                  <a:cubicBezTo>
                    <a:pt x="29" y="7"/>
                    <a:pt x="27" y="4"/>
                    <a:pt x="27" y="7"/>
                  </a:cubicBezTo>
                  <a:cubicBezTo>
                    <a:pt x="26" y="8"/>
                    <a:pt x="24" y="7"/>
                    <a:pt x="21" y="8"/>
                  </a:cubicBezTo>
                  <a:cubicBezTo>
                    <a:pt x="20" y="8"/>
                    <a:pt x="21" y="10"/>
                    <a:pt x="21" y="10"/>
                  </a:cubicBezTo>
                  <a:cubicBezTo>
                    <a:pt x="21" y="11"/>
                    <a:pt x="20" y="11"/>
                    <a:pt x="15" y="11"/>
                  </a:cubicBezTo>
                  <a:cubicBezTo>
                    <a:pt x="12" y="13"/>
                    <a:pt x="11" y="8"/>
                    <a:pt x="8" y="8"/>
                  </a:cubicBezTo>
                  <a:cubicBezTo>
                    <a:pt x="8" y="10"/>
                    <a:pt x="9" y="11"/>
                    <a:pt x="8" y="11"/>
                  </a:cubicBezTo>
                  <a:cubicBezTo>
                    <a:pt x="6" y="11"/>
                    <a:pt x="3" y="11"/>
                    <a:pt x="3" y="11"/>
                  </a:cubicBezTo>
                  <a:cubicBezTo>
                    <a:pt x="3" y="13"/>
                    <a:pt x="5" y="13"/>
                    <a:pt x="5" y="14"/>
                  </a:cubicBezTo>
                  <a:cubicBezTo>
                    <a:pt x="5" y="16"/>
                    <a:pt x="3" y="14"/>
                    <a:pt x="3" y="16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2" y="20"/>
                    <a:pt x="0" y="20"/>
                  </a:cubicBezTo>
                  <a:cubicBezTo>
                    <a:pt x="3" y="22"/>
                    <a:pt x="2" y="25"/>
                    <a:pt x="3" y="25"/>
                  </a:cubicBezTo>
                  <a:cubicBezTo>
                    <a:pt x="11" y="30"/>
                    <a:pt x="9" y="31"/>
                    <a:pt x="11" y="31"/>
                  </a:cubicBezTo>
                  <a:cubicBezTo>
                    <a:pt x="12" y="31"/>
                    <a:pt x="15" y="34"/>
                    <a:pt x="18" y="34"/>
                  </a:cubicBezTo>
                  <a:cubicBezTo>
                    <a:pt x="20" y="34"/>
                    <a:pt x="20" y="31"/>
                    <a:pt x="21" y="3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3" name="Freeform 179"/>
            <p:cNvSpPr>
              <a:spLocks/>
            </p:cNvSpPr>
            <p:nvPr/>
          </p:nvSpPr>
          <p:spPr bwMode="auto">
            <a:xfrm>
              <a:off x="5877281" y="3135141"/>
              <a:ext cx="121097" cy="69498"/>
            </a:xfrm>
            <a:custGeom>
              <a:avLst/>
              <a:gdLst/>
              <a:ahLst/>
              <a:cxnLst>
                <a:cxn ang="0">
                  <a:pos x="45" y="8"/>
                </a:cxn>
                <a:cxn ang="0">
                  <a:pos x="41" y="5"/>
                </a:cxn>
                <a:cxn ang="0">
                  <a:pos x="30" y="4"/>
                </a:cxn>
                <a:cxn ang="0">
                  <a:pos x="25" y="7"/>
                </a:cxn>
                <a:cxn ang="0">
                  <a:pos x="24" y="5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6" y="4"/>
                </a:cxn>
                <a:cxn ang="0">
                  <a:pos x="9" y="10"/>
                </a:cxn>
                <a:cxn ang="0">
                  <a:pos x="3" y="13"/>
                </a:cxn>
                <a:cxn ang="0">
                  <a:pos x="3" y="21"/>
                </a:cxn>
                <a:cxn ang="0">
                  <a:pos x="10" y="24"/>
                </a:cxn>
                <a:cxn ang="0">
                  <a:pos x="16" y="22"/>
                </a:cxn>
                <a:cxn ang="0">
                  <a:pos x="16" y="21"/>
                </a:cxn>
                <a:cxn ang="0">
                  <a:pos x="22" y="19"/>
                </a:cxn>
                <a:cxn ang="0">
                  <a:pos x="25" y="19"/>
                </a:cxn>
                <a:cxn ang="0">
                  <a:pos x="28" y="18"/>
                </a:cxn>
                <a:cxn ang="0">
                  <a:pos x="31" y="14"/>
                </a:cxn>
                <a:cxn ang="0">
                  <a:pos x="36" y="14"/>
                </a:cxn>
                <a:cxn ang="0">
                  <a:pos x="39" y="16"/>
                </a:cxn>
                <a:cxn ang="0">
                  <a:pos x="42" y="16"/>
                </a:cxn>
                <a:cxn ang="0">
                  <a:pos x="45" y="11"/>
                </a:cxn>
                <a:cxn ang="0">
                  <a:pos x="45" y="8"/>
                </a:cxn>
              </a:cxnLst>
              <a:rect l="0" t="0" r="r" b="b"/>
              <a:pathLst>
                <a:path w="47" h="25">
                  <a:moveTo>
                    <a:pt x="45" y="8"/>
                  </a:moveTo>
                  <a:cubicBezTo>
                    <a:pt x="41" y="7"/>
                    <a:pt x="42" y="5"/>
                    <a:pt x="41" y="5"/>
                  </a:cubicBezTo>
                  <a:cubicBezTo>
                    <a:pt x="36" y="4"/>
                    <a:pt x="31" y="4"/>
                    <a:pt x="30" y="4"/>
                  </a:cubicBezTo>
                  <a:cubicBezTo>
                    <a:pt x="27" y="4"/>
                    <a:pt x="27" y="8"/>
                    <a:pt x="25" y="7"/>
                  </a:cubicBezTo>
                  <a:cubicBezTo>
                    <a:pt x="25" y="7"/>
                    <a:pt x="24" y="7"/>
                    <a:pt x="24" y="5"/>
                  </a:cubicBezTo>
                  <a:cubicBezTo>
                    <a:pt x="25" y="2"/>
                    <a:pt x="21" y="0"/>
                    <a:pt x="19" y="4"/>
                  </a:cubicBezTo>
                  <a:cubicBezTo>
                    <a:pt x="19" y="5"/>
                    <a:pt x="18" y="5"/>
                    <a:pt x="18" y="4"/>
                  </a:cubicBezTo>
                  <a:cubicBezTo>
                    <a:pt x="18" y="4"/>
                    <a:pt x="18" y="4"/>
                    <a:pt x="16" y="4"/>
                  </a:cubicBezTo>
                  <a:cubicBezTo>
                    <a:pt x="9" y="7"/>
                    <a:pt x="13" y="8"/>
                    <a:pt x="9" y="10"/>
                  </a:cubicBezTo>
                  <a:cubicBezTo>
                    <a:pt x="6" y="11"/>
                    <a:pt x="4" y="8"/>
                    <a:pt x="3" y="13"/>
                  </a:cubicBezTo>
                  <a:cubicBezTo>
                    <a:pt x="1" y="16"/>
                    <a:pt x="0" y="16"/>
                    <a:pt x="3" y="21"/>
                  </a:cubicBezTo>
                  <a:cubicBezTo>
                    <a:pt x="6" y="21"/>
                    <a:pt x="7" y="25"/>
                    <a:pt x="10" y="24"/>
                  </a:cubicBezTo>
                  <a:cubicBezTo>
                    <a:pt x="15" y="24"/>
                    <a:pt x="16" y="24"/>
                    <a:pt x="16" y="22"/>
                  </a:cubicBezTo>
                  <a:cubicBezTo>
                    <a:pt x="16" y="22"/>
                    <a:pt x="15" y="21"/>
                    <a:pt x="16" y="21"/>
                  </a:cubicBezTo>
                  <a:cubicBezTo>
                    <a:pt x="19" y="19"/>
                    <a:pt x="21" y="21"/>
                    <a:pt x="22" y="19"/>
                  </a:cubicBezTo>
                  <a:cubicBezTo>
                    <a:pt x="22" y="16"/>
                    <a:pt x="24" y="19"/>
                    <a:pt x="25" y="19"/>
                  </a:cubicBezTo>
                  <a:cubicBezTo>
                    <a:pt x="27" y="19"/>
                    <a:pt x="28" y="18"/>
                    <a:pt x="28" y="18"/>
                  </a:cubicBezTo>
                  <a:cubicBezTo>
                    <a:pt x="30" y="18"/>
                    <a:pt x="28" y="14"/>
                    <a:pt x="31" y="14"/>
                  </a:cubicBezTo>
                  <a:cubicBezTo>
                    <a:pt x="33" y="14"/>
                    <a:pt x="34" y="16"/>
                    <a:pt x="36" y="14"/>
                  </a:cubicBezTo>
                  <a:cubicBezTo>
                    <a:pt x="38" y="13"/>
                    <a:pt x="39" y="16"/>
                    <a:pt x="39" y="16"/>
                  </a:cubicBezTo>
                  <a:cubicBezTo>
                    <a:pt x="39" y="18"/>
                    <a:pt x="42" y="16"/>
                    <a:pt x="42" y="16"/>
                  </a:cubicBezTo>
                  <a:cubicBezTo>
                    <a:pt x="44" y="11"/>
                    <a:pt x="45" y="13"/>
                    <a:pt x="45" y="11"/>
                  </a:cubicBezTo>
                  <a:cubicBezTo>
                    <a:pt x="45" y="10"/>
                    <a:pt x="47" y="10"/>
                    <a:pt x="45" y="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4" name="Freeform 180"/>
            <p:cNvSpPr>
              <a:spLocks/>
            </p:cNvSpPr>
            <p:nvPr/>
          </p:nvSpPr>
          <p:spPr bwMode="auto">
            <a:xfrm>
              <a:off x="5811468" y="3227805"/>
              <a:ext cx="61865" cy="53571"/>
            </a:xfrm>
            <a:custGeom>
              <a:avLst/>
              <a:gdLst/>
              <a:ahLst/>
              <a:cxnLst>
                <a:cxn ang="0">
                  <a:pos x="21" y="0"/>
                </a:cxn>
                <a:cxn ang="0">
                  <a:pos x="24" y="5"/>
                </a:cxn>
                <a:cxn ang="0">
                  <a:pos x="23" y="5"/>
                </a:cxn>
                <a:cxn ang="0">
                  <a:pos x="23" y="7"/>
                </a:cxn>
                <a:cxn ang="0">
                  <a:pos x="17" y="10"/>
                </a:cxn>
                <a:cxn ang="0">
                  <a:pos x="18" y="13"/>
                </a:cxn>
                <a:cxn ang="0">
                  <a:pos x="15" y="17"/>
                </a:cxn>
                <a:cxn ang="0">
                  <a:pos x="12" y="17"/>
                </a:cxn>
                <a:cxn ang="0">
                  <a:pos x="9" y="16"/>
                </a:cxn>
                <a:cxn ang="0">
                  <a:pos x="1" y="17"/>
                </a:cxn>
                <a:cxn ang="0">
                  <a:pos x="1" y="16"/>
                </a:cxn>
                <a:cxn ang="0">
                  <a:pos x="1" y="13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1" y="5"/>
                </a:cxn>
                <a:cxn ang="0">
                  <a:pos x="7" y="7"/>
                </a:cxn>
                <a:cxn ang="0">
                  <a:pos x="10" y="7"/>
                </a:cxn>
                <a:cxn ang="0">
                  <a:pos x="15" y="3"/>
                </a:cxn>
                <a:cxn ang="0">
                  <a:pos x="18" y="3"/>
                </a:cxn>
                <a:cxn ang="0">
                  <a:pos x="21" y="2"/>
                </a:cxn>
                <a:cxn ang="0">
                  <a:pos x="21" y="0"/>
                </a:cxn>
              </a:cxnLst>
              <a:rect l="0" t="0" r="r" b="b"/>
              <a:pathLst>
                <a:path w="24" h="19">
                  <a:moveTo>
                    <a:pt x="21" y="0"/>
                  </a:moveTo>
                  <a:cubicBezTo>
                    <a:pt x="24" y="2"/>
                    <a:pt x="23" y="5"/>
                    <a:pt x="24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1" y="5"/>
                    <a:pt x="23" y="7"/>
                    <a:pt x="23" y="7"/>
                  </a:cubicBezTo>
                  <a:cubicBezTo>
                    <a:pt x="21" y="8"/>
                    <a:pt x="18" y="8"/>
                    <a:pt x="17" y="10"/>
                  </a:cubicBezTo>
                  <a:cubicBezTo>
                    <a:pt x="17" y="10"/>
                    <a:pt x="18" y="11"/>
                    <a:pt x="18" y="13"/>
                  </a:cubicBezTo>
                  <a:cubicBezTo>
                    <a:pt x="18" y="14"/>
                    <a:pt x="15" y="14"/>
                    <a:pt x="15" y="17"/>
                  </a:cubicBezTo>
                  <a:cubicBezTo>
                    <a:pt x="15" y="19"/>
                    <a:pt x="13" y="17"/>
                    <a:pt x="12" y="17"/>
                  </a:cubicBezTo>
                  <a:cubicBezTo>
                    <a:pt x="10" y="16"/>
                    <a:pt x="12" y="19"/>
                    <a:pt x="9" y="16"/>
                  </a:cubicBezTo>
                  <a:cubicBezTo>
                    <a:pt x="7" y="14"/>
                    <a:pt x="10" y="17"/>
                    <a:pt x="1" y="17"/>
                  </a:cubicBezTo>
                  <a:cubicBezTo>
                    <a:pt x="1" y="16"/>
                    <a:pt x="1" y="17"/>
                    <a:pt x="1" y="16"/>
                  </a:cubicBezTo>
                  <a:cubicBezTo>
                    <a:pt x="4" y="16"/>
                    <a:pt x="3" y="14"/>
                    <a:pt x="1" y="13"/>
                  </a:cubicBezTo>
                  <a:cubicBezTo>
                    <a:pt x="0" y="13"/>
                    <a:pt x="0" y="11"/>
                    <a:pt x="1" y="10"/>
                  </a:cubicBezTo>
                  <a:cubicBezTo>
                    <a:pt x="3" y="8"/>
                    <a:pt x="0" y="10"/>
                    <a:pt x="0" y="8"/>
                  </a:cubicBezTo>
                  <a:cubicBezTo>
                    <a:pt x="0" y="7"/>
                    <a:pt x="1" y="7"/>
                    <a:pt x="1" y="5"/>
                  </a:cubicBezTo>
                  <a:cubicBezTo>
                    <a:pt x="6" y="5"/>
                    <a:pt x="4" y="7"/>
                    <a:pt x="7" y="7"/>
                  </a:cubicBezTo>
                  <a:cubicBezTo>
                    <a:pt x="9" y="5"/>
                    <a:pt x="7" y="8"/>
                    <a:pt x="10" y="7"/>
                  </a:cubicBezTo>
                  <a:cubicBezTo>
                    <a:pt x="12" y="3"/>
                    <a:pt x="12" y="3"/>
                    <a:pt x="15" y="3"/>
                  </a:cubicBezTo>
                  <a:cubicBezTo>
                    <a:pt x="18" y="5"/>
                    <a:pt x="17" y="3"/>
                    <a:pt x="18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0" y="0"/>
                    <a:pt x="21" y="2"/>
                    <a:pt x="21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5" name="Freeform 181"/>
            <p:cNvSpPr>
              <a:spLocks/>
            </p:cNvSpPr>
            <p:nvPr/>
          </p:nvSpPr>
          <p:spPr bwMode="auto">
            <a:xfrm>
              <a:off x="5811468" y="3240835"/>
              <a:ext cx="125045" cy="136100"/>
            </a:xfrm>
            <a:custGeom>
              <a:avLst/>
              <a:gdLst/>
              <a:ahLst/>
              <a:cxnLst>
                <a:cxn ang="0">
                  <a:pos x="44" y="19"/>
                </a:cxn>
                <a:cxn ang="0">
                  <a:pos x="41" y="17"/>
                </a:cxn>
                <a:cxn ang="0">
                  <a:pos x="36" y="17"/>
                </a:cxn>
                <a:cxn ang="0">
                  <a:pos x="30" y="16"/>
                </a:cxn>
                <a:cxn ang="0">
                  <a:pos x="24" y="16"/>
                </a:cxn>
                <a:cxn ang="0">
                  <a:pos x="21" y="17"/>
                </a:cxn>
                <a:cxn ang="0">
                  <a:pos x="20" y="21"/>
                </a:cxn>
                <a:cxn ang="0">
                  <a:pos x="21" y="25"/>
                </a:cxn>
                <a:cxn ang="0">
                  <a:pos x="21" y="27"/>
                </a:cxn>
                <a:cxn ang="0">
                  <a:pos x="29" y="35"/>
                </a:cxn>
                <a:cxn ang="0">
                  <a:pos x="32" y="38"/>
                </a:cxn>
                <a:cxn ang="0">
                  <a:pos x="33" y="41"/>
                </a:cxn>
                <a:cxn ang="0">
                  <a:pos x="35" y="42"/>
                </a:cxn>
                <a:cxn ang="0">
                  <a:pos x="39" y="45"/>
                </a:cxn>
                <a:cxn ang="0">
                  <a:pos x="42" y="48"/>
                </a:cxn>
                <a:cxn ang="0">
                  <a:pos x="39" y="47"/>
                </a:cxn>
                <a:cxn ang="0">
                  <a:pos x="33" y="44"/>
                </a:cxn>
                <a:cxn ang="0">
                  <a:pos x="32" y="41"/>
                </a:cxn>
                <a:cxn ang="0">
                  <a:pos x="23" y="35"/>
                </a:cxn>
                <a:cxn ang="0">
                  <a:pos x="17" y="30"/>
                </a:cxn>
                <a:cxn ang="0">
                  <a:pos x="13" y="24"/>
                </a:cxn>
                <a:cxn ang="0">
                  <a:pos x="9" y="14"/>
                </a:cxn>
                <a:cxn ang="0">
                  <a:pos x="4" y="21"/>
                </a:cxn>
                <a:cxn ang="0">
                  <a:pos x="1" y="13"/>
                </a:cxn>
                <a:cxn ang="0">
                  <a:pos x="1" y="13"/>
                </a:cxn>
                <a:cxn ang="0">
                  <a:pos x="9" y="11"/>
                </a:cxn>
                <a:cxn ang="0">
                  <a:pos x="12" y="13"/>
                </a:cxn>
                <a:cxn ang="0">
                  <a:pos x="15" y="13"/>
                </a:cxn>
                <a:cxn ang="0">
                  <a:pos x="18" y="8"/>
                </a:cxn>
                <a:cxn ang="0">
                  <a:pos x="17" y="5"/>
                </a:cxn>
                <a:cxn ang="0">
                  <a:pos x="23" y="2"/>
                </a:cxn>
                <a:cxn ang="0">
                  <a:pos x="23" y="0"/>
                </a:cxn>
                <a:cxn ang="0">
                  <a:pos x="24" y="0"/>
                </a:cxn>
                <a:cxn ang="0">
                  <a:pos x="32" y="7"/>
                </a:cxn>
                <a:cxn ang="0">
                  <a:pos x="39" y="10"/>
                </a:cxn>
                <a:cxn ang="0">
                  <a:pos x="42" y="8"/>
                </a:cxn>
                <a:cxn ang="0">
                  <a:pos x="44" y="14"/>
                </a:cxn>
                <a:cxn ang="0">
                  <a:pos x="47" y="16"/>
                </a:cxn>
                <a:cxn ang="0">
                  <a:pos x="44" y="19"/>
                </a:cxn>
              </a:cxnLst>
              <a:rect l="0" t="0" r="r" b="b"/>
              <a:pathLst>
                <a:path w="49" h="48">
                  <a:moveTo>
                    <a:pt x="44" y="19"/>
                  </a:moveTo>
                  <a:cubicBezTo>
                    <a:pt x="41" y="21"/>
                    <a:pt x="42" y="16"/>
                    <a:pt x="41" y="17"/>
                  </a:cubicBezTo>
                  <a:cubicBezTo>
                    <a:pt x="39" y="17"/>
                    <a:pt x="38" y="16"/>
                    <a:pt x="36" y="17"/>
                  </a:cubicBezTo>
                  <a:cubicBezTo>
                    <a:pt x="33" y="19"/>
                    <a:pt x="32" y="16"/>
                    <a:pt x="30" y="16"/>
                  </a:cubicBezTo>
                  <a:cubicBezTo>
                    <a:pt x="29" y="17"/>
                    <a:pt x="26" y="14"/>
                    <a:pt x="24" y="16"/>
                  </a:cubicBezTo>
                  <a:cubicBezTo>
                    <a:pt x="23" y="17"/>
                    <a:pt x="23" y="19"/>
                    <a:pt x="21" y="17"/>
                  </a:cubicBezTo>
                  <a:cubicBezTo>
                    <a:pt x="18" y="13"/>
                    <a:pt x="17" y="21"/>
                    <a:pt x="20" y="21"/>
                  </a:cubicBezTo>
                  <a:cubicBezTo>
                    <a:pt x="21" y="22"/>
                    <a:pt x="21" y="24"/>
                    <a:pt x="21" y="25"/>
                  </a:cubicBezTo>
                  <a:cubicBezTo>
                    <a:pt x="23" y="25"/>
                    <a:pt x="20" y="27"/>
                    <a:pt x="21" y="27"/>
                  </a:cubicBezTo>
                  <a:cubicBezTo>
                    <a:pt x="23" y="27"/>
                    <a:pt x="27" y="35"/>
                    <a:pt x="29" y="35"/>
                  </a:cubicBezTo>
                  <a:cubicBezTo>
                    <a:pt x="30" y="36"/>
                    <a:pt x="29" y="38"/>
                    <a:pt x="32" y="38"/>
                  </a:cubicBezTo>
                  <a:cubicBezTo>
                    <a:pt x="33" y="39"/>
                    <a:pt x="33" y="41"/>
                    <a:pt x="33" y="41"/>
                  </a:cubicBezTo>
                  <a:cubicBezTo>
                    <a:pt x="33" y="42"/>
                    <a:pt x="35" y="41"/>
                    <a:pt x="35" y="42"/>
                  </a:cubicBezTo>
                  <a:cubicBezTo>
                    <a:pt x="36" y="44"/>
                    <a:pt x="38" y="45"/>
                    <a:pt x="39" y="45"/>
                  </a:cubicBezTo>
                  <a:cubicBezTo>
                    <a:pt x="39" y="47"/>
                    <a:pt x="44" y="47"/>
                    <a:pt x="42" y="48"/>
                  </a:cubicBezTo>
                  <a:cubicBezTo>
                    <a:pt x="41" y="47"/>
                    <a:pt x="41" y="47"/>
                    <a:pt x="39" y="47"/>
                  </a:cubicBezTo>
                  <a:cubicBezTo>
                    <a:pt x="38" y="48"/>
                    <a:pt x="39" y="45"/>
                    <a:pt x="33" y="44"/>
                  </a:cubicBezTo>
                  <a:cubicBezTo>
                    <a:pt x="27" y="41"/>
                    <a:pt x="27" y="39"/>
                    <a:pt x="32" y="41"/>
                  </a:cubicBezTo>
                  <a:cubicBezTo>
                    <a:pt x="29" y="38"/>
                    <a:pt x="26" y="35"/>
                    <a:pt x="23" y="35"/>
                  </a:cubicBezTo>
                  <a:cubicBezTo>
                    <a:pt x="18" y="36"/>
                    <a:pt x="23" y="35"/>
                    <a:pt x="17" y="30"/>
                  </a:cubicBezTo>
                  <a:cubicBezTo>
                    <a:pt x="10" y="25"/>
                    <a:pt x="17" y="28"/>
                    <a:pt x="13" y="24"/>
                  </a:cubicBezTo>
                  <a:cubicBezTo>
                    <a:pt x="9" y="21"/>
                    <a:pt x="13" y="19"/>
                    <a:pt x="9" y="14"/>
                  </a:cubicBezTo>
                  <a:cubicBezTo>
                    <a:pt x="6" y="13"/>
                    <a:pt x="6" y="17"/>
                    <a:pt x="4" y="21"/>
                  </a:cubicBezTo>
                  <a:cubicBezTo>
                    <a:pt x="4" y="24"/>
                    <a:pt x="0" y="14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0" y="13"/>
                    <a:pt x="7" y="10"/>
                    <a:pt x="9" y="11"/>
                  </a:cubicBezTo>
                  <a:cubicBezTo>
                    <a:pt x="12" y="14"/>
                    <a:pt x="10" y="11"/>
                    <a:pt x="12" y="13"/>
                  </a:cubicBezTo>
                  <a:cubicBezTo>
                    <a:pt x="13" y="13"/>
                    <a:pt x="15" y="14"/>
                    <a:pt x="15" y="13"/>
                  </a:cubicBezTo>
                  <a:cubicBezTo>
                    <a:pt x="15" y="10"/>
                    <a:pt x="18" y="10"/>
                    <a:pt x="18" y="8"/>
                  </a:cubicBezTo>
                  <a:cubicBezTo>
                    <a:pt x="18" y="7"/>
                    <a:pt x="17" y="5"/>
                    <a:pt x="17" y="5"/>
                  </a:cubicBezTo>
                  <a:cubicBezTo>
                    <a:pt x="18" y="4"/>
                    <a:pt x="21" y="4"/>
                    <a:pt x="23" y="2"/>
                  </a:cubicBezTo>
                  <a:cubicBezTo>
                    <a:pt x="23" y="2"/>
                    <a:pt x="21" y="0"/>
                    <a:pt x="23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2" y="5"/>
                    <a:pt x="30" y="7"/>
                    <a:pt x="32" y="7"/>
                  </a:cubicBezTo>
                  <a:cubicBezTo>
                    <a:pt x="33" y="7"/>
                    <a:pt x="36" y="10"/>
                    <a:pt x="39" y="10"/>
                  </a:cubicBezTo>
                  <a:cubicBezTo>
                    <a:pt x="41" y="10"/>
                    <a:pt x="41" y="7"/>
                    <a:pt x="42" y="8"/>
                  </a:cubicBezTo>
                  <a:cubicBezTo>
                    <a:pt x="44" y="10"/>
                    <a:pt x="44" y="13"/>
                    <a:pt x="44" y="14"/>
                  </a:cubicBezTo>
                  <a:cubicBezTo>
                    <a:pt x="47" y="16"/>
                    <a:pt x="49" y="14"/>
                    <a:pt x="47" y="16"/>
                  </a:cubicBezTo>
                  <a:cubicBezTo>
                    <a:pt x="47" y="17"/>
                    <a:pt x="46" y="16"/>
                    <a:pt x="44" y="1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6" name="Freeform 182"/>
            <p:cNvSpPr>
              <a:spLocks/>
            </p:cNvSpPr>
            <p:nvPr/>
          </p:nvSpPr>
          <p:spPr bwMode="auto">
            <a:xfrm>
              <a:off x="5852272" y="3275584"/>
              <a:ext cx="86873" cy="92664"/>
            </a:xfrm>
            <a:custGeom>
              <a:avLst/>
              <a:gdLst/>
              <a:ahLst/>
              <a:cxnLst>
                <a:cxn ang="0">
                  <a:pos x="29" y="22"/>
                </a:cxn>
                <a:cxn ang="0">
                  <a:pos x="33" y="22"/>
                </a:cxn>
                <a:cxn ang="0">
                  <a:pos x="29" y="18"/>
                </a:cxn>
                <a:cxn ang="0">
                  <a:pos x="33" y="18"/>
                </a:cxn>
                <a:cxn ang="0">
                  <a:pos x="29" y="11"/>
                </a:cxn>
                <a:cxn ang="0">
                  <a:pos x="28" y="7"/>
                </a:cxn>
                <a:cxn ang="0">
                  <a:pos x="25" y="5"/>
                </a:cxn>
                <a:cxn ang="0">
                  <a:pos x="20" y="5"/>
                </a:cxn>
                <a:cxn ang="0">
                  <a:pos x="14" y="4"/>
                </a:cxn>
                <a:cxn ang="0">
                  <a:pos x="8" y="4"/>
                </a:cxn>
                <a:cxn ang="0">
                  <a:pos x="5" y="5"/>
                </a:cxn>
                <a:cxn ang="0">
                  <a:pos x="3" y="8"/>
                </a:cxn>
                <a:cxn ang="0">
                  <a:pos x="5" y="13"/>
                </a:cxn>
                <a:cxn ang="0">
                  <a:pos x="5" y="15"/>
                </a:cxn>
                <a:cxn ang="0">
                  <a:pos x="13" y="22"/>
                </a:cxn>
                <a:cxn ang="0">
                  <a:pos x="16" y="26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23" y="33"/>
                </a:cxn>
                <a:cxn ang="0">
                  <a:pos x="25" y="29"/>
                </a:cxn>
                <a:cxn ang="0">
                  <a:pos x="26" y="26"/>
                </a:cxn>
                <a:cxn ang="0">
                  <a:pos x="28" y="26"/>
                </a:cxn>
                <a:cxn ang="0">
                  <a:pos x="29" y="22"/>
                </a:cxn>
              </a:cxnLst>
              <a:rect l="0" t="0" r="r" b="b"/>
              <a:pathLst>
                <a:path w="34" h="33">
                  <a:moveTo>
                    <a:pt x="29" y="22"/>
                  </a:moveTo>
                  <a:cubicBezTo>
                    <a:pt x="31" y="21"/>
                    <a:pt x="31" y="22"/>
                    <a:pt x="33" y="22"/>
                  </a:cubicBezTo>
                  <a:cubicBezTo>
                    <a:pt x="33" y="21"/>
                    <a:pt x="29" y="18"/>
                    <a:pt x="29" y="18"/>
                  </a:cubicBezTo>
                  <a:cubicBezTo>
                    <a:pt x="31" y="16"/>
                    <a:pt x="31" y="19"/>
                    <a:pt x="33" y="18"/>
                  </a:cubicBezTo>
                  <a:cubicBezTo>
                    <a:pt x="34" y="16"/>
                    <a:pt x="28" y="15"/>
                    <a:pt x="29" y="11"/>
                  </a:cubicBezTo>
                  <a:cubicBezTo>
                    <a:pt x="31" y="7"/>
                    <a:pt x="33" y="7"/>
                    <a:pt x="28" y="7"/>
                  </a:cubicBezTo>
                  <a:cubicBezTo>
                    <a:pt x="25" y="8"/>
                    <a:pt x="26" y="4"/>
                    <a:pt x="25" y="5"/>
                  </a:cubicBezTo>
                  <a:cubicBezTo>
                    <a:pt x="23" y="5"/>
                    <a:pt x="22" y="4"/>
                    <a:pt x="20" y="5"/>
                  </a:cubicBezTo>
                  <a:cubicBezTo>
                    <a:pt x="17" y="7"/>
                    <a:pt x="16" y="4"/>
                    <a:pt x="14" y="4"/>
                  </a:cubicBezTo>
                  <a:cubicBezTo>
                    <a:pt x="13" y="5"/>
                    <a:pt x="9" y="2"/>
                    <a:pt x="8" y="4"/>
                  </a:cubicBezTo>
                  <a:cubicBezTo>
                    <a:pt x="6" y="5"/>
                    <a:pt x="6" y="7"/>
                    <a:pt x="5" y="5"/>
                  </a:cubicBezTo>
                  <a:cubicBezTo>
                    <a:pt x="2" y="0"/>
                    <a:pt x="0" y="8"/>
                    <a:pt x="3" y="8"/>
                  </a:cubicBezTo>
                  <a:cubicBezTo>
                    <a:pt x="5" y="10"/>
                    <a:pt x="5" y="11"/>
                    <a:pt x="5" y="13"/>
                  </a:cubicBezTo>
                  <a:cubicBezTo>
                    <a:pt x="6" y="13"/>
                    <a:pt x="3" y="15"/>
                    <a:pt x="5" y="15"/>
                  </a:cubicBezTo>
                  <a:cubicBezTo>
                    <a:pt x="6" y="15"/>
                    <a:pt x="11" y="22"/>
                    <a:pt x="13" y="22"/>
                  </a:cubicBezTo>
                  <a:cubicBezTo>
                    <a:pt x="14" y="24"/>
                    <a:pt x="13" y="26"/>
                    <a:pt x="16" y="26"/>
                  </a:cubicBezTo>
                  <a:cubicBezTo>
                    <a:pt x="17" y="27"/>
                    <a:pt x="17" y="29"/>
                    <a:pt x="17" y="29"/>
                  </a:cubicBezTo>
                  <a:cubicBezTo>
                    <a:pt x="17" y="30"/>
                    <a:pt x="19" y="29"/>
                    <a:pt x="19" y="30"/>
                  </a:cubicBezTo>
                  <a:cubicBezTo>
                    <a:pt x="20" y="32"/>
                    <a:pt x="22" y="33"/>
                    <a:pt x="23" y="33"/>
                  </a:cubicBezTo>
                  <a:cubicBezTo>
                    <a:pt x="26" y="32"/>
                    <a:pt x="22" y="30"/>
                    <a:pt x="25" y="29"/>
                  </a:cubicBezTo>
                  <a:cubicBezTo>
                    <a:pt x="26" y="27"/>
                    <a:pt x="25" y="26"/>
                    <a:pt x="26" y="26"/>
                  </a:cubicBezTo>
                  <a:cubicBezTo>
                    <a:pt x="28" y="24"/>
                    <a:pt x="28" y="27"/>
                    <a:pt x="28" y="26"/>
                  </a:cubicBezTo>
                  <a:cubicBezTo>
                    <a:pt x="29" y="26"/>
                    <a:pt x="25" y="21"/>
                    <a:pt x="29" y="2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7" name="Freeform 183"/>
            <p:cNvSpPr>
              <a:spLocks/>
            </p:cNvSpPr>
            <p:nvPr/>
          </p:nvSpPr>
          <p:spPr bwMode="auto">
            <a:xfrm>
              <a:off x="5908872" y="3333499"/>
              <a:ext cx="43437" cy="56468"/>
            </a:xfrm>
            <a:custGeom>
              <a:avLst/>
              <a:gdLst/>
              <a:ahLst/>
              <a:cxnLst>
                <a:cxn ang="0">
                  <a:pos x="7" y="1"/>
                </a:cxn>
                <a:cxn ang="0">
                  <a:pos x="17" y="9"/>
                </a:cxn>
                <a:cxn ang="0">
                  <a:pos x="14" y="11"/>
                </a:cxn>
                <a:cxn ang="0">
                  <a:pos x="15" y="12"/>
                </a:cxn>
                <a:cxn ang="0">
                  <a:pos x="12" y="12"/>
                </a:cxn>
                <a:cxn ang="0">
                  <a:pos x="9" y="15"/>
                </a:cxn>
                <a:cxn ang="0">
                  <a:pos x="9" y="20"/>
                </a:cxn>
                <a:cxn ang="0">
                  <a:pos x="6" y="17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3" y="8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7" y="1"/>
                </a:cxn>
              </a:cxnLst>
              <a:rect l="0" t="0" r="r" b="b"/>
              <a:pathLst>
                <a:path w="17" h="20">
                  <a:moveTo>
                    <a:pt x="7" y="1"/>
                  </a:moveTo>
                  <a:cubicBezTo>
                    <a:pt x="10" y="6"/>
                    <a:pt x="17" y="8"/>
                    <a:pt x="17" y="9"/>
                  </a:cubicBezTo>
                  <a:cubicBezTo>
                    <a:pt x="17" y="11"/>
                    <a:pt x="12" y="11"/>
                    <a:pt x="14" y="11"/>
                  </a:cubicBezTo>
                  <a:cubicBezTo>
                    <a:pt x="15" y="12"/>
                    <a:pt x="14" y="12"/>
                    <a:pt x="15" y="12"/>
                  </a:cubicBezTo>
                  <a:cubicBezTo>
                    <a:pt x="12" y="14"/>
                    <a:pt x="12" y="14"/>
                    <a:pt x="12" y="12"/>
                  </a:cubicBezTo>
                  <a:cubicBezTo>
                    <a:pt x="12" y="9"/>
                    <a:pt x="10" y="14"/>
                    <a:pt x="9" y="15"/>
                  </a:cubicBezTo>
                  <a:cubicBezTo>
                    <a:pt x="7" y="18"/>
                    <a:pt x="10" y="17"/>
                    <a:pt x="9" y="20"/>
                  </a:cubicBezTo>
                  <a:cubicBezTo>
                    <a:pt x="6" y="20"/>
                    <a:pt x="7" y="20"/>
                    <a:pt x="6" y="17"/>
                  </a:cubicBezTo>
                  <a:cubicBezTo>
                    <a:pt x="6" y="15"/>
                    <a:pt x="4" y="15"/>
                    <a:pt x="4" y="15"/>
                  </a:cubicBezTo>
                  <a:cubicBezTo>
                    <a:pt x="6" y="14"/>
                    <a:pt x="1" y="14"/>
                    <a:pt x="1" y="12"/>
                  </a:cubicBezTo>
                  <a:cubicBezTo>
                    <a:pt x="4" y="11"/>
                    <a:pt x="0" y="9"/>
                    <a:pt x="3" y="8"/>
                  </a:cubicBezTo>
                  <a:cubicBezTo>
                    <a:pt x="4" y="6"/>
                    <a:pt x="3" y="5"/>
                    <a:pt x="4" y="5"/>
                  </a:cubicBezTo>
                  <a:cubicBezTo>
                    <a:pt x="6" y="3"/>
                    <a:pt x="6" y="6"/>
                    <a:pt x="6" y="5"/>
                  </a:cubicBezTo>
                  <a:cubicBezTo>
                    <a:pt x="7" y="5"/>
                    <a:pt x="3" y="0"/>
                    <a:pt x="7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8" name="Freeform 184"/>
            <p:cNvSpPr>
              <a:spLocks noEditPoints="1"/>
            </p:cNvSpPr>
            <p:nvPr/>
          </p:nvSpPr>
          <p:spPr bwMode="auto">
            <a:xfrm>
              <a:off x="5702218" y="2857149"/>
              <a:ext cx="147422" cy="117278"/>
            </a:xfrm>
            <a:custGeom>
              <a:avLst/>
              <a:gdLst/>
              <a:ahLst/>
              <a:cxnLst>
                <a:cxn ang="0">
                  <a:pos x="4" y="33"/>
                </a:cxn>
                <a:cxn ang="0">
                  <a:pos x="1" y="30"/>
                </a:cxn>
                <a:cxn ang="0">
                  <a:pos x="0" y="19"/>
                </a:cxn>
                <a:cxn ang="0">
                  <a:pos x="16" y="3"/>
                </a:cxn>
                <a:cxn ang="0">
                  <a:pos x="20" y="5"/>
                </a:cxn>
                <a:cxn ang="0">
                  <a:pos x="18" y="11"/>
                </a:cxn>
                <a:cxn ang="0">
                  <a:pos x="20" y="17"/>
                </a:cxn>
                <a:cxn ang="0">
                  <a:pos x="21" y="21"/>
                </a:cxn>
                <a:cxn ang="0">
                  <a:pos x="18" y="19"/>
                </a:cxn>
                <a:cxn ang="0">
                  <a:pos x="15" y="25"/>
                </a:cxn>
                <a:cxn ang="0">
                  <a:pos x="12" y="30"/>
                </a:cxn>
                <a:cxn ang="0">
                  <a:pos x="12" y="35"/>
                </a:cxn>
                <a:cxn ang="0">
                  <a:pos x="15" y="38"/>
                </a:cxn>
                <a:cxn ang="0">
                  <a:pos x="10" y="38"/>
                </a:cxn>
                <a:cxn ang="0">
                  <a:pos x="4" y="38"/>
                </a:cxn>
                <a:cxn ang="0">
                  <a:pos x="53" y="31"/>
                </a:cxn>
                <a:cxn ang="0">
                  <a:pos x="53" y="31"/>
                </a:cxn>
                <a:cxn ang="0">
                  <a:pos x="24" y="7"/>
                </a:cxn>
                <a:cxn ang="0">
                  <a:pos x="21" y="30"/>
                </a:cxn>
                <a:cxn ang="0">
                  <a:pos x="18" y="28"/>
                </a:cxn>
                <a:cxn ang="0">
                  <a:pos x="13" y="30"/>
                </a:cxn>
                <a:cxn ang="0">
                  <a:pos x="16" y="33"/>
                </a:cxn>
                <a:cxn ang="0">
                  <a:pos x="21" y="35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1" y="36"/>
                </a:cxn>
                <a:cxn ang="0">
                  <a:pos x="23" y="35"/>
                </a:cxn>
                <a:cxn ang="0">
                  <a:pos x="30" y="39"/>
                </a:cxn>
                <a:cxn ang="0">
                  <a:pos x="26" y="36"/>
                </a:cxn>
                <a:cxn ang="0">
                  <a:pos x="29" y="41"/>
                </a:cxn>
                <a:cxn ang="0">
                  <a:pos x="32" y="38"/>
                </a:cxn>
                <a:cxn ang="0">
                  <a:pos x="32" y="35"/>
                </a:cxn>
                <a:cxn ang="0">
                  <a:pos x="33" y="31"/>
                </a:cxn>
                <a:cxn ang="0">
                  <a:pos x="36" y="24"/>
                </a:cxn>
                <a:cxn ang="0">
                  <a:pos x="30" y="24"/>
                </a:cxn>
                <a:cxn ang="0">
                  <a:pos x="29" y="25"/>
                </a:cxn>
                <a:cxn ang="0">
                  <a:pos x="26" y="24"/>
                </a:cxn>
                <a:cxn ang="0">
                  <a:pos x="23" y="27"/>
                </a:cxn>
                <a:cxn ang="0">
                  <a:pos x="24" y="31"/>
                </a:cxn>
                <a:cxn ang="0">
                  <a:pos x="27" y="33"/>
                </a:cxn>
                <a:cxn ang="0">
                  <a:pos x="29" y="35"/>
                </a:cxn>
                <a:cxn ang="0">
                  <a:pos x="30" y="38"/>
                </a:cxn>
                <a:cxn ang="0">
                  <a:pos x="32" y="39"/>
                </a:cxn>
                <a:cxn ang="0">
                  <a:pos x="35" y="36"/>
                </a:cxn>
              </a:cxnLst>
              <a:rect l="0" t="0" r="r" b="b"/>
              <a:pathLst>
                <a:path w="58" h="42">
                  <a:moveTo>
                    <a:pt x="3" y="35"/>
                  </a:moveTo>
                  <a:cubicBezTo>
                    <a:pt x="3" y="31"/>
                    <a:pt x="4" y="36"/>
                    <a:pt x="4" y="33"/>
                  </a:cubicBezTo>
                  <a:cubicBezTo>
                    <a:pt x="4" y="30"/>
                    <a:pt x="3" y="31"/>
                    <a:pt x="3" y="30"/>
                  </a:cubicBezTo>
                  <a:cubicBezTo>
                    <a:pt x="1" y="28"/>
                    <a:pt x="3" y="31"/>
                    <a:pt x="1" y="30"/>
                  </a:cubicBezTo>
                  <a:cubicBezTo>
                    <a:pt x="0" y="28"/>
                    <a:pt x="0" y="30"/>
                    <a:pt x="0" y="28"/>
                  </a:cubicBezTo>
                  <a:cubicBezTo>
                    <a:pt x="1" y="25"/>
                    <a:pt x="0" y="24"/>
                    <a:pt x="0" y="19"/>
                  </a:cubicBezTo>
                  <a:cubicBezTo>
                    <a:pt x="1" y="14"/>
                    <a:pt x="1" y="8"/>
                    <a:pt x="7" y="8"/>
                  </a:cubicBezTo>
                  <a:cubicBezTo>
                    <a:pt x="13" y="10"/>
                    <a:pt x="13" y="3"/>
                    <a:pt x="16" y="3"/>
                  </a:cubicBezTo>
                  <a:cubicBezTo>
                    <a:pt x="20" y="3"/>
                    <a:pt x="20" y="0"/>
                    <a:pt x="20" y="0"/>
                  </a:cubicBezTo>
                  <a:cubicBezTo>
                    <a:pt x="21" y="2"/>
                    <a:pt x="18" y="2"/>
                    <a:pt x="20" y="5"/>
                  </a:cubicBezTo>
                  <a:cubicBezTo>
                    <a:pt x="20" y="7"/>
                    <a:pt x="20" y="8"/>
                    <a:pt x="20" y="8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6" y="13"/>
                    <a:pt x="20" y="14"/>
                    <a:pt x="18" y="16"/>
                  </a:cubicBezTo>
                  <a:cubicBezTo>
                    <a:pt x="16" y="17"/>
                    <a:pt x="18" y="16"/>
                    <a:pt x="20" y="17"/>
                  </a:cubicBezTo>
                  <a:cubicBezTo>
                    <a:pt x="20" y="17"/>
                    <a:pt x="24" y="16"/>
                    <a:pt x="23" y="19"/>
                  </a:cubicBezTo>
                  <a:cubicBezTo>
                    <a:pt x="23" y="21"/>
                    <a:pt x="21" y="22"/>
                    <a:pt x="21" y="21"/>
                  </a:cubicBezTo>
                  <a:cubicBezTo>
                    <a:pt x="20" y="21"/>
                    <a:pt x="20" y="22"/>
                    <a:pt x="20" y="22"/>
                  </a:cubicBezTo>
                  <a:cubicBezTo>
                    <a:pt x="18" y="21"/>
                    <a:pt x="20" y="19"/>
                    <a:pt x="18" y="19"/>
                  </a:cubicBezTo>
                  <a:cubicBezTo>
                    <a:pt x="16" y="19"/>
                    <a:pt x="18" y="24"/>
                    <a:pt x="16" y="25"/>
                  </a:cubicBezTo>
                  <a:cubicBezTo>
                    <a:pt x="16" y="27"/>
                    <a:pt x="13" y="24"/>
                    <a:pt x="15" y="25"/>
                  </a:cubicBezTo>
                  <a:cubicBezTo>
                    <a:pt x="16" y="27"/>
                    <a:pt x="13" y="27"/>
                    <a:pt x="13" y="28"/>
                  </a:cubicBezTo>
                  <a:cubicBezTo>
                    <a:pt x="15" y="28"/>
                    <a:pt x="10" y="28"/>
                    <a:pt x="12" y="30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3"/>
                    <a:pt x="10" y="33"/>
                    <a:pt x="12" y="35"/>
                  </a:cubicBezTo>
                  <a:cubicBezTo>
                    <a:pt x="12" y="36"/>
                    <a:pt x="12" y="35"/>
                    <a:pt x="15" y="36"/>
                  </a:cubicBezTo>
                  <a:cubicBezTo>
                    <a:pt x="16" y="38"/>
                    <a:pt x="15" y="38"/>
                    <a:pt x="15" y="38"/>
                  </a:cubicBezTo>
                  <a:cubicBezTo>
                    <a:pt x="13" y="36"/>
                    <a:pt x="13" y="38"/>
                    <a:pt x="13" y="38"/>
                  </a:cubicBezTo>
                  <a:cubicBezTo>
                    <a:pt x="12" y="38"/>
                    <a:pt x="12" y="36"/>
                    <a:pt x="10" y="38"/>
                  </a:cubicBezTo>
                  <a:cubicBezTo>
                    <a:pt x="10" y="38"/>
                    <a:pt x="9" y="38"/>
                    <a:pt x="7" y="38"/>
                  </a:cubicBezTo>
                  <a:cubicBezTo>
                    <a:pt x="6" y="36"/>
                    <a:pt x="6" y="38"/>
                    <a:pt x="4" y="38"/>
                  </a:cubicBezTo>
                  <a:cubicBezTo>
                    <a:pt x="4" y="31"/>
                    <a:pt x="3" y="36"/>
                    <a:pt x="3" y="35"/>
                  </a:cubicBezTo>
                  <a:close/>
                  <a:moveTo>
                    <a:pt x="53" y="31"/>
                  </a:moveTo>
                  <a:cubicBezTo>
                    <a:pt x="55" y="31"/>
                    <a:pt x="58" y="35"/>
                    <a:pt x="56" y="36"/>
                  </a:cubicBezTo>
                  <a:cubicBezTo>
                    <a:pt x="53" y="36"/>
                    <a:pt x="52" y="33"/>
                    <a:pt x="53" y="31"/>
                  </a:cubicBezTo>
                  <a:close/>
                  <a:moveTo>
                    <a:pt x="23" y="7"/>
                  </a:moveTo>
                  <a:cubicBezTo>
                    <a:pt x="23" y="7"/>
                    <a:pt x="26" y="7"/>
                    <a:pt x="24" y="7"/>
                  </a:cubicBezTo>
                  <a:cubicBezTo>
                    <a:pt x="24" y="8"/>
                    <a:pt x="23" y="8"/>
                    <a:pt x="23" y="7"/>
                  </a:cubicBezTo>
                  <a:close/>
                  <a:moveTo>
                    <a:pt x="21" y="30"/>
                  </a:moveTo>
                  <a:cubicBezTo>
                    <a:pt x="20" y="28"/>
                    <a:pt x="20" y="28"/>
                    <a:pt x="20" y="28"/>
                  </a:cubicBezTo>
                  <a:cubicBezTo>
                    <a:pt x="20" y="30"/>
                    <a:pt x="20" y="30"/>
                    <a:pt x="18" y="28"/>
                  </a:cubicBezTo>
                  <a:cubicBezTo>
                    <a:pt x="18" y="28"/>
                    <a:pt x="15" y="30"/>
                    <a:pt x="13" y="30"/>
                  </a:cubicBezTo>
                  <a:cubicBezTo>
                    <a:pt x="13" y="28"/>
                    <a:pt x="12" y="30"/>
                    <a:pt x="13" y="30"/>
                  </a:cubicBezTo>
                  <a:cubicBezTo>
                    <a:pt x="15" y="31"/>
                    <a:pt x="15" y="31"/>
                    <a:pt x="15" y="33"/>
                  </a:cubicBezTo>
                  <a:cubicBezTo>
                    <a:pt x="15" y="35"/>
                    <a:pt x="15" y="33"/>
                    <a:pt x="16" y="33"/>
                  </a:cubicBezTo>
                  <a:cubicBezTo>
                    <a:pt x="16" y="35"/>
                    <a:pt x="15" y="35"/>
                    <a:pt x="16" y="35"/>
                  </a:cubicBezTo>
                  <a:cubicBezTo>
                    <a:pt x="20" y="35"/>
                    <a:pt x="20" y="36"/>
                    <a:pt x="21" y="35"/>
                  </a:cubicBezTo>
                  <a:cubicBezTo>
                    <a:pt x="23" y="33"/>
                    <a:pt x="21" y="31"/>
                    <a:pt x="21" y="30"/>
                  </a:cubicBezTo>
                  <a:close/>
                  <a:moveTo>
                    <a:pt x="20" y="27"/>
                  </a:moveTo>
                  <a:cubicBezTo>
                    <a:pt x="20" y="25"/>
                    <a:pt x="20" y="24"/>
                    <a:pt x="20" y="24"/>
                  </a:cubicBezTo>
                  <a:cubicBezTo>
                    <a:pt x="21" y="25"/>
                    <a:pt x="20" y="27"/>
                    <a:pt x="20" y="27"/>
                  </a:cubicBezTo>
                  <a:close/>
                  <a:moveTo>
                    <a:pt x="23" y="35"/>
                  </a:moveTo>
                  <a:cubicBezTo>
                    <a:pt x="23" y="35"/>
                    <a:pt x="21" y="35"/>
                    <a:pt x="21" y="36"/>
                  </a:cubicBezTo>
                  <a:cubicBezTo>
                    <a:pt x="21" y="36"/>
                    <a:pt x="20" y="38"/>
                    <a:pt x="20" y="39"/>
                  </a:cubicBezTo>
                  <a:cubicBezTo>
                    <a:pt x="21" y="41"/>
                    <a:pt x="21" y="36"/>
                    <a:pt x="23" y="35"/>
                  </a:cubicBezTo>
                  <a:close/>
                  <a:moveTo>
                    <a:pt x="29" y="41"/>
                  </a:moveTo>
                  <a:cubicBezTo>
                    <a:pt x="30" y="41"/>
                    <a:pt x="30" y="39"/>
                    <a:pt x="30" y="39"/>
                  </a:cubicBezTo>
                  <a:cubicBezTo>
                    <a:pt x="29" y="38"/>
                    <a:pt x="29" y="36"/>
                    <a:pt x="29" y="38"/>
                  </a:cubicBezTo>
                  <a:cubicBezTo>
                    <a:pt x="29" y="38"/>
                    <a:pt x="27" y="38"/>
                    <a:pt x="26" y="36"/>
                  </a:cubicBezTo>
                  <a:cubicBezTo>
                    <a:pt x="24" y="36"/>
                    <a:pt x="24" y="38"/>
                    <a:pt x="24" y="38"/>
                  </a:cubicBezTo>
                  <a:cubicBezTo>
                    <a:pt x="23" y="39"/>
                    <a:pt x="27" y="41"/>
                    <a:pt x="29" y="41"/>
                  </a:cubicBezTo>
                  <a:close/>
                  <a:moveTo>
                    <a:pt x="32" y="39"/>
                  </a:moveTo>
                  <a:cubicBezTo>
                    <a:pt x="33" y="38"/>
                    <a:pt x="32" y="38"/>
                    <a:pt x="32" y="38"/>
                  </a:cubicBezTo>
                  <a:cubicBezTo>
                    <a:pt x="30" y="36"/>
                    <a:pt x="30" y="36"/>
                    <a:pt x="32" y="36"/>
                  </a:cubicBezTo>
                  <a:cubicBezTo>
                    <a:pt x="32" y="36"/>
                    <a:pt x="33" y="36"/>
                    <a:pt x="32" y="35"/>
                  </a:cubicBezTo>
                  <a:cubicBezTo>
                    <a:pt x="32" y="33"/>
                    <a:pt x="32" y="33"/>
                    <a:pt x="33" y="33"/>
                  </a:cubicBezTo>
                  <a:cubicBezTo>
                    <a:pt x="35" y="33"/>
                    <a:pt x="35" y="31"/>
                    <a:pt x="33" y="31"/>
                  </a:cubicBezTo>
                  <a:cubicBezTo>
                    <a:pt x="32" y="30"/>
                    <a:pt x="33" y="28"/>
                    <a:pt x="35" y="28"/>
                  </a:cubicBezTo>
                  <a:cubicBezTo>
                    <a:pt x="36" y="28"/>
                    <a:pt x="35" y="25"/>
                    <a:pt x="36" y="24"/>
                  </a:cubicBezTo>
                  <a:cubicBezTo>
                    <a:pt x="36" y="22"/>
                    <a:pt x="35" y="22"/>
                    <a:pt x="33" y="22"/>
                  </a:cubicBezTo>
                  <a:cubicBezTo>
                    <a:pt x="32" y="21"/>
                    <a:pt x="30" y="24"/>
                    <a:pt x="30" y="24"/>
                  </a:cubicBezTo>
                  <a:cubicBezTo>
                    <a:pt x="30" y="25"/>
                    <a:pt x="30" y="25"/>
                    <a:pt x="30" y="27"/>
                  </a:cubicBezTo>
                  <a:cubicBezTo>
                    <a:pt x="30" y="28"/>
                    <a:pt x="29" y="27"/>
                    <a:pt x="29" y="25"/>
                  </a:cubicBezTo>
                  <a:cubicBezTo>
                    <a:pt x="29" y="25"/>
                    <a:pt x="30" y="24"/>
                    <a:pt x="29" y="24"/>
                  </a:cubicBezTo>
                  <a:cubicBezTo>
                    <a:pt x="27" y="25"/>
                    <a:pt x="26" y="24"/>
                    <a:pt x="26" y="24"/>
                  </a:cubicBezTo>
                  <a:cubicBezTo>
                    <a:pt x="24" y="24"/>
                    <a:pt x="29" y="24"/>
                    <a:pt x="26" y="27"/>
                  </a:cubicBezTo>
                  <a:cubicBezTo>
                    <a:pt x="24" y="27"/>
                    <a:pt x="23" y="27"/>
                    <a:pt x="23" y="27"/>
                  </a:cubicBezTo>
                  <a:cubicBezTo>
                    <a:pt x="21" y="27"/>
                    <a:pt x="24" y="28"/>
                    <a:pt x="24" y="28"/>
                  </a:cubicBezTo>
                  <a:cubicBezTo>
                    <a:pt x="24" y="30"/>
                    <a:pt x="26" y="30"/>
                    <a:pt x="24" y="31"/>
                  </a:cubicBezTo>
                  <a:cubicBezTo>
                    <a:pt x="23" y="31"/>
                    <a:pt x="26" y="31"/>
                    <a:pt x="26" y="33"/>
                  </a:cubicBezTo>
                  <a:cubicBezTo>
                    <a:pt x="26" y="35"/>
                    <a:pt x="26" y="33"/>
                    <a:pt x="27" y="33"/>
                  </a:cubicBezTo>
                  <a:cubicBezTo>
                    <a:pt x="29" y="35"/>
                    <a:pt x="29" y="33"/>
                    <a:pt x="29" y="35"/>
                  </a:cubicBezTo>
                  <a:cubicBezTo>
                    <a:pt x="29" y="36"/>
                    <a:pt x="29" y="35"/>
                    <a:pt x="29" y="35"/>
                  </a:cubicBezTo>
                  <a:cubicBezTo>
                    <a:pt x="27" y="36"/>
                    <a:pt x="30" y="36"/>
                    <a:pt x="29" y="36"/>
                  </a:cubicBezTo>
                  <a:cubicBezTo>
                    <a:pt x="29" y="36"/>
                    <a:pt x="29" y="38"/>
                    <a:pt x="30" y="38"/>
                  </a:cubicBezTo>
                  <a:cubicBezTo>
                    <a:pt x="30" y="39"/>
                    <a:pt x="30" y="41"/>
                    <a:pt x="32" y="41"/>
                  </a:cubicBezTo>
                  <a:cubicBezTo>
                    <a:pt x="32" y="42"/>
                    <a:pt x="32" y="39"/>
                    <a:pt x="32" y="39"/>
                  </a:cubicBezTo>
                  <a:close/>
                  <a:moveTo>
                    <a:pt x="33" y="36"/>
                  </a:moveTo>
                  <a:cubicBezTo>
                    <a:pt x="33" y="36"/>
                    <a:pt x="33" y="35"/>
                    <a:pt x="35" y="36"/>
                  </a:cubicBezTo>
                  <a:cubicBezTo>
                    <a:pt x="36" y="36"/>
                    <a:pt x="32" y="38"/>
                    <a:pt x="33" y="3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99" name="Freeform 185"/>
            <p:cNvSpPr>
              <a:spLocks noEditPoints="1"/>
            </p:cNvSpPr>
            <p:nvPr/>
          </p:nvSpPr>
          <p:spPr bwMode="auto">
            <a:xfrm>
              <a:off x="5656147" y="2958501"/>
              <a:ext cx="188227" cy="257721"/>
            </a:xfrm>
            <a:custGeom>
              <a:avLst/>
              <a:gdLst/>
              <a:ahLst/>
              <a:cxnLst>
                <a:cxn ang="0">
                  <a:pos x="56" y="81"/>
                </a:cxn>
                <a:cxn ang="0">
                  <a:pos x="57" y="90"/>
                </a:cxn>
                <a:cxn ang="0">
                  <a:pos x="51" y="87"/>
                </a:cxn>
                <a:cxn ang="0">
                  <a:pos x="41" y="90"/>
                </a:cxn>
                <a:cxn ang="0">
                  <a:pos x="36" y="92"/>
                </a:cxn>
                <a:cxn ang="0">
                  <a:pos x="26" y="89"/>
                </a:cxn>
                <a:cxn ang="0">
                  <a:pos x="20" y="89"/>
                </a:cxn>
                <a:cxn ang="0">
                  <a:pos x="18" y="73"/>
                </a:cxn>
                <a:cxn ang="0">
                  <a:pos x="9" y="70"/>
                </a:cxn>
                <a:cxn ang="0">
                  <a:pos x="6" y="62"/>
                </a:cxn>
                <a:cxn ang="0">
                  <a:pos x="4" y="55"/>
                </a:cxn>
                <a:cxn ang="0">
                  <a:pos x="1" y="48"/>
                </a:cxn>
                <a:cxn ang="0">
                  <a:pos x="3" y="42"/>
                </a:cxn>
                <a:cxn ang="0">
                  <a:pos x="7" y="36"/>
                </a:cxn>
                <a:cxn ang="0">
                  <a:pos x="7" y="30"/>
                </a:cxn>
                <a:cxn ang="0">
                  <a:pos x="12" y="22"/>
                </a:cxn>
                <a:cxn ang="0">
                  <a:pos x="15" y="16"/>
                </a:cxn>
                <a:cxn ang="0">
                  <a:pos x="21" y="17"/>
                </a:cxn>
                <a:cxn ang="0">
                  <a:pos x="23" y="14"/>
                </a:cxn>
                <a:cxn ang="0">
                  <a:pos x="26" y="13"/>
                </a:cxn>
                <a:cxn ang="0">
                  <a:pos x="24" y="10"/>
                </a:cxn>
                <a:cxn ang="0">
                  <a:pos x="26" y="5"/>
                </a:cxn>
                <a:cxn ang="0">
                  <a:pos x="26" y="2"/>
                </a:cxn>
                <a:cxn ang="0">
                  <a:pos x="32" y="2"/>
                </a:cxn>
                <a:cxn ang="0">
                  <a:pos x="33" y="7"/>
                </a:cxn>
                <a:cxn ang="0">
                  <a:pos x="41" y="8"/>
                </a:cxn>
                <a:cxn ang="0">
                  <a:pos x="39" y="13"/>
                </a:cxn>
                <a:cxn ang="0">
                  <a:pos x="48" y="10"/>
                </a:cxn>
                <a:cxn ang="0">
                  <a:pos x="56" y="7"/>
                </a:cxn>
                <a:cxn ang="0">
                  <a:pos x="64" y="11"/>
                </a:cxn>
                <a:cxn ang="0">
                  <a:pos x="67" y="16"/>
                </a:cxn>
                <a:cxn ang="0">
                  <a:pos x="68" y="28"/>
                </a:cxn>
                <a:cxn ang="0">
                  <a:pos x="70" y="41"/>
                </a:cxn>
                <a:cxn ang="0">
                  <a:pos x="68" y="48"/>
                </a:cxn>
                <a:cxn ang="0">
                  <a:pos x="54" y="56"/>
                </a:cxn>
                <a:cxn ang="0">
                  <a:pos x="56" y="67"/>
                </a:cxn>
                <a:cxn ang="0">
                  <a:pos x="61" y="80"/>
                </a:cxn>
                <a:cxn ang="0">
                  <a:pos x="64" y="11"/>
                </a:cxn>
                <a:cxn ang="0">
                  <a:pos x="64" y="14"/>
                </a:cxn>
                <a:cxn ang="0">
                  <a:pos x="67" y="13"/>
                </a:cxn>
                <a:cxn ang="0">
                  <a:pos x="44" y="7"/>
                </a:cxn>
                <a:cxn ang="0">
                  <a:pos x="61" y="10"/>
                </a:cxn>
                <a:cxn ang="0">
                  <a:pos x="62" y="8"/>
                </a:cxn>
                <a:cxn ang="0">
                  <a:pos x="59" y="3"/>
                </a:cxn>
                <a:cxn ang="0">
                  <a:pos x="59" y="5"/>
                </a:cxn>
                <a:cxn ang="0">
                  <a:pos x="59" y="10"/>
                </a:cxn>
              </a:cxnLst>
              <a:rect l="0" t="0" r="r" b="b"/>
              <a:pathLst>
                <a:path w="74" h="92">
                  <a:moveTo>
                    <a:pt x="61" y="80"/>
                  </a:moveTo>
                  <a:cubicBezTo>
                    <a:pt x="61" y="81"/>
                    <a:pt x="59" y="80"/>
                    <a:pt x="56" y="81"/>
                  </a:cubicBezTo>
                  <a:cubicBezTo>
                    <a:pt x="54" y="84"/>
                    <a:pt x="59" y="86"/>
                    <a:pt x="57" y="86"/>
                  </a:cubicBezTo>
                  <a:cubicBezTo>
                    <a:pt x="54" y="87"/>
                    <a:pt x="59" y="89"/>
                    <a:pt x="57" y="90"/>
                  </a:cubicBezTo>
                  <a:cubicBezTo>
                    <a:pt x="56" y="92"/>
                    <a:pt x="56" y="87"/>
                    <a:pt x="54" y="89"/>
                  </a:cubicBezTo>
                  <a:cubicBezTo>
                    <a:pt x="53" y="89"/>
                    <a:pt x="51" y="86"/>
                    <a:pt x="51" y="87"/>
                  </a:cubicBezTo>
                  <a:cubicBezTo>
                    <a:pt x="50" y="90"/>
                    <a:pt x="48" y="87"/>
                    <a:pt x="47" y="89"/>
                  </a:cubicBezTo>
                  <a:cubicBezTo>
                    <a:pt x="44" y="90"/>
                    <a:pt x="42" y="92"/>
                    <a:pt x="41" y="90"/>
                  </a:cubicBezTo>
                  <a:cubicBezTo>
                    <a:pt x="41" y="89"/>
                    <a:pt x="39" y="90"/>
                    <a:pt x="38" y="89"/>
                  </a:cubicBezTo>
                  <a:cubicBezTo>
                    <a:pt x="36" y="89"/>
                    <a:pt x="38" y="92"/>
                    <a:pt x="36" y="92"/>
                  </a:cubicBezTo>
                  <a:cubicBezTo>
                    <a:pt x="35" y="92"/>
                    <a:pt x="33" y="87"/>
                    <a:pt x="30" y="90"/>
                  </a:cubicBezTo>
                  <a:cubicBezTo>
                    <a:pt x="29" y="89"/>
                    <a:pt x="27" y="87"/>
                    <a:pt x="26" y="89"/>
                  </a:cubicBezTo>
                  <a:cubicBezTo>
                    <a:pt x="24" y="89"/>
                    <a:pt x="24" y="86"/>
                    <a:pt x="23" y="87"/>
                  </a:cubicBezTo>
                  <a:cubicBezTo>
                    <a:pt x="20" y="87"/>
                    <a:pt x="23" y="89"/>
                    <a:pt x="20" y="89"/>
                  </a:cubicBezTo>
                  <a:cubicBezTo>
                    <a:pt x="16" y="89"/>
                    <a:pt x="16" y="90"/>
                    <a:pt x="13" y="89"/>
                  </a:cubicBezTo>
                  <a:cubicBezTo>
                    <a:pt x="13" y="76"/>
                    <a:pt x="21" y="73"/>
                    <a:pt x="18" y="73"/>
                  </a:cubicBezTo>
                  <a:cubicBezTo>
                    <a:pt x="16" y="72"/>
                    <a:pt x="15" y="70"/>
                    <a:pt x="12" y="72"/>
                  </a:cubicBezTo>
                  <a:cubicBezTo>
                    <a:pt x="9" y="72"/>
                    <a:pt x="10" y="70"/>
                    <a:pt x="9" y="70"/>
                  </a:cubicBezTo>
                  <a:cubicBezTo>
                    <a:pt x="6" y="70"/>
                    <a:pt x="7" y="67"/>
                    <a:pt x="4" y="67"/>
                  </a:cubicBezTo>
                  <a:cubicBezTo>
                    <a:pt x="4" y="64"/>
                    <a:pt x="7" y="64"/>
                    <a:pt x="6" y="62"/>
                  </a:cubicBezTo>
                  <a:cubicBezTo>
                    <a:pt x="6" y="62"/>
                    <a:pt x="3" y="62"/>
                    <a:pt x="3" y="58"/>
                  </a:cubicBezTo>
                  <a:cubicBezTo>
                    <a:pt x="7" y="55"/>
                    <a:pt x="3" y="56"/>
                    <a:pt x="4" y="55"/>
                  </a:cubicBezTo>
                  <a:cubicBezTo>
                    <a:pt x="4" y="53"/>
                    <a:pt x="3" y="53"/>
                    <a:pt x="1" y="52"/>
                  </a:cubicBezTo>
                  <a:cubicBezTo>
                    <a:pt x="1" y="52"/>
                    <a:pt x="4" y="50"/>
                    <a:pt x="1" y="48"/>
                  </a:cubicBezTo>
                  <a:cubicBezTo>
                    <a:pt x="0" y="48"/>
                    <a:pt x="3" y="48"/>
                    <a:pt x="3" y="47"/>
                  </a:cubicBezTo>
                  <a:cubicBezTo>
                    <a:pt x="3" y="45"/>
                    <a:pt x="4" y="45"/>
                    <a:pt x="3" y="42"/>
                  </a:cubicBezTo>
                  <a:cubicBezTo>
                    <a:pt x="1" y="39"/>
                    <a:pt x="1" y="38"/>
                    <a:pt x="4" y="39"/>
                  </a:cubicBezTo>
                  <a:cubicBezTo>
                    <a:pt x="6" y="39"/>
                    <a:pt x="9" y="38"/>
                    <a:pt x="7" y="36"/>
                  </a:cubicBezTo>
                  <a:cubicBezTo>
                    <a:pt x="6" y="36"/>
                    <a:pt x="10" y="34"/>
                    <a:pt x="10" y="33"/>
                  </a:cubicBezTo>
                  <a:cubicBezTo>
                    <a:pt x="10" y="30"/>
                    <a:pt x="7" y="33"/>
                    <a:pt x="7" y="30"/>
                  </a:cubicBezTo>
                  <a:cubicBezTo>
                    <a:pt x="7" y="28"/>
                    <a:pt x="7" y="28"/>
                    <a:pt x="9" y="28"/>
                  </a:cubicBezTo>
                  <a:cubicBezTo>
                    <a:pt x="10" y="30"/>
                    <a:pt x="10" y="28"/>
                    <a:pt x="12" y="22"/>
                  </a:cubicBezTo>
                  <a:cubicBezTo>
                    <a:pt x="12" y="21"/>
                    <a:pt x="9" y="22"/>
                    <a:pt x="10" y="19"/>
                  </a:cubicBezTo>
                  <a:cubicBezTo>
                    <a:pt x="10" y="16"/>
                    <a:pt x="12" y="16"/>
                    <a:pt x="15" y="16"/>
                  </a:cubicBezTo>
                  <a:cubicBezTo>
                    <a:pt x="21" y="16"/>
                    <a:pt x="16" y="17"/>
                    <a:pt x="20" y="19"/>
                  </a:cubicBezTo>
                  <a:cubicBezTo>
                    <a:pt x="21" y="21"/>
                    <a:pt x="18" y="17"/>
                    <a:pt x="21" y="17"/>
                  </a:cubicBezTo>
                  <a:cubicBezTo>
                    <a:pt x="23" y="17"/>
                    <a:pt x="21" y="21"/>
                    <a:pt x="23" y="21"/>
                  </a:cubicBezTo>
                  <a:cubicBezTo>
                    <a:pt x="24" y="19"/>
                    <a:pt x="21" y="13"/>
                    <a:pt x="23" y="14"/>
                  </a:cubicBezTo>
                  <a:cubicBezTo>
                    <a:pt x="26" y="14"/>
                    <a:pt x="27" y="14"/>
                    <a:pt x="29" y="16"/>
                  </a:cubicBezTo>
                  <a:cubicBezTo>
                    <a:pt x="30" y="17"/>
                    <a:pt x="29" y="14"/>
                    <a:pt x="26" y="13"/>
                  </a:cubicBezTo>
                  <a:cubicBezTo>
                    <a:pt x="24" y="13"/>
                    <a:pt x="24" y="13"/>
                    <a:pt x="26" y="11"/>
                  </a:cubicBezTo>
                  <a:cubicBezTo>
                    <a:pt x="27" y="11"/>
                    <a:pt x="23" y="11"/>
                    <a:pt x="24" y="10"/>
                  </a:cubicBezTo>
                  <a:cubicBezTo>
                    <a:pt x="26" y="8"/>
                    <a:pt x="23" y="10"/>
                    <a:pt x="23" y="8"/>
                  </a:cubicBezTo>
                  <a:cubicBezTo>
                    <a:pt x="23" y="7"/>
                    <a:pt x="27" y="8"/>
                    <a:pt x="26" y="5"/>
                  </a:cubicBezTo>
                  <a:cubicBezTo>
                    <a:pt x="24" y="3"/>
                    <a:pt x="23" y="3"/>
                    <a:pt x="23" y="2"/>
                  </a:cubicBezTo>
                  <a:cubicBezTo>
                    <a:pt x="24" y="2"/>
                    <a:pt x="24" y="0"/>
                    <a:pt x="26" y="2"/>
                  </a:cubicBezTo>
                  <a:cubicBezTo>
                    <a:pt x="27" y="2"/>
                    <a:pt x="29" y="2"/>
                    <a:pt x="29" y="2"/>
                  </a:cubicBezTo>
                  <a:cubicBezTo>
                    <a:pt x="30" y="3"/>
                    <a:pt x="30" y="2"/>
                    <a:pt x="32" y="2"/>
                  </a:cubicBezTo>
                  <a:cubicBezTo>
                    <a:pt x="33" y="3"/>
                    <a:pt x="33" y="2"/>
                    <a:pt x="33" y="3"/>
                  </a:cubicBezTo>
                  <a:cubicBezTo>
                    <a:pt x="35" y="7"/>
                    <a:pt x="32" y="7"/>
                    <a:pt x="33" y="7"/>
                  </a:cubicBezTo>
                  <a:cubicBezTo>
                    <a:pt x="35" y="7"/>
                    <a:pt x="35" y="8"/>
                    <a:pt x="36" y="7"/>
                  </a:cubicBezTo>
                  <a:cubicBezTo>
                    <a:pt x="38" y="7"/>
                    <a:pt x="36" y="10"/>
                    <a:pt x="41" y="8"/>
                  </a:cubicBezTo>
                  <a:cubicBezTo>
                    <a:pt x="44" y="7"/>
                    <a:pt x="42" y="8"/>
                    <a:pt x="42" y="10"/>
                  </a:cubicBezTo>
                  <a:cubicBezTo>
                    <a:pt x="44" y="11"/>
                    <a:pt x="39" y="11"/>
                    <a:pt x="39" y="13"/>
                  </a:cubicBezTo>
                  <a:cubicBezTo>
                    <a:pt x="41" y="14"/>
                    <a:pt x="42" y="11"/>
                    <a:pt x="44" y="13"/>
                  </a:cubicBezTo>
                  <a:cubicBezTo>
                    <a:pt x="47" y="14"/>
                    <a:pt x="44" y="10"/>
                    <a:pt x="48" y="10"/>
                  </a:cubicBezTo>
                  <a:cubicBezTo>
                    <a:pt x="51" y="10"/>
                    <a:pt x="53" y="7"/>
                    <a:pt x="53" y="7"/>
                  </a:cubicBezTo>
                  <a:cubicBezTo>
                    <a:pt x="54" y="5"/>
                    <a:pt x="54" y="8"/>
                    <a:pt x="56" y="7"/>
                  </a:cubicBezTo>
                  <a:cubicBezTo>
                    <a:pt x="57" y="7"/>
                    <a:pt x="56" y="8"/>
                    <a:pt x="59" y="10"/>
                  </a:cubicBezTo>
                  <a:cubicBezTo>
                    <a:pt x="61" y="13"/>
                    <a:pt x="64" y="10"/>
                    <a:pt x="64" y="11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4" y="16"/>
                    <a:pt x="67" y="16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70" y="24"/>
                    <a:pt x="64" y="25"/>
                    <a:pt x="68" y="28"/>
                  </a:cubicBezTo>
                  <a:cubicBezTo>
                    <a:pt x="73" y="31"/>
                    <a:pt x="68" y="31"/>
                    <a:pt x="70" y="33"/>
                  </a:cubicBezTo>
                  <a:cubicBezTo>
                    <a:pt x="73" y="38"/>
                    <a:pt x="70" y="38"/>
                    <a:pt x="70" y="41"/>
                  </a:cubicBezTo>
                  <a:cubicBezTo>
                    <a:pt x="71" y="45"/>
                    <a:pt x="74" y="41"/>
                    <a:pt x="73" y="50"/>
                  </a:cubicBezTo>
                  <a:cubicBezTo>
                    <a:pt x="70" y="52"/>
                    <a:pt x="68" y="48"/>
                    <a:pt x="68" y="48"/>
                  </a:cubicBezTo>
                  <a:cubicBezTo>
                    <a:pt x="67" y="48"/>
                    <a:pt x="70" y="50"/>
                    <a:pt x="65" y="52"/>
                  </a:cubicBezTo>
                  <a:cubicBezTo>
                    <a:pt x="61" y="52"/>
                    <a:pt x="59" y="55"/>
                    <a:pt x="54" y="56"/>
                  </a:cubicBezTo>
                  <a:cubicBezTo>
                    <a:pt x="51" y="58"/>
                    <a:pt x="50" y="58"/>
                    <a:pt x="51" y="61"/>
                  </a:cubicBezTo>
                  <a:cubicBezTo>
                    <a:pt x="54" y="64"/>
                    <a:pt x="50" y="66"/>
                    <a:pt x="56" y="67"/>
                  </a:cubicBezTo>
                  <a:cubicBezTo>
                    <a:pt x="59" y="69"/>
                    <a:pt x="59" y="72"/>
                    <a:pt x="64" y="75"/>
                  </a:cubicBezTo>
                  <a:cubicBezTo>
                    <a:pt x="64" y="80"/>
                    <a:pt x="61" y="76"/>
                    <a:pt x="61" y="80"/>
                  </a:cubicBezTo>
                  <a:close/>
                  <a:moveTo>
                    <a:pt x="67" y="13"/>
                  </a:moveTo>
                  <a:cubicBezTo>
                    <a:pt x="65" y="13"/>
                    <a:pt x="65" y="11"/>
                    <a:pt x="64" y="11"/>
                  </a:cubicBezTo>
                  <a:cubicBezTo>
                    <a:pt x="64" y="10"/>
                    <a:pt x="64" y="13"/>
                    <a:pt x="65" y="13"/>
                  </a:cubicBezTo>
                  <a:cubicBezTo>
                    <a:pt x="65" y="14"/>
                    <a:pt x="64" y="14"/>
                    <a:pt x="64" y="14"/>
                  </a:cubicBezTo>
                  <a:cubicBezTo>
                    <a:pt x="65" y="14"/>
                    <a:pt x="67" y="14"/>
                    <a:pt x="67" y="14"/>
                  </a:cubicBezTo>
                  <a:cubicBezTo>
                    <a:pt x="67" y="13"/>
                    <a:pt x="67" y="13"/>
                    <a:pt x="67" y="13"/>
                  </a:cubicBezTo>
                  <a:close/>
                  <a:moveTo>
                    <a:pt x="42" y="7"/>
                  </a:moveTo>
                  <a:cubicBezTo>
                    <a:pt x="42" y="5"/>
                    <a:pt x="44" y="7"/>
                    <a:pt x="44" y="7"/>
                  </a:cubicBezTo>
                  <a:cubicBezTo>
                    <a:pt x="44" y="8"/>
                    <a:pt x="41" y="7"/>
                    <a:pt x="42" y="7"/>
                  </a:cubicBezTo>
                  <a:close/>
                  <a:moveTo>
                    <a:pt x="61" y="10"/>
                  </a:moveTo>
                  <a:cubicBezTo>
                    <a:pt x="61" y="8"/>
                    <a:pt x="61" y="7"/>
                    <a:pt x="62" y="8"/>
                  </a:cubicBezTo>
                  <a:cubicBezTo>
                    <a:pt x="64" y="10"/>
                    <a:pt x="64" y="8"/>
                    <a:pt x="62" y="8"/>
                  </a:cubicBezTo>
                  <a:cubicBezTo>
                    <a:pt x="61" y="7"/>
                    <a:pt x="64" y="5"/>
                    <a:pt x="62" y="5"/>
                  </a:cubicBezTo>
                  <a:cubicBezTo>
                    <a:pt x="61" y="5"/>
                    <a:pt x="61" y="3"/>
                    <a:pt x="59" y="3"/>
                  </a:cubicBezTo>
                  <a:cubicBezTo>
                    <a:pt x="57" y="5"/>
                    <a:pt x="61" y="5"/>
                    <a:pt x="61" y="7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7" y="5"/>
                    <a:pt x="59" y="7"/>
                    <a:pt x="59" y="8"/>
                  </a:cubicBezTo>
                  <a:cubicBezTo>
                    <a:pt x="57" y="8"/>
                    <a:pt x="59" y="8"/>
                    <a:pt x="59" y="10"/>
                  </a:cubicBezTo>
                  <a:cubicBezTo>
                    <a:pt x="61" y="10"/>
                    <a:pt x="61" y="10"/>
                    <a:pt x="61" y="1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0" name="Freeform 186"/>
            <p:cNvSpPr>
              <a:spLocks/>
            </p:cNvSpPr>
            <p:nvPr/>
          </p:nvSpPr>
          <p:spPr bwMode="auto">
            <a:xfrm>
              <a:off x="5610078" y="3010624"/>
              <a:ext cx="76343" cy="89767"/>
            </a:xfrm>
            <a:custGeom>
              <a:avLst/>
              <a:gdLst/>
              <a:ahLst/>
              <a:cxnLst>
                <a:cxn ang="0">
                  <a:pos x="27" y="9"/>
                </a:cxn>
                <a:cxn ang="0">
                  <a:pos x="25" y="11"/>
                </a:cxn>
                <a:cxn ang="0">
                  <a:pos x="28" y="14"/>
                </a:cxn>
                <a:cxn ang="0">
                  <a:pos x="25" y="17"/>
                </a:cxn>
                <a:cxn ang="0">
                  <a:pos x="22" y="20"/>
                </a:cxn>
                <a:cxn ang="0">
                  <a:pos x="21" y="23"/>
                </a:cxn>
                <a:cxn ang="0">
                  <a:pos x="21" y="28"/>
                </a:cxn>
                <a:cxn ang="0">
                  <a:pos x="19" y="29"/>
                </a:cxn>
                <a:cxn ang="0">
                  <a:pos x="19" y="32"/>
                </a:cxn>
                <a:cxn ang="0">
                  <a:pos x="16" y="26"/>
                </a:cxn>
                <a:cxn ang="0">
                  <a:pos x="12" y="25"/>
                </a:cxn>
                <a:cxn ang="0">
                  <a:pos x="9" y="25"/>
                </a:cxn>
                <a:cxn ang="0">
                  <a:pos x="7" y="25"/>
                </a:cxn>
                <a:cxn ang="0">
                  <a:pos x="4" y="26"/>
                </a:cxn>
                <a:cxn ang="0">
                  <a:pos x="1" y="26"/>
                </a:cxn>
                <a:cxn ang="0">
                  <a:pos x="0" y="25"/>
                </a:cxn>
                <a:cxn ang="0">
                  <a:pos x="1" y="26"/>
                </a:cxn>
                <a:cxn ang="0">
                  <a:pos x="4" y="25"/>
                </a:cxn>
                <a:cxn ang="0">
                  <a:pos x="4" y="25"/>
                </a:cxn>
                <a:cxn ang="0">
                  <a:pos x="0" y="23"/>
                </a:cxn>
                <a:cxn ang="0">
                  <a:pos x="4" y="23"/>
                </a:cxn>
                <a:cxn ang="0">
                  <a:pos x="1" y="22"/>
                </a:cxn>
                <a:cxn ang="0">
                  <a:pos x="4" y="18"/>
                </a:cxn>
                <a:cxn ang="0">
                  <a:pos x="7" y="14"/>
                </a:cxn>
                <a:cxn ang="0">
                  <a:pos x="10" y="6"/>
                </a:cxn>
                <a:cxn ang="0">
                  <a:pos x="12" y="8"/>
                </a:cxn>
                <a:cxn ang="0">
                  <a:pos x="13" y="9"/>
                </a:cxn>
                <a:cxn ang="0">
                  <a:pos x="13" y="14"/>
                </a:cxn>
                <a:cxn ang="0">
                  <a:pos x="16" y="11"/>
                </a:cxn>
                <a:cxn ang="0">
                  <a:pos x="16" y="8"/>
                </a:cxn>
                <a:cxn ang="0">
                  <a:pos x="15" y="5"/>
                </a:cxn>
                <a:cxn ang="0">
                  <a:pos x="19" y="0"/>
                </a:cxn>
                <a:cxn ang="0">
                  <a:pos x="27" y="1"/>
                </a:cxn>
                <a:cxn ang="0">
                  <a:pos x="30" y="3"/>
                </a:cxn>
                <a:cxn ang="0">
                  <a:pos x="27" y="9"/>
                </a:cxn>
              </a:cxnLst>
              <a:rect l="0" t="0" r="r" b="b"/>
              <a:pathLst>
                <a:path w="30" h="32">
                  <a:moveTo>
                    <a:pt x="27" y="9"/>
                  </a:moveTo>
                  <a:cubicBezTo>
                    <a:pt x="25" y="9"/>
                    <a:pt x="25" y="9"/>
                    <a:pt x="25" y="11"/>
                  </a:cubicBezTo>
                  <a:cubicBezTo>
                    <a:pt x="25" y="14"/>
                    <a:pt x="28" y="11"/>
                    <a:pt x="28" y="14"/>
                  </a:cubicBezTo>
                  <a:cubicBezTo>
                    <a:pt x="28" y="15"/>
                    <a:pt x="24" y="17"/>
                    <a:pt x="25" y="17"/>
                  </a:cubicBezTo>
                  <a:cubicBezTo>
                    <a:pt x="27" y="18"/>
                    <a:pt x="24" y="20"/>
                    <a:pt x="22" y="20"/>
                  </a:cubicBezTo>
                  <a:cubicBezTo>
                    <a:pt x="19" y="18"/>
                    <a:pt x="19" y="20"/>
                    <a:pt x="21" y="23"/>
                  </a:cubicBezTo>
                  <a:cubicBezTo>
                    <a:pt x="22" y="26"/>
                    <a:pt x="21" y="26"/>
                    <a:pt x="21" y="28"/>
                  </a:cubicBezTo>
                  <a:cubicBezTo>
                    <a:pt x="21" y="29"/>
                    <a:pt x="18" y="29"/>
                    <a:pt x="19" y="29"/>
                  </a:cubicBezTo>
                  <a:cubicBezTo>
                    <a:pt x="22" y="31"/>
                    <a:pt x="19" y="32"/>
                    <a:pt x="19" y="32"/>
                  </a:cubicBezTo>
                  <a:cubicBezTo>
                    <a:pt x="13" y="32"/>
                    <a:pt x="22" y="28"/>
                    <a:pt x="16" y="26"/>
                  </a:cubicBezTo>
                  <a:cubicBezTo>
                    <a:pt x="12" y="26"/>
                    <a:pt x="13" y="23"/>
                    <a:pt x="12" y="25"/>
                  </a:cubicBezTo>
                  <a:cubicBezTo>
                    <a:pt x="10" y="25"/>
                    <a:pt x="12" y="23"/>
                    <a:pt x="9" y="25"/>
                  </a:cubicBezTo>
                  <a:cubicBezTo>
                    <a:pt x="7" y="25"/>
                    <a:pt x="9" y="23"/>
                    <a:pt x="7" y="25"/>
                  </a:cubicBezTo>
                  <a:cubicBezTo>
                    <a:pt x="7" y="26"/>
                    <a:pt x="6" y="25"/>
                    <a:pt x="4" y="26"/>
                  </a:cubicBezTo>
                  <a:cubicBezTo>
                    <a:pt x="3" y="28"/>
                    <a:pt x="1" y="26"/>
                    <a:pt x="1" y="26"/>
                  </a:cubicBezTo>
                  <a:cubicBezTo>
                    <a:pt x="0" y="26"/>
                    <a:pt x="0" y="26"/>
                    <a:pt x="0" y="25"/>
                  </a:cubicBezTo>
                  <a:cubicBezTo>
                    <a:pt x="1" y="25"/>
                    <a:pt x="1" y="25"/>
                    <a:pt x="1" y="26"/>
                  </a:cubicBezTo>
                  <a:cubicBezTo>
                    <a:pt x="3" y="26"/>
                    <a:pt x="4" y="25"/>
                    <a:pt x="4" y="25"/>
                  </a:cubicBezTo>
                  <a:cubicBezTo>
                    <a:pt x="6" y="25"/>
                    <a:pt x="4" y="23"/>
                    <a:pt x="4" y="25"/>
                  </a:cubicBezTo>
                  <a:cubicBezTo>
                    <a:pt x="3" y="25"/>
                    <a:pt x="0" y="23"/>
                    <a:pt x="0" y="23"/>
                  </a:cubicBezTo>
                  <a:cubicBezTo>
                    <a:pt x="1" y="22"/>
                    <a:pt x="1" y="23"/>
                    <a:pt x="4" y="23"/>
                  </a:cubicBezTo>
                  <a:cubicBezTo>
                    <a:pt x="9" y="22"/>
                    <a:pt x="3" y="22"/>
                    <a:pt x="1" y="22"/>
                  </a:cubicBezTo>
                  <a:cubicBezTo>
                    <a:pt x="1" y="20"/>
                    <a:pt x="6" y="20"/>
                    <a:pt x="4" y="18"/>
                  </a:cubicBezTo>
                  <a:cubicBezTo>
                    <a:pt x="4" y="17"/>
                    <a:pt x="6" y="20"/>
                    <a:pt x="7" y="14"/>
                  </a:cubicBezTo>
                  <a:cubicBezTo>
                    <a:pt x="10" y="9"/>
                    <a:pt x="9" y="5"/>
                    <a:pt x="10" y="6"/>
                  </a:cubicBezTo>
                  <a:cubicBezTo>
                    <a:pt x="15" y="5"/>
                    <a:pt x="12" y="6"/>
                    <a:pt x="12" y="8"/>
                  </a:cubicBezTo>
                  <a:cubicBezTo>
                    <a:pt x="12" y="9"/>
                    <a:pt x="15" y="9"/>
                    <a:pt x="13" y="9"/>
                  </a:cubicBezTo>
                  <a:cubicBezTo>
                    <a:pt x="12" y="11"/>
                    <a:pt x="12" y="12"/>
                    <a:pt x="13" y="14"/>
                  </a:cubicBezTo>
                  <a:cubicBezTo>
                    <a:pt x="16" y="15"/>
                    <a:pt x="19" y="11"/>
                    <a:pt x="16" y="11"/>
                  </a:cubicBezTo>
                  <a:cubicBezTo>
                    <a:pt x="15" y="9"/>
                    <a:pt x="18" y="8"/>
                    <a:pt x="16" y="8"/>
                  </a:cubicBezTo>
                  <a:cubicBezTo>
                    <a:pt x="15" y="8"/>
                    <a:pt x="16" y="5"/>
                    <a:pt x="15" y="5"/>
                  </a:cubicBezTo>
                  <a:cubicBezTo>
                    <a:pt x="13" y="5"/>
                    <a:pt x="15" y="1"/>
                    <a:pt x="19" y="0"/>
                  </a:cubicBezTo>
                  <a:cubicBezTo>
                    <a:pt x="24" y="0"/>
                    <a:pt x="25" y="0"/>
                    <a:pt x="27" y="1"/>
                  </a:cubicBezTo>
                  <a:cubicBezTo>
                    <a:pt x="28" y="1"/>
                    <a:pt x="28" y="3"/>
                    <a:pt x="30" y="3"/>
                  </a:cubicBezTo>
                  <a:cubicBezTo>
                    <a:pt x="28" y="9"/>
                    <a:pt x="28" y="11"/>
                    <a:pt x="27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1" name="Freeform 187"/>
            <p:cNvSpPr>
              <a:spLocks/>
            </p:cNvSpPr>
            <p:nvPr/>
          </p:nvSpPr>
          <p:spPr bwMode="auto">
            <a:xfrm>
              <a:off x="5589018" y="3075778"/>
              <a:ext cx="86873" cy="70946"/>
            </a:xfrm>
            <a:custGeom>
              <a:avLst/>
              <a:gdLst/>
              <a:ahLst/>
              <a:cxnLst>
                <a:cxn ang="0">
                  <a:pos x="31" y="13"/>
                </a:cxn>
                <a:cxn ang="0">
                  <a:pos x="29" y="16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8" y="18"/>
                </a:cxn>
                <a:cxn ang="0">
                  <a:pos x="14" y="18"/>
                </a:cxn>
                <a:cxn ang="0">
                  <a:pos x="9" y="14"/>
                </a:cxn>
                <a:cxn ang="0">
                  <a:pos x="6" y="11"/>
                </a:cxn>
                <a:cxn ang="0">
                  <a:pos x="0" y="7"/>
                </a:cxn>
                <a:cxn ang="0">
                  <a:pos x="8" y="2"/>
                </a:cxn>
                <a:cxn ang="0">
                  <a:pos x="9" y="4"/>
                </a:cxn>
                <a:cxn ang="0">
                  <a:pos x="12" y="4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20" y="2"/>
                </a:cxn>
                <a:cxn ang="0">
                  <a:pos x="24" y="4"/>
                </a:cxn>
                <a:cxn ang="0">
                  <a:pos x="28" y="10"/>
                </a:cxn>
                <a:cxn ang="0">
                  <a:pos x="31" y="13"/>
                </a:cxn>
              </a:cxnLst>
              <a:rect l="0" t="0" r="r" b="b"/>
              <a:pathLst>
                <a:path w="34" h="25">
                  <a:moveTo>
                    <a:pt x="31" y="13"/>
                  </a:moveTo>
                  <a:cubicBezTo>
                    <a:pt x="29" y="14"/>
                    <a:pt x="34" y="13"/>
                    <a:pt x="29" y="16"/>
                  </a:cubicBezTo>
                  <a:cubicBezTo>
                    <a:pt x="24" y="19"/>
                    <a:pt x="26" y="24"/>
                    <a:pt x="26" y="25"/>
                  </a:cubicBezTo>
                  <a:cubicBezTo>
                    <a:pt x="23" y="25"/>
                    <a:pt x="23" y="22"/>
                    <a:pt x="21" y="22"/>
                  </a:cubicBezTo>
                  <a:cubicBezTo>
                    <a:pt x="17" y="21"/>
                    <a:pt x="20" y="18"/>
                    <a:pt x="18" y="18"/>
                  </a:cubicBezTo>
                  <a:cubicBezTo>
                    <a:pt x="17" y="16"/>
                    <a:pt x="15" y="22"/>
                    <a:pt x="14" y="18"/>
                  </a:cubicBezTo>
                  <a:cubicBezTo>
                    <a:pt x="14" y="14"/>
                    <a:pt x="11" y="16"/>
                    <a:pt x="9" y="14"/>
                  </a:cubicBezTo>
                  <a:cubicBezTo>
                    <a:pt x="8" y="11"/>
                    <a:pt x="8" y="14"/>
                    <a:pt x="6" y="11"/>
                  </a:cubicBezTo>
                  <a:cubicBezTo>
                    <a:pt x="4" y="8"/>
                    <a:pt x="3" y="13"/>
                    <a:pt x="0" y="7"/>
                  </a:cubicBezTo>
                  <a:cubicBezTo>
                    <a:pt x="3" y="5"/>
                    <a:pt x="4" y="4"/>
                    <a:pt x="8" y="2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11" y="5"/>
                    <a:pt x="12" y="4"/>
                  </a:cubicBezTo>
                  <a:cubicBezTo>
                    <a:pt x="14" y="2"/>
                    <a:pt x="15" y="4"/>
                    <a:pt x="15" y="2"/>
                  </a:cubicBezTo>
                  <a:cubicBezTo>
                    <a:pt x="17" y="0"/>
                    <a:pt x="15" y="2"/>
                    <a:pt x="17" y="2"/>
                  </a:cubicBezTo>
                  <a:cubicBezTo>
                    <a:pt x="20" y="0"/>
                    <a:pt x="18" y="2"/>
                    <a:pt x="20" y="2"/>
                  </a:cubicBezTo>
                  <a:cubicBezTo>
                    <a:pt x="21" y="0"/>
                    <a:pt x="20" y="4"/>
                    <a:pt x="24" y="4"/>
                  </a:cubicBezTo>
                  <a:cubicBezTo>
                    <a:pt x="31" y="5"/>
                    <a:pt x="21" y="10"/>
                    <a:pt x="28" y="10"/>
                  </a:cubicBezTo>
                  <a:cubicBezTo>
                    <a:pt x="29" y="11"/>
                    <a:pt x="31" y="11"/>
                    <a:pt x="31" y="1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2" name="Freeform 188"/>
            <p:cNvSpPr>
              <a:spLocks/>
            </p:cNvSpPr>
            <p:nvPr/>
          </p:nvSpPr>
          <p:spPr bwMode="auto">
            <a:xfrm>
              <a:off x="5650883" y="3117767"/>
              <a:ext cx="25009" cy="28957"/>
            </a:xfrm>
            <a:custGeom>
              <a:avLst/>
              <a:gdLst/>
              <a:ahLst/>
              <a:cxnLst>
                <a:cxn ang="0">
                  <a:pos x="7" y="10"/>
                </a:cxn>
                <a:cxn ang="0">
                  <a:pos x="8" y="5"/>
                </a:cxn>
                <a:cxn ang="0">
                  <a:pos x="5" y="0"/>
                </a:cxn>
                <a:cxn ang="0">
                  <a:pos x="2" y="10"/>
                </a:cxn>
                <a:cxn ang="0">
                  <a:pos x="7" y="10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7" y="7"/>
                    <a:pt x="10" y="7"/>
                    <a:pt x="8" y="5"/>
                  </a:cubicBezTo>
                  <a:cubicBezTo>
                    <a:pt x="8" y="5"/>
                    <a:pt x="5" y="5"/>
                    <a:pt x="5" y="0"/>
                  </a:cubicBezTo>
                  <a:cubicBezTo>
                    <a:pt x="0" y="4"/>
                    <a:pt x="2" y="9"/>
                    <a:pt x="2" y="10"/>
                  </a:cubicBezTo>
                  <a:cubicBezTo>
                    <a:pt x="5" y="10"/>
                    <a:pt x="5" y="10"/>
                    <a:pt x="7" y="1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3" name="Freeform 189"/>
            <p:cNvSpPr>
              <a:spLocks/>
            </p:cNvSpPr>
            <p:nvPr/>
          </p:nvSpPr>
          <p:spPr bwMode="auto">
            <a:xfrm>
              <a:off x="5977318" y="2825296"/>
              <a:ext cx="35539" cy="26061"/>
            </a:xfrm>
            <a:custGeom>
              <a:avLst/>
              <a:gdLst/>
              <a:ahLst/>
              <a:cxnLst>
                <a:cxn ang="0">
                  <a:pos x="3" y="9"/>
                </a:cxn>
                <a:cxn ang="0">
                  <a:pos x="3" y="8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1" y="2"/>
                </a:cxn>
                <a:cxn ang="0">
                  <a:pos x="3" y="2"/>
                </a:cxn>
                <a:cxn ang="0">
                  <a:pos x="7" y="0"/>
                </a:cxn>
                <a:cxn ang="0">
                  <a:pos x="11" y="2"/>
                </a:cxn>
                <a:cxn ang="0">
                  <a:pos x="12" y="3"/>
                </a:cxn>
                <a:cxn ang="0">
                  <a:pos x="11" y="3"/>
                </a:cxn>
                <a:cxn ang="0">
                  <a:pos x="6" y="6"/>
                </a:cxn>
                <a:cxn ang="0">
                  <a:pos x="4" y="8"/>
                </a:cxn>
                <a:cxn ang="0">
                  <a:pos x="3" y="9"/>
                </a:cxn>
              </a:cxnLst>
              <a:rect l="0" t="0" r="r" b="b"/>
              <a:pathLst>
                <a:path w="14" h="9">
                  <a:moveTo>
                    <a:pt x="3" y="9"/>
                  </a:moveTo>
                  <a:cubicBezTo>
                    <a:pt x="1" y="9"/>
                    <a:pt x="1" y="8"/>
                    <a:pt x="3" y="8"/>
                  </a:cubicBezTo>
                  <a:cubicBezTo>
                    <a:pt x="4" y="8"/>
                    <a:pt x="4" y="6"/>
                    <a:pt x="3" y="6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3" y="3"/>
                    <a:pt x="0" y="2"/>
                    <a:pt x="1" y="2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4" y="0"/>
                    <a:pt x="7" y="0"/>
                    <a:pt x="7" y="0"/>
                  </a:cubicBezTo>
                  <a:cubicBezTo>
                    <a:pt x="7" y="2"/>
                    <a:pt x="9" y="0"/>
                    <a:pt x="11" y="2"/>
                  </a:cubicBezTo>
                  <a:cubicBezTo>
                    <a:pt x="14" y="3"/>
                    <a:pt x="14" y="3"/>
                    <a:pt x="12" y="3"/>
                  </a:cubicBezTo>
                  <a:cubicBezTo>
                    <a:pt x="12" y="3"/>
                    <a:pt x="12" y="2"/>
                    <a:pt x="11" y="3"/>
                  </a:cubicBezTo>
                  <a:cubicBezTo>
                    <a:pt x="11" y="5"/>
                    <a:pt x="7" y="6"/>
                    <a:pt x="6" y="6"/>
                  </a:cubicBezTo>
                  <a:cubicBezTo>
                    <a:pt x="6" y="5"/>
                    <a:pt x="4" y="8"/>
                    <a:pt x="4" y="8"/>
                  </a:cubicBezTo>
                  <a:cubicBezTo>
                    <a:pt x="4" y="9"/>
                    <a:pt x="3" y="9"/>
                    <a:pt x="3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4" name="Freeform 190"/>
            <p:cNvSpPr>
              <a:spLocks/>
            </p:cNvSpPr>
            <p:nvPr/>
          </p:nvSpPr>
          <p:spPr bwMode="auto">
            <a:xfrm>
              <a:off x="5985216" y="2809370"/>
              <a:ext cx="22376" cy="15926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5" y="2"/>
                </a:cxn>
                <a:cxn ang="0">
                  <a:pos x="6" y="3"/>
                </a:cxn>
                <a:cxn ang="0">
                  <a:pos x="8" y="5"/>
                </a:cxn>
                <a:cxn ang="0">
                  <a:pos x="6" y="5"/>
                </a:cxn>
                <a:cxn ang="0">
                  <a:pos x="5" y="6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cubicBezTo>
                    <a:pt x="3" y="6"/>
                    <a:pt x="3" y="3"/>
                    <a:pt x="2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3" y="3"/>
                    <a:pt x="5" y="2"/>
                  </a:cubicBezTo>
                  <a:cubicBezTo>
                    <a:pt x="5" y="0"/>
                    <a:pt x="5" y="2"/>
                    <a:pt x="6" y="3"/>
                  </a:cubicBezTo>
                  <a:cubicBezTo>
                    <a:pt x="9" y="3"/>
                    <a:pt x="8" y="5"/>
                    <a:pt x="8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5" name="Freeform 191"/>
            <p:cNvSpPr>
              <a:spLocks/>
            </p:cNvSpPr>
            <p:nvPr/>
          </p:nvSpPr>
          <p:spPr bwMode="auto">
            <a:xfrm>
              <a:off x="6004959" y="2822400"/>
              <a:ext cx="7898" cy="1158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3" y="3"/>
                </a:cxn>
                <a:cxn ang="0">
                  <a:pos x="0" y="1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1" y="0"/>
                    <a:pt x="3" y="1"/>
                    <a:pt x="3" y="3"/>
                  </a:cubicBezTo>
                  <a:cubicBezTo>
                    <a:pt x="1" y="4"/>
                    <a:pt x="0" y="3"/>
                    <a:pt x="0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6" name="Freeform 192"/>
            <p:cNvSpPr>
              <a:spLocks/>
            </p:cNvSpPr>
            <p:nvPr/>
          </p:nvSpPr>
          <p:spPr bwMode="auto">
            <a:xfrm>
              <a:off x="6004959" y="2815161"/>
              <a:ext cx="7898" cy="2895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0"/>
                </a:cxn>
                <a:cxn ang="0">
                  <a:pos x="1" y="0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1"/>
                    <a:pt x="1" y="0"/>
                    <a:pt x="1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7" name="Freeform 193"/>
            <p:cNvSpPr>
              <a:spLocks noEditPoints="1"/>
            </p:cNvSpPr>
            <p:nvPr/>
          </p:nvSpPr>
          <p:spPr bwMode="auto">
            <a:xfrm>
              <a:off x="5762766" y="2430027"/>
              <a:ext cx="265887" cy="519786"/>
            </a:xfrm>
            <a:custGeom>
              <a:avLst/>
              <a:gdLst/>
              <a:ahLst/>
              <a:cxnLst>
                <a:cxn ang="0">
                  <a:pos x="3" y="138"/>
                </a:cxn>
                <a:cxn ang="0">
                  <a:pos x="6" y="127"/>
                </a:cxn>
                <a:cxn ang="0">
                  <a:pos x="11" y="120"/>
                </a:cxn>
                <a:cxn ang="0">
                  <a:pos x="12" y="109"/>
                </a:cxn>
                <a:cxn ang="0">
                  <a:pos x="9" y="92"/>
                </a:cxn>
                <a:cxn ang="0">
                  <a:pos x="8" y="82"/>
                </a:cxn>
                <a:cxn ang="0">
                  <a:pos x="15" y="70"/>
                </a:cxn>
                <a:cxn ang="0">
                  <a:pos x="22" y="64"/>
                </a:cxn>
                <a:cxn ang="0">
                  <a:pos x="28" y="51"/>
                </a:cxn>
                <a:cxn ang="0">
                  <a:pos x="34" y="39"/>
                </a:cxn>
                <a:cxn ang="0">
                  <a:pos x="41" y="28"/>
                </a:cxn>
                <a:cxn ang="0">
                  <a:pos x="44" y="18"/>
                </a:cxn>
                <a:cxn ang="0">
                  <a:pos x="55" y="15"/>
                </a:cxn>
                <a:cxn ang="0">
                  <a:pos x="72" y="9"/>
                </a:cxn>
                <a:cxn ang="0">
                  <a:pos x="76" y="0"/>
                </a:cxn>
                <a:cxn ang="0">
                  <a:pos x="90" y="9"/>
                </a:cxn>
                <a:cxn ang="0">
                  <a:pos x="98" y="14"/>
                </a:cxn>
                <a:cxn ang="0">
                  <a:pos x="98" y="23"/>
                </a:cxn>
                <a:cxn ang="0">
                  <a:pos x="99" y="28"/>
                </a:cxn>
                <a:cxn ang="0">
                  <a:pos x="101" y="37"/>
                </a:cxn>
                <a:cxn ang="0">
                  <a:pos x="96" y="46"/>
                </a:cxn>
                <a:cxn ang="0">
                  <a:pos x="87" y="51"/>
                </a:cxn>
                <a:cxn ang="0">
                  <a:pos x="81" y="60"/>
                </a:cxn>
                <a:cxn ang="0">
                  <a:pos x="75" y="74"/>
                </a:cxn>
                <a:cxn ang="0">
                  <a:pos x="67" y="78"/>
                </a:cxn>
                <a:cxn ang="0">
                  <a:pos x="55" y="87"/>
                </a:cxn>
                <a:cxn ang="0">
                  <a:pos x="49" y="92"/>
                </a:cxn>
                <a:cxn ang="0">
                  <a:pos x="50" y="102"/>
                </a:cxn>
                <a:cxn ang="0">
                  <a:pos x="53" y="116"/>
                </a:cxn>
                <a:cxn ang="0">
                  <a:pos x="60" y="123"/>
                </a:cxn>
                <a:cxn ang="0">
                  <a:pos x="55" y="132"/>
                </a:cxn>
                <a:cxn ang="0">
                  <a:pos x="41" y="130"/>
                </a:cxn>
                <a:cxn ang="0">
                  <a:pos x="60" y="132"/>
                </a:cxn>
                <a:cxn ang="0">
                  <a:pos x="55" y="138"/>
                </a:cxn>
                <a:cxn ang="0">
                  <a:pos x="46" y="143"/>
                </a:cxn>
                <a:cxn ang="0">
                  <a:pos x="44" y="151"/>
                </a:cxn>
                <a:cxn ang="0">
                  <a:pos x="43" y="162"/>
                </a:cxn>
                <a:cxn ang="0">
                  <a:pos x="32" y="172"/>
                </a:cxn>
                <a:cxn ang="0">
                  <a:pos x="25" y="183"/>
                </a:cxn>
                <a:cxn ang="0">
                  <a:pos x="12" y="172"/>
                </a:cxn>
                <a:cxn ang="0">
                  <a:pos x="14" y="168"/>
                </a:cxn>
                <a:cxn ang="0">
                  <a:pos x="6" y="146"/>
                </a:cxn>
                <a:cxn ang="0">
                  <a:pos x="0" y="138"/>
                </a:cxn>
                <a:cxn ang="0">
                  <a:pos x="61" y="158"/>
                </a:cxn>
                <a:cxn ang="0">
                  <a:pos x="63" y="151"/>
                </a:cxn>
                <a:cxn ang="0">
                  <a:pos x="56" y="160"/>
                </a:cxn>
                <a:cxn ang="0">
                  <a:pos x="61" y="158"/>
                </a:cxn>
                <a:cxn ang="0">
                  <a:pos x="44" y="163"/>
                </a:cxn>
                <a:cxn ang="0">
                  <a:pos x="47" y="158"/>
                </a:cxn>
                <a:cxn ang="0">
                  <a:pos x="58" y="116"/>
                </a:cxn>
              </a:cxnLst>
              <a:rect l="0" t="0" r="r" b="b"/>
              <a:pathLst>
                <a:path w="104" h="185">
                  <a:moveTo>
                    <a:pt x="2" y="135"/>
                  </a:moveTo>
                  <a:cubicBezTo>
                    <a:pt x="2" y="135"/>
                    <a:pt x="2" y="137"/>
                    <a:pt x="3" y="138"/>
                  </a:cubicBezTo>
                  <a:cubicBezTo>
                    <a:pt x="3" y="140"/>
                    <a:pt x="6" y="137"/>
                    <a:pt x="5" y="132"/>
                  </a:cubicBezTo>
                  <a:cubicBezTo>
                    <a:pt x="3" y="129"/>
                    <a:pt x="6" y="129"/>
                    <a:pt x="6" y="127"/>
                  </a:cubicBezTo>
                  <a:cubicBezTo>
                    <a:pt x="5" y="124"/>
                    <a:pt x="8" y="127"/>
                    <a:pt x="9" y="124"/>
                  </a:cubicBezTo>
                  <a:cubicBezTo>
                    <a:pt x="12" y="121"/>
                    <a:pt x="9" y="121"/>
                    <a:pt x="11" y="120"/>
                  </a:cubicBezTo>
                  <a:cubicBezTo>
                    <a:pt x="14" y="118"/>
                    <a:pt x="8" y="112"/>
                    <a:pt x="9" y="110"/>
                  </a:cubicBezTo>
                  <a:cubicBezTo>
                    <a:pt x="9" y="109"/>
                    <a:pt x="12" y="112"/>
                    <a:pt x="12" y="109"/>
                  </a:cubicBezTo>
                  <a:cubicBezTo>
                    <a:pt x="14" y="107"/>
                    <a:pt x="15" y="106"/>
                    <a:pt x="11" y="104"/>
                  </a:cubicBezTo>
                  <a:cubicBezTo>
                    <a:pt x="5" y="101"/>
                    <a:pt x="11" y="96"/>
                    <a:pt x="9" y="92"/>
                  </a:cubicBezTo>
                  <a:cubicBezTo>
                    <a:pt x="6" y="88"/>
                    <a:pt x="9" y="88"/>
                    <a:pt x="8" y="87"/>
                  </a:cubicBezTo>
                  <a:cubicBezTo>
                    <a:pt x="6" y="85"/>
                    <a:pt x="9" y="85"/>
                    <a:pt x="8" y="82"/>
                  </a:cubicBezTo>
                  <a:cubicBezTo>
                    <a:pt x="5" y="79"/>
                    <a:pt x="9" y="79"/>
                    <a:pt x="8" y="78"/>
                  </a:cubicBezTo>
                  <a:cubicBezTo>
                    <a:pt x="8" y="74"/>
                    <a:pt x="14" y="71"/>
                    <a:pt x="15" y="70"/>
                  </a:cubicBezTo>
                  <a:cubicBezTo>
                    <a:pt x="18" y="68"/>
                    <a:pt x="23" y="73"/>
                    <a:pt x="25" y="67"/>
                  </a:cubicBezTo>
                  <a:cubicBezTo>
                    <a:pt x="26" y="64"/>
                    <a:pt x="23" y="65"/>
                    <a:pt x="22" y="64"/>
                  </a:cubicBezTo>
                  <a:cubicBezTo>
                    <a:pt x="18" y="62"/>
                    <a:pt x="26" y="57"/>
                    <a:pt x="26" y="56"/>
                  </a:cubicBezTo>
                  <a:cubicBezTo>
                    <a:pt x="26" y="53"/>
                    <a:pt x="28" y="54"/>
                    <a:pt x="28" y="51"/>
                  </a:cubicBezTo>
                  <a:cubicBezTo>
                    <a:pt x="26" y="46"/>
                    <a:pt x="29" y="48"/>
                    <a:pt x="26" y="42"/>
                  </a:cubicBezTo>
                  <a:cubicBezTo>
                    <a:pt x="26" y="40"/>
                    <a:pt x="37" y="42"/>
                    <a:pt x="34" y="39"/>
                  </a:cubicBezTo>
                  <a:cubicBezTo>
                    <a:pt x="32" y="36"/>
                    <a:pt x="35" y="37"/>
                    <a:pt x="37" y="32"/>
                  </a:cubicBezTo>
                  <a:cubicBezTo>
                    <a:pt x="40" y="29"/>
                    <a:pt x="41" y="31"/>
                    <a:pt x="41" y="28"/>
                  </a:cubicBezTo>
                  <a:cubicBezTo>
                    <a:pt x="43" y="26"/>
                    <a:pt x="40" y="25"/>
                    <a:pt x="40" y="23"/>
                  </a:cubicBezTo>
                  <a:cubicBezTo>
                    <a:pt x="40" y="22"/>
                    <a:pt x="41" y="23"/>
                    <a:pt x="44" y="18"/>
                  </a:cubicBezTo>
                  <a:cubicBezTo>
                    <a:pt x="44" y="15"/>
                    <a:pt x="47" y="15"/>
                    <a:pt x="49" y="14"/>
                  </a:cubicBezTo>
                  <a:cubicBezTo>
                    <a:pt x="50" y="14"/>
                    <a:pt x="52" y="17"/>
                    <a:pt x="55" y="15"/>
                  </a:cubicBezTo>
                  <a:cubicBezTo>
                    <a:pt x="58" y="14"/>
                    <a:pt x="53" y="9"/>
                    <a:pt x="55" y="8"/>
                  </a:cubicBezTo>
                  <a:cubicBezTo>
                    <a:pt x="60" y="4"/>
                    <a:pt x="67" y="12"/>
                    <a:pt x="72" y="9"/>
                  </a:cubicBezTo>
                  <a:cubicBezTo>
                    <a:pt x="75" y="8"/>
                    <a:pt x="67" y="9"/>
                    <a:pt x="72" y="6"/>
                  </a:cubicBezTo>
                  <a:cubicBezTo>
                    <a:pt x="76" y="1"/>
                    <a:pt x="67" y="0"/>
                    <a:pt x="76" y="0"/>
                  </a:cubicBezTo>
                  <a:cubicBezTo>
                    <a:pt x="79" y="1"/>
                    <a:pt x="75" y="1"/>
                    <a:pt x="79" y="3"/>
                  </a:cubicBezTo>
                  <a:cubicBezTo>
                    <a:pt x="82" y="6"/>
                    <a:pt x="87" y="9"/>
                    <a:pt x="90" y="9"/>
                  </a:cubicBezTo>
                  <a:cubicBezTo>
                    <a:pt x="93" y="9"/>
                    <a:pt x="96" y="11"/>
                    <a:pt x="96" y="12"/>
                  </a:cubicBezTo>
                  <a:cubicBezTo>
                    <a:pt x="96" y="14"/>
                    <a:pt x="94" y="12"/>
                    <a:pt x="98" y="14"/>
                  </a:cubicBezTo>
                  <a:cubicBezTo>
                    <a:pt x="102" y="18"/>
                    <a:pt x="98" y="15"/>
                    <a:pt x="98" y="18"/>
                  </a:cubicBezTo>
                  <a:cubicBezTo>
                    <a:pt x="99" y="23"/>
                    <a:pt x="98" y="22"/>
                    <a:pt x="98" y="23"/>
                  </a:cubicBezTo>
                  <a:cubicBezTo>
                    <a:pt x="98" y="25"/>
                    <a:pt x="101" y="22"/>
                    <a:pt x="101" y="23"/>
                  </a:cubicBezTo>
                  <a:cubicBezTo>
                    <a:pt x="101" y="25"/>
                    <a:pt x="99" y="25"/>
                    <a:pt x="99" y="28"/>
                  </a:cubicBezTo>
                  <a:cubicBezTo>
                    <a:pt x="99" y="29"/>
                    <a:pt x="104" y="31"/>
                    <a:pt x="102" y="32"/>
                  </a:cubicBezTo>
                  <a:cubicBezTo>
                    <a:pt x="101" y="34"/>
                    <a:pt x="102" y="34"/>
                    <a:pt x="101" y="37"/>
                  </a:cubicBezTo>
                  <a:cubicBezTo>
                    <a:pt x="98" y="40"/>
                    <a:pt x="104" y="42"/>
                    <a:pt x="104" y="46"/>
                  </a:cubicBezTo>
                  <a:cubicBezTo>
                    <a:pt x="101" y="48"/>
                    <a:pt x="99" y="45"/>
                    <a:pt x="96" y="46"/>
                  </a:cubicBezTo>
                  <a:cubicBezTo>
                    <a:pt x="93" y="48"/>
                    <a:pt x="94" y="45"/>
                    <a:pt x="91" y="46"/>
                  </a:cubicBezTo>
                  <a:cubicBezTo>
                    <a:pt x="90" y="48"/>
                    <a:pt x="87" y="50"/>
                    <a:pt x="87" y="51"/>
                  </a:cubicBezTo>
                  <a:cubicBezTo>
                    <a:pt x="87" y="53"/>
                    <a:pt x="84" y="51"/>
                    <a:pt x="82" y="54"/>
                  </a:cubicBezTo>
                  <a:cubicBezTo>
                    <a:pt x="82" y="59"/>
                    <a:pt x="79" y="57"/>
                    <a:pt x="81" y="60"/>
                  </a:cubicBezTo>
                  <a:cubicBezTo>
                    <a:pt x="81" y="64"/>
                    <a:pt x="85" y="64"/>
                    <a:pt x="81" y="67"/>
                  </a:cubicBezTo>
                  <a:cubicBezTo>
                    <a:pt x="76" y="70"/>
                    <a:pt x="78" y="74"/>
                    <a:pt x="75" y="74"/>
                  </a:cubicBezTo>
                  <a:cubicBezTo>
                    <a:pt x="72" y="74"/>
                    <a:pt x="73" y="76"/>
                    <a:pt x="72" y="76"/>
                  </a:cubicBezTo>
                  <a:cubicBezTo>
                    <a:pt x="69" y="76"/>
                    <a:pt x="70" y="79"/>
                    <a:pt x="67" y="78"/>
                  </a:cubicBezTo>
                  <a:cubicBezTo>
                    <a:pt x="63" y="78"/>
                    <a:pt x="66" y="84"/>
                    <a:pt x="63" y="82"/>
                  </a:cubicBezTo>
                  <a:cubicBezTo>
                    <a:pt x="60" y="81"/>
                    <a:pt x="61" y="87"/>
                    <a:pt x="55" y="87"/>
                  </a:cubicBezTo>
                  <a:cubicBezTo>
                    <a:pt x="50" y="88"/>
                    <a:pt x="58" y="88"/>
                    <a:pt x="53" y="92"/>
                  </a:cubicBezTo>
                  <a:cubicBezTo>
                    <a:pt x="49" y="93"/>
                    <a:pt x="50" y="88"/>
                    <a:pt x="49" y="92"/>
                  </a:cubicBezTo>
                  <a:cubicBezTo>
                    <a:pt x="49" y="95"/>
                    <a:pt x="53" y="92"/>
                    <a:pt x="50" y="96"/>
                  </a:cubicBezTo>
                  <a:cubicBezTo>
                    <a:pt x="49" y="99"/>
                    <a:pt x="52" y="102"/>
                    <a:pt x="50" y="102"/>
                  </a:cubicBezTo>
                  <a:cubicBezTo>
                    <a:pt x="47" y="102"/>
                    <a:pt x="47" y="116"/>
                    <a:pt x="50" y="116"/>
                  </a:cubicBezTo>
                  <a:cubicBezTo>
                    <a:pt x="53" y="116"/>
                    <a:pt x="50" y="118"/>
                    <a:pt x="53" y="116"/>
                  </a:cubicBezTo>
                  <a:cubicBezTo>
                    <a:pt x="56" y="116"/>
                    <a:pt x="56" y="120"/>
                    <a:pt x="58" y="120"/>
                  </a:cubicBezTo>
                  <a:cubicBezTo>
                    <a:pt x="61" y="120"/>
                    <a:pt x="56" y="123"/>
                    <a:pt x="60" y="123"/>
                  </a:cubicBezTo>
                  <a:cubicBezTo>
                    <a:pt x="61" y="123"/>
                    <a:pt x="63" y="124"/>
                    <a:pt x="64" y="126"/>
                  </a:cubicBezTo>
                  <a:cubicBezTo>
                    <a:pt x="64" y="127"/>
                    <a:pt x="58" y="130"/>
                    <a:pt x="55" y="132"/>
                  </a:cubicBezTo>
                  <a:cubicBezTo>
                    <a:pt x="53" y="134"/>
                    <a:pt x="52" y="129"/>
                    <a:pt x="50" y="130"/>
                  </a:cubicBezTo>
                  <a:cubicBezTo>
                    <a:pt x="49" y="130"/>
                    <a:pt x="46" y="127"/>
                    <a:pt x="41" y="130"/>
                  </a:cubicBezTo>
                  <a:cubicBezTo>
                    <a:pt x="38" y="134"/>
                    <a:pt x="46" y="129"/>
                    <a:pt x="49" y="132"/>
                  </a:cubicBezTo>
                  <a:cubicBezTo>
                    <a:pt x="53" y="137"/>
                    <a:pt x="58" y="130"/>
                    <a:pt x="60" y="132"/>
                  </a:cubicBezTo>
                  <a:cubicBezTo>
                    <a:pt x="61" y="135"/>
                    <a:pt x="58" y="134"/>
                    <a:pt x="58" y="135"/>
                  </a:cubicBezTo>
                  <a:cubicBezTo>
                    <a:pt x="58" y="137"/>
                    <a:pt x="56" y="135"/>
                    <a:pt x="55" y="138"/>
                  </a:cubicBezTo>
                  <a:cubicBezTo>
                    <a:pt x="53" y="140"/>
                    <a:pt x="52" y="135"/>
                    <a:pt x="52" y="138"/>
                  </a:cubicBezTo>
                  <a:cubicBezTo>
                    <a:pt x="50" y="141"/>
                    <a:pt x="44" y="141"/>
                    <a:pt x="46" y="143"/>
                  </a:cubicBezTo>
                  <a:cubicBezTo>
                    <a:pt x="46" y="144"/>
                    <a:pt x="43" y="143"/>
                    <a:pt x="44" y="146"/>
                  </a:cubicBezTo>
                  <a:cubicBezTo>
                    <a:pt x="46" y="148"/>
                    <a:pt x="44" y="148"/>
                    <a:pt x="44" y="151"/>
                  </a:cubicBezTo>
                  <a:cubicBezTo>
                    <a:pt x="46" y="152"/>
                    <a:pt x="43" y="154"/>
                    <a:pt x="44" y="155"/>
                  </a:cubicBezTo>
                  <a:cubicBezTo>
                    <a:pt x="44" y="157"/>
                    <a:pt x="43" y="160"/>
                    <a:pt x="43" y="162"/>
                  </a:cubicBezTo>
                  <a:cubicBezTo>
                    <a:pt x="43" y="165"/>
                    <a:pt x="41" y="166"/>
                    <a:pt x="40" y="171"/>
                  </a:cubicBezTo>
                  <a:cubicBezTo>
                    <a:pt x="38" y="177"/>
                    <a:pt x="38" y="172"/>
                    <a:pt x="32" y="172"/>
                  </a:cubicBezTo>
                  <a:cubicBezTo>
                    <a:pt x="26" y="174"/>
                    <a:pt x="31" y="176"/>
                    <a:pt x="28" y="176"/>
                  </a:cubicBezTo>
                  <a:cubicBezTo>
                    <a:pt x="25" y="174"/>
                    <a:pt x="28" y="183"/>
                    <a:pt x="25" y="183"/>
                  </a:cubicBezTo>
                  <a:cubicBezTo>
                    <a:pt x="20" y="182"/>
                    <a:pt x="12" y="185"/>
                    <a:pt x="14" y="182"/>
                  </a:cubicBezTo>
                  <a:cubicBezTo>
                    <a:pt x="17" y="177"/>
                    <a:pt x="8" y="169"/>
                    <a:pt x="12" y="172"/>
                  </a:cubicBezTo>
                  <a:cubicBezTo>
                    <a:pt x="15" y="174"/>
                    <a:pt x="11" y="169"/>
                    <a:pt x="12" y="169"/>
                  </a:cubicBezTo>
                  <a:cubicBezTo>
                    <a:pt x="15" y="169"/>
                    <a:pt x="15" y="166"/>
                    <a:pt x="14" y="168"/>
                  </a:cubicBezTo>
                  <a:cubicBezTo>
                    <a:pt x="11" y="168"/>
                    <a:pt x="8" y="158"/>
                    <a:pt x="6" y="154"/>
                  </a:cubicBezTo>
                  <a:cubicBezTo>
                    <a:pt x="5" y="149"/>
                    <a:pt x="8" y="149"/>
                    <a:pt x="6" y="146"/>
                  </a:cubicBezTo>
                  <a:cubicBezTo>
                    <a:pt x="5" y="144"/>
                    <a:pt x="3" y="149"/>
                    <a:pt x="2" y="146"/>
                  </a:cubicBezTo>
                  <a:cubicBezTo>
                    <a:pt x="0" y="143"/>
                    <a:pt x="2" y="141"/>
                    <a:pt x="0" y="138"/>
                  </a:cubicBezTo>
                  <a:cubicBezTo>
                    <a:pt x="0" y="137"/>
                    <a:pt x="2" y="137"/>
                    <a:pt x="2" y="135"/>
                  </a:cubicBezTo>
                  <a:close/>
                  <a:moveTo>
                    <a:pt x="61" y="158"/>
                  </a:moveTo>
                  <a:cubicBezTo>
                    <a:pt x="64" y="155"/>
                    <a:pt x="60" y="155"/>
                    <a:pt x="63" y="152"/>
                  </a:cubicBezTo>
                  <a:cubicBezTo>
                    <a:pt x="66" y="151"/>
                    <a:pt x="66" y="149"/>
                    <a:pt x="63" y="151"/>
                  </a:cubicBezTo>
                  <a:cubicBezTo>
                    <a:pt x="60" y="154"/>
                    <a:pt x="61" y="149"/>
                    <a:pt x="58" y="152"/>
                  </a:cubicBezTo>
                  <a:cubicBezTo>
                    <a:pt x="55" y="155"/>
                    <a:pt x="55" y="158"/>
                    <a:pt x="56" y="160"/>
                  </a:cubicBezTo>
                  <a:cubicBezTo>
                    <a:pt x="56" y="162"/>
                    <a:pt x="55" y="165"/>
                    <a:pt x="56" y="163"/>
                  </a:cubicBezTo>
                  <a:cubicBezTo>
                    <a:pt x="58" y="163"/>
                    <a:pt x="58" y="162"/>
                    <a:pt x="61" y="158"/>
                  </a:cubicBezTo>
                  <a:close/>
                  <a:moveTo>
                    <a:pt x="47" y="158"/>
                  </a:moveTo>
                  <a:cubicBezTo>
                    <a:pt x="46" y="158"/>
                    <a:pt x="46" y="162"/>
                    <a:pt x="44" y="163"/>
                  </a:cubicBezTo>
                  <a:cubicBezTo>
                    <a:pt x="43" y="165"/>
                    <a:pt x="41" y="171"/>
                    <a:pt x="43" y="172"/>
                  </a:cubicBezTo>
                  <a:cubicBezTo>
                    <a:pt x="43" y="172"/>
                    <a:pt x="49" y="158"/>
                    <a:pt x="47" y="158"/>
                  </a:cubicBezTo>
                  <a:close/>
                  <a:moveTo>
                    <a:pt x="60" y="120"/>
                  </a:moveTo>
                  <a:cubicBezTo>
                    <a:pt x="58" y="120"/>
                    <a:pt x="58" y="118"/>
                    <a:pt x="58" y="116"/>
                  </a:cubicBezTo>
                  <a:cubicBezTo>
                    <a:pt x="60" y="120"/>
                    <a:pt x="60" y="120"/>
                    <a:pt x="60" y="12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8" name="Freeform 194"/>
            <p:cNvSpPr>
              <a:spLocks/>
            </p:cNvSpPr>
            <p:nvPr/>
          </p:nvSpPr>
          <p:spPr bwMode="auto">
            <a:xfrm>
              <a:off x="6452492" y="3384175"/>
              <a:ext cx="106618" cy="118726"/>
            </a:xfrm>
            <a:custGeom>
              <a:avLst/>
              <a:gdLst/>
              <a:ahLst/>
              <a:cxnLst>
                <a:cxn ang="0">
                  <a:pos x="30" y="41"/>
                </a:cxn>
                <a:cxn ang="0">
                  <a:pos x="26" y="38"/>
                </a:cxn>
                <a:cxn ang="0">
                  <a:pos x="26" y="39"/>
                </a:cxn>
                <a:cxn ang="0">
                  <a:pos x="24" y="38"/>
                </a:cxn>
                <a:cxn ang="0">
                  <a:pos x="23" y="36"/>
                </a:cxn>
                <a:cxn ang="0">
                  <a:pos x="23" y="35"/>
                </a:cxn>
                <a:cxn ang="0">
                  <a:pos x="26" y="33"/>
                </a:cxn>
                <a:cxn ang="0">
                  <a:pos x="24" y="32"/>
                </a:cxn>
                <a:cxn ang="0">
                  <a:pos x="26" y="30"/>
                </a:cxn>
                <a:cxn ang="0">
                  <a:pos x="23" y="27"/>
                </a:cxn>
                <a:cxn ang="0">
                  <a:pos x="18" y="30"/>
                </a:cxn>
                <a:cxn ang="0">
                  <a:pos x="15" y="32"/>
                </a:cxn>
                <a:cxn ang="0">
                  <a:pos x="14" y="33"/>
                </a:cxn>
                <a:cxn ang="0">
                  <a:pos x="12" y="35"/>
                </a:cxn>
                <a:cxn ang="0">
                  <a:pos x="11" y="36"/>
                </a:cxn>
                <a:cxn ang="0">
                  <a:pos x="11" y="33"/>
                </a:cxn>
                <a:cxn ang="0">
                  <a:pos x="11" y="33"/>
                </a:cxn>
                <a:cxn ang="0">
                  <a:pos x="12" y="32"/>
                </a:cxn>
                <a:cxn ang="0">
                  <a:pos x="11" y="30"/>
                </a:cxn>
                <a:cxn ang="0">
                  <a:pos x="12" y="28"/>
                </a:cxn>
                <a:cxn ang="0">
                  <a:pos x="9" y="27"/>
                </a:cxn>
                <a:cxn ang="0">
                  <a:pos x="6" y="24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8" y="21"/>
                </a:cxn>
                <a:cxn ang="0">
                  <a:pos x="3" y="18"/>
                </a:cxn>
                <a:cxn ang="0">
                  <a:pos x="4" y="14"/>
                </a:cxn>
                <a:cxn ang="0">
                  <a:pos x="0" y="8"/>
                </a:cxn>
                <a:cxn ang="0">
                  <a:pos x="1" y="7"/>
                </a:cxn>
                <a:cxn ang="0">
                  <a:pos x="4" y="8"/>
                </a:cxn>
                <a:cxn ang="0">
                  <a:pos x="6" y="10"/>
                </a:cxn>
                <a:cxn ang="0">
                  <a:pos x="9" y="10"/>
                </a:cxn>
                <a:cxn ang="0">
                  <a:pos x="12" y="10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11" y="2"/>
                </a:cxn>
                <a:cxn ang="0">
                  <a:pos x="14" y="4"/>
                </a:cxn>
                <a:cxn ang="0">
                  <a:pos x="17" y="7"/>
                </a:cxn>
                <a:cxn ang="0">
                  <a:pos x="23" y="8"/>
                </a:cxn>
                <a:cxn ang="0">
                  <a:pos x="27" y="4"/>
                </a:cxn>
                <a:cxn ang="0">
                  <a:pos x="32" y="11"/>
                </a:cxn>
                <a:cxn ang="0">
                  <a:pos x="35" y="16"/>
                </a:cxn>
                <a:cxn ang="0">
                  <a:pos x="42" y="19"/>
                </a:cxn>
                <a:cxn ang="0">
                  <a:pos x="36" y="19"/>
                </a:cxn>
                <a:cxn ang="0">
                  <a:pos x="33" y="27"/>
                </a:cxn>
                <a:cxn ang="0">
                  <a:pos x="33" y="32"/>
                </a:cxn>
                <a:cxn ang="0">
                  <a:pos x="32" y="35"/>
                </a:cxn>
                <a:cxn ang="0">
                  <a:pos x="30" y="35"/>
                </a:cxn>
                <a:cxn ang="0">
                  <a:pos x="30" y="41"/>
                </a:cxn>
              </a:cxnLst>
              <a:rect l="0" t="0" r="r" b="b"/>
              <a:pathLst>
                <a:path w="42" h="42">
                  <a:moveTo>
                    <a:pt x="30" y="41"/>
                  </a:moveTo>
                  <a:cubicBezTo>
                    <a:pt x="26" y="42"/>
                    <a:pt x="27" y="39"/>
                    <a:pt x="26" y="38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4" y="39"/>
                    <a:pt x="24" y="38"/>
                    <a:pt x="24" y="38"/>
                  </a:cubicBezTo>
                  <a:cubicBezTo>
                    <a:pt x="24" y="36"/>
                    <a:pt x="24" y="36"/>
                    <a:pt x="23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5"/>
                    <a:pt x="26" y="35"/>
                    <a:pt x="26" y="33"/>
                  </a:cubicBezTo>
                  <a:cubicBezTo>
                    <a:pt x="26" y="33"/>
                    <a:pt x="24" y="33"/>
                    <a:pt x="24" y="32"/>
                  </a:cubicBezTo>
                  <a:cubicBezTo>
                    <a:pt x="24" y="30"/>
                    <a:pt x="26" y="30"/>
                    <a:pt x="26" y="30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1" y="25"/>
                    <a:pt x="18" y="28"/>
                    <a:pt x="18" y="30"/>
                  </a:cubicBezTo>
                  <a:cubicBezTo>
                    <a:pt x="17" y="30"/>
                    <a:pt x="15" y="32"/>
                    <a:pt x="15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2" y="36"/>
                    <a:pt x="11" y="36"/>
                  </a:cubicBezTo>
                  <a:cubicBezTo>
                    <a:pt x="11" y="35"/>
                    <a:pt x="11" y="35"/>
                    <a:pt x="11" y="33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9" y="32"/>
                    <a:pt x="12" y="32"/>
                    <a:pt x="12" y="32"/>
                  </a:cubicBezTo>
                  <a:cubicBezTo>
                    <a:pt x="12" y="32"/>
                    <a:pt x="9" y="30"/>
                    <a:pt x="11" y="30"/>
                  </a:cubicBezTo>
                  <a:cubicBezTo>
                    <a:pt x="11" y="28"/>
                    <a:pt x="12" y="30"/>
                    <a:pt x="12" y="28"/>
                  </a:cubicBezTo>
                  <a:cubicBezTo>
                    <a:pt x="12" y="27"/>
                    <a:pt x="9" y="28"/>
                    <a:pt x="9" y="27"/>
                  </a:cubicBezTo>
                  <a:cubicBezTo>
                    <a:pt x="8" y="27"/>
                    <a:pt x="6" y="25"/>
                    <a:pt x="6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22"/>
                    <a:pt x="6" y="24"/>
                    <a:pt x="6" y="24"/>
                  </a:cubicBezTo>
                  <a:cubicBezTo>
                    <a:pt x="6" y="22"/>
                    <a:pt x="8" y="21"/>
                    <a:pt x="8" y="21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" y="14"/>
                    <a:pt x="4" y="14"/>
                    <a:pt x="4" y="14"/>
                  </a:cubicBezTo>
                  <a:cubicBezTo>
                    <a:pt x="4" y="13"/>
                    <a:pt x="0" y="10"/>
                    <a:pt x="0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4" y="10"/>
                    <a:pt x="6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11" y="10"/>
                    <a:pt x="11" y="13"/>
                    <a:pt x="12" y="10"/>
                  </a:cubicBezTo>
                  <a:cubicBezTo>
                    <a:pt x="14" y="8"/>
                    <a:pt x="9" y="7"/>
                    <a:pt x="9" y="7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11" y="2"/>
                    <a:pt x="11" y="2"/>
                  </a:cubicBezTo>
                  <a:cubicBezTo>
                    <a:pt x="12" y="5"/>
                    <a:pt x="14" y="0"/>
                    <a:pt x="14" y="4"/>
                  </a:cubicBezTo>
                  <a:cubicBezTo>
                    <a:pt x="15" y="7"/>
                    <a:pt x="17" y="4"/>
                    <a:pt x="17" y="7"/>
                  </a:cubicBezTo>
                  <a:cubicBezTo>
                    <a:pt x="18" y="11"/>
                    <a:pt x="23" y="10"/>
                    <a:pt x="23" y="8"/>
                  </a:cubicBezTo>
                  <a:cubicBezTo>
                    <a:pt x="24" y="7"/>
                    <a:pt x="26" y="5"/>
                    <a:pt x="27" y="4"/>
                  </a:cubicBezTo>
                  <a:cubicBezTo>
                    <a:pt x="29" y="4"/>
                    <a:pt x="32" y="10"/>
                    <a:pt x="32" y="11"/>
                  </a:cubicBezTo>
                  <a:cubicBezTo>
                    <a:pt x="33" y="13"/>
                    <a:pt x="35" y="13"/>
                    <a:pt x="35" y="16"/>
                  </a:cubicBezTo>
                  <a:cubicBezTo>
                    <a:pt x="35" y="18"/>
                    <a:pt x="41" y="16"/>
                    <a:pt x="42" y="19"/>
                  </a:cubicBezTo>
                  <a:cubicBezTo>
                    <a:pt x="42" y="22"/>
                    <a:pt x="41" y="18"/>
                    <a:pt x="36" y="19"/>
                  </a:cubicBezTo>
                  <a:cubicBezTo>
                    <a:pt x="33" y="22"/>
                    <a:pt x="36" y="25"/>
                    <a:pt x="33" y="27"/>
                  </a:cubicBezTo>
                  <a:cubicBezTo>
                    <a:pt x="32" y="28"/>
                    <a:pt x="35" y="30"/>
                    <a:pt x="33" y="32"/>
                  </a:cubicBezTo>
                  <a:cubicBezTo>
                    <a:pt x="32" y="32"/>
                    <a:pt x="33" y="33"/>
                    <a:pt x="32" y="35"/>
                  </a:cubicBezTo>
                  <a:cubicBezTo>
                    <a:pt x="32" y="35"/>
                    <a:pt x="32" y="28"/>
                    <a:pt x="30" y="35"/>
                  </a:cubicBezTo>
                  <a:cubicBezTo>
                    <a:pt x="29" y="38"/>
                    <a:pt x="29" y="39"/>
                    <a:pt x="30" y="4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9" name="Freeform 195"/>
            <p:cNvSpPr>
              <a:spLocks/>
            </p:cNvSpPr>
            <p:nvPr/>
          </p:nvSpPr>
          <p:spPr bwMode="auto">
            <a:xfrm>
              <a:off x="6444594" y="3455120"/>
              <a:ext cx="30274" cy="3040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4" y="3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9" y="5"/>
                </a:cxn>
                <a:cxn ang="0">
                  <a:pos x="10" y="6"/>
                </a:cxn>
                <a:cxn ang="0">
                  <a:pos x="12" y="11"/>
                </a:cxn>
                <a:cxn ang="0">
                  <a:pos x="9" y="11"/>
                </a:cxn>
                <a:cxn ang="0">
                  <a:pos x="0" y="2"/>
                </a:cxn>
              </a:cxnLst>
              <a:rect l="0" t="0" r="r" b="b"/>
              <a:pathLst>
                <a:path w="12" h="11">
                  <a:moveTo>
                    <a:pt x="0" y="2"/>
                  </a:moveTo>
                  <a:cubicBezTo>
                    <a:pt x="1" y="2"/>
                    <a:pt x="1" y="0"/>
                    <a:pt x="3" y="0"/>
                  </a:cubicBezTo>
                  <a:cubicBezTo>
                    <a:pt x="4" y="2"/>
                    <a:pt x="3" y="3"/>
                    <a:pt x="4" y="3"/>
                  </a:cubicBezTo>
                  <a:cubicBezTo>
                    <a:pt x="6" y="2"/>
                    <a:pt x="4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9" y="3"/>
                    <a:pt x="7" y="5"/>
                    <a:pt x="9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8"/>
                    <a:pt x="10" y="9"/>
                    <a:pt x="12" y="11"/>
                  </a:cubicBezTo>
                  <a:cubicBezTo>
                    <a:pt x="10" y="11"/>
                    <a:pt x="10" y="11"/>
                    <a:pt x="9" y="11"/>
                  </a:cubicBezTo>
                  <a:cubicBezTo>
                    <a:pt x="4" y="9"/>
                    <a:pt x="3" y="5"/>
                    <a:pt x="0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0" name="Freeform 196"/>
            <p:cNvSpPr>
              <a:spLocks/>
            </p:cNvSpPr>
            <p:nvPr/>
          </p:nvSpPr>
          <p:spPr bwMode="auto">
            <a:xfrm>
              <a:off x="6416952" y="3407340"/>
              <a:ext cx="65813" cy="78184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4" y="25"/>
                </a:cxn>
                <a:cxn ang="0">
                  <a:pos x="24" y="25"/>
                </a:cxn>
                <a:cxn ang="0">
                  <a:pos x="26" y="23"/>
                </a:cxn>
                <a:cxn ang="0">
                  <a:pos x="24" y="22"/>
                </a:cxn>
                <a:cxn ang="0">
                  <a:pos x="26" y="20"/>
                </a:cxn>
                <a:cxn ang="0">
                  <a:pos x="23" y="19"/>
                </a:cxn>
                <a:cxn ang="0">
                  <a:pos x="20" y="16"/>
                </a:cxn>
                <a:cxn ang="0">
                  <a:pos x="18" y="16"/>
                </a:cxn>
                <a:cxn ang="0">
                  <a:pos x="20" y="16"/>
                </a:cxn>
                <a:cxn ang="0">
                  <a:pos x="21" y="12"/>
                </a:cxn>
                <a:cxn ang="0">
                  <a:pos x="17" y="9"/>
                </a:cxn>
                <a:cxn ang="0">
                  <a:pos x="18" y="6"/>
                </a:cxn>
                <a:cxn ang="0">
                  <a:pos x="14" y="0"/>
                </a:cxn>
                <a:cxn ang="0">
                  <a:pos x="12" y="2"/>
                </a:cxn>
                <a:cxn ang="0">
                  <a:pos x="8" y="2"/>
                </a:cxn>
                <a:cxn ang="0">
                  <a:pos x="6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3" y="8"/>
                </a:cxn>
                <a:cxn ang="0">
                  <a:pos x="1" y="11"/>
                </a:cxn>
                <a:cxn ang="0">
                  <a:pos x="3" y="12"/>
                </a:cxn>
                <a:cxn ang="0">
                  <a:pos x="1" y="14"/>
                </a:cxn>
                <a:cxn ang="0">
                  <a:pos x="9" y="16"/>
                </a:cxn>
                <a:cxn ang="0">
                  <a:pos x="11" y="19"/>
                </a:cxn>
                <a:cxn ang="0">
                  <a:pos x="14" y="17"/>
                </a:cxn>
                <a:cxn ang="0">
                  <a:pos x="15" y="20"/>
                </a:cxn>
                <a:cxn ang="0">
                  <a:pos x="17" y="20"/>
                </a:cxn>
                <a:cxn ang="0">
                  <a:pos x="18" y="20"/>
                </a:cxn>
                <a:cxn ang="0">
                  <a:pos x="20" y="22"/>
                </a:cxn>
                <a:cxn ang="0">
                  <a:pos x="21" y="23"/>
                </a:cxn>
                <a:cxn ang="0">
                  <a:pos x="23" y="28"/>
                </a:cxn>
                <a:cxn ang="0">
                  <a:pos x="24" y="26"/>
                </a:cxn>
                <a:cxn ang="0">
                  <a:pos x="24" y="28"/>
                </a:cxn>
              </a:cxnLst>
              <a:rect l="0" t="0" r="r" b="b"/>
              <a:pathLst>
                <a:path w="26" h="28">
                  <a:moveTo>
                    <a:pt x="24" y="28"/>
                  </a:moveTo>
                  <a:cubicBezTo>
                    <a:pt x="24" y="26"/>
                    <a:pt x="24" y="26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3" y="23"/>
                    <a:pt x="26" y="23"/>
                    <a:pt x="26" y="23"/>
                  </a:cubicBezTo>
                  <a:cubicBezTo>
                    <a:pt x="26" y="23"/>
                    <a:pt x="23" y="22"/>
                    <a:pt x="24" y="22"/>
                  </a:cubicBezTo>
                  <a:cubicBezTo>
                    <a:pt x="24" y="20"/>
                    <a:pt x="26" y="22"/>
                    <a:pt x="26" y="20"/>
                  </a:cubicBezTo>
                  <a:cubicBezTo>
                    <a:pt x="26" y="19"/>
                    <a:pt x="23" y="20"/>
                    <a:pt x="23" y="19"/>
                  </a:cubicBezTo>
                  <a:cubicBezTo>
                    <a:pt x="21" y="19"/>
                    <a:pt x="20" y="17"/>
                    <a:pt x="20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4"/>
                    <a:pt x="20" y="16"/>
                    <a:pt x="20" y="16"/>
                  </a:cubicBezTo>
                  <a:cubicBezTo>
                    <a:pt x="20" y="14"/>
                    <a:pt x="21" y="12"/>
                    <a:pt x="21" y="12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5" y="6"/>
                    <a:pt x="18" y="6"/>
                    <a:pt x="18" y="6"/>
                  </a:cubicBezTo>
                  <a:cubicBezTo>
                    <a:pt x="18" y="5"/>
                    <a:pt x="14" y="2"/>
                    <a:pt x="14" y="0"/>
                  </a:cubicBezTo>
                  <a:cubicBezTo>
                    <a:pt x="12" y="0"/>
                    <a:pt x="12" y="2"/>
                    <a:pt x="12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6" y="2"/>
                  </a:cubicBezTo>
                  <a:cubicBezTo>
                    <a:pt x="5" y="2"/>
                    <a:pt x="3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1" y="5"/>
                    <a:pt x="3" y="6"/>
                    <a:pt x="3" y="8"/>
                  </a:cubicBezTo>
                  <a:cubicBezTo>
                    <a:pt x="3" y="9"/>
                    <a:pt x="1" y="9"/>
                    <a:pt x="1" y="11"/>
                  </a:cubicBezTo>
                  <a:cubicBezTo>
                    <a:pt x="1" y="12"/>
                    <a:pt x="3" y="12"/>
                    <a:pt x="3" y="12"/>
                  </a:cubicBezTo>
                  <a:cubicBezTo>
                    <a:pt x="3" y="14"/>
                    <a:pt x="1" y="14"/>
                    <a:pt x="1" y="14"/>
                  </a:cubicBezTo>
                  <a:cubicBezTo>
                    <a:pt x="5" y="16"/>
                    <a:pt x="8" y="14"/>
                    <a:pt x="9" y="16"/>
                  </a:cubicBezTo>
                  <a:cubicBezTo>
                    <a:pt x="11" y="17"/>
                    <a:pt x="11" y="17"/>
                    <a:pt x="11" y="19"/>
                  </a:cubicBezTo>
                  <a:cubicBezTo>
                    <a:pt x="12" y="19"/>
                    <a:pt x="12" y="17"/>
                    <a:pt x="14" y="17"/>
                  </a:cubicBezTo>
                  <a:cubicBezTo>
                    <a:pt x="15" y="19"/>
                    <a:pt x="14" y="20"/>
                    <a:pt x="15" y="20"/>
                  </a:cubicBezTo>
                  <a:cubicBezTo>
                    <a:pt x="17" y="19"/>
                    <a:pt x="15" y="20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0" y="20"/>
                    <a:pt x="18" y="22"/>
                    <a:pt x="20" y="22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5"/>
                    <a:pt x="21" y="26"/>
                    <a:pt x="23" y="28"/>
                  </a:cubicBezTo>
                  <a:cubicBezTo>
                    <a:pt x="23" y="28"/>
                    <a:pt x="23" y="26"/>
                    <a:pt x="24" y="26"/>
                  </a:cubicBezTo>
                  <a:cubicBezTo>
                    <a:pt x="24" y="28"/>
                    <a:pt x="24" y="28"/>
                    <a:pt x="24" y="2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1" name="Freeform 197"/>
            <p:cNvSpPr>
              <a:spLocks/>
            </p:cNvSpPr>
            <p:nvPr/>
          </p:nvSpPr>
          <p:spPr bwMode="auto">
            <a:xfrm>
              <a:off x="6344558" y="3336395"/>
              <a:ext cx="143473" cy="82529"/>
            </a:xfrm>
            <a:custGeom>
              <a:avLst/>
              <a:gdLst/>
              <a:ahLst/>
              <a:cxnLst>
                <a:cxn ang="0">
                  <a:pos x="30" y="28"/>
                </a:cxn>
                <a:cxn ang="0">
                  <a:pos x="34" y="26"/>
                </a:cxn>
                <a:cxn ang="0">
                  <a:pos x="36" y="26"/>
                </a:cxn>
                <a:cxn ang="0">
                  <a:pos x="41" y="26"/>
                </a:cxn>
                <a:cxn ang="0">
                  <a:pos x="42" y="25"/>
                </a:cxn>
                <a:cxn ang="0">
                  <a:pos x="44" y="23"/>
                </a:cxn>
                <a:cxn ang="0">
                  <a:pos x="47" y="25"/>
                </a:cxn>
                <a:cxn ang="0">
                  <a:pos x="48" y="26"/>
                </a:cxn>
                <a:cxn ang="0">
                  <a:pos x="51" y="26"/>
                </a:cxn>
                <a:cxn ang="0">
                  <a:pos x="54" y="26"/>
                </a:cxn>
                <a:cxn ang="0">
                  <a:pos x="51" y="23"/>
                </a:cxn>
                <a:cxn ang="0">
                  <a:pos x="51" y="22"/>
                </a:cxn>
                <a:cxn ang="0">
                  <a:pos x="53" y="19"/>
                </a:cxn>
                <a:cxn ang="0">
                  <a:pos x="47" y="16"/>
                </a:cxn>
                <a:cxn ang="0">
                  <a:pos x="47" y="11"/>
                </a:cxn>
                <a:cxn ang="0">
                  <a:pos x="42" y="10"/>
                </a:cxn>
                <a:cxn ang="0">
                  <a:pos x="37" y="10"/>
                </a:cxn>
                <a:cxn ang="0">
                  <a:pos x="31" y="11"/>
                </a:cxn>
                <a:cxn ang="0">
                  <a:pos x="30" y="8"/>
                </a:cxn>
                <a:cxn ang="0">
                  <a:pos x="24" y="5"/>
                </a:cxn>
                <a:cxn ang="0">
                  <a:pos x="17" y="4"/>
                </a:cxn>
                <a:cxn ang="0">
                  <a:pos x="11" y="4"/>
                </a:cxn>
                <a:cxn ang="0">
                  <a:pos x="7" y="0"/>
                </a:cxn>
                <a:cxn ang="0">
                  <a:pos x="0" y="2"/>
                </a:cxn>
                <a:cxn ang="0">
                  <a:pos x="10" y="8"/>
                </a:cxn>
                <a:cxn ang="0">
                  <a:pos x="14" y="14"/>
                </a:cxn>
                <a:cxn ang="0">
                  <a:pos x="13" y="23"/>
                </a:cxn>
                <a:cxn ang="0">
                  <a:pos x="17" y="23"/>
                </a:cxn>
                <a:cxn ang="0">
                  <a:pos x="21" y="23"/>
                </a:cxn>
                <a:cxn ang="0">
                  <a:pos x="22" y="22"/>
                </a:cxn>
                <a:cxn ang="0">
                  <a:pos x="27" y="25"/>
                </a:cxn>
                <a:cxn ang="0">
                  <a:pos x="27" y="25"/>
                </a:cxn>
                <a:cxn ang="0">
                  <a:pos x="27" y="26"/>
                </a:cxn>
                <a:cxn ang="0">
                  <a:pos x="30" y="26"/>
                </a:cxn>
                <a:cxn ang="0">
                  <a:pos x="30" y="28"/>
                </a:cxn>
              </a:cxnLst>
              <a:rect l="0" t="0" r="r" b="b"/>
              <a:pathLst>
                <a:path w="56" h="29">
                  <a:moveTo>
                    <a:pt x="30" y="28"/>
                  </a:moveTo>
                  <a:cubicBezTo>
                    <a:pt x="31" y="28"/>
                    <a:pt x="33" y="26"/>
                    <a:pt x="34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5"/>
                    <a:pt x="42" y="25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7" y="26"/>
                    <a:pt x="48" y="26"/>
                  </a:cubicBezTo>
                  <a:cubicBezTo>
                    <a:pt x="50" y="26"/>
                    <a:pt x="50" y="26"/>
                    <a:pt x="51" y="26"/>
                  </a:cubicBezTo>
                  <a:cubicBezTo>
                    <a:pt x="53" y="26"/>
                    <a:pt x="53" y="29"/>
                    <a:pt x="54" y="26"/>
                  </a:cubicBezTo>
                  <a:cubicBezTo>
                    <a:pt x="56" y="25"/>
                    <a:pt x="51" y="23"/>
                    <a:pt x="51" y="23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0"/>
                    <a:pt x="53" y="19"/>
                    <a:pt x="53" y="19"/>
                  </a:cubicBezTo>
                  <a:cubicBezTo>
                    <a:pt x="48" y="17"/>
                    <a:pt x="48" y="17"/>
                    <a:pt x="47" y="16"/>
                  </a:cubicBezTo>
                  <a:cubicBezTo>
                    <a:pt x="45" y="14"/>
                    <a:pt x="50" y="11"/>
                    <a:pt x="47" y="11"/>
                  </a:cubicBezTo>
                  <a:cubicBezTo>
                    <a:pt x="44" y="11"/>
                    <a:pt x="44" y="10"/>
                    <a:pt x="42" y="10"/>
                  </a:cubicBezTo>
                  <a:cubicBezTo>
                    <a:pt x="41" y="8"/>
                    <a:pt x="41" y="11"/>
                    <a:pt x="37" y="10"/>
                  </a:cubicBezTo>
                  <a:cubicBezTo>
                    <a:pt x="36" y="8"/>
                    <a:pt x="34" y="13"/>
                    <a:pt x="31" y="11"/>
                  </a:cubicBezTo>
                  <a:cubicBezTo>
                    <a:pt x="30" y="10"/>
                    <a:pt x="34" y="10"/>
                    <a:pt x="30" y="8"/>
                  </a:cubicBezTo>
                  <a:cubicBezTo>
                    <a:pt x="25" y="7"/>
                    <a:pt x="25" y="5"/>
                    <a:pt x="24" y="5"/>
                  </a:cubicBezTo>
                  <a:cubicBezTo>
                    <a:pt x="22" y="5"/>
                    <a:pt x="21" y="2"/>
                    <a:pt x="17" y="4"/>
                  </a:cubicBezTo>
                  <a:cubicBezTo>
                    <a:pt x="13" y="7"/>
                    <a:pt x="14" y="4"/>
                    <a:pt x="11" y="4"/>
                  </a:cubicBezTo>
                  <a:cubicBezTo>
                    <a:pt x="8" y="4"/>
                    <a:pt x="8" y="0"/>
                    <a:pt x="7" y="0"/>
                  </a:cubicBezTo>
                  <a:cubicBezTo>
                    <a:pt x="5" y="0"/>
                    <a:pt x="2" y="0"/>
                    <a:pt x="0" y="2"/>
                  </a:cubicBezTo>
                  <a:cubicBezTo>
                    <a:pt x="7" y="7"/>
                    <a:pt x="8" y="5"/>
                    <a:pt x="10" y="8"/>
                  </a:cubicBezTo>
                  <a:cubicBezTo>
                    <a:pt x="11" y="11"/>
                    <a:pt x="13" y="7"/>
                    <a:pt x="14" y="14"/>
                  </a:cubicBezTo>
                  <a:cubicBezTo>
                    <a:pt x="16" y="22"/>
                    <a:pt x="14" y="22"/>
                    <a:pt x="13" y="23"/>
                  </a:cubicBezTo>
                  <a:cubicBezTo>
                    <a:pt x="16" y="25"/>
                    <a:pt x="14" y="23"/>
                    <a:pt x="17" y="23"/>
                  </a:cubicBezTo>
                  <a:cubicBezTo>
                    <a:pt x="17" y="23"/>
                    <a:pt x="21" y="25"/>
                    <a:pt x="21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4" y="22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8"/>
                    <a:pt x="28" y="26"/>
                    <a:pt x="30" y="26"/>
                  </a:cubicBezTo>
                  <a:cubicBezTo>
                    <a:pt x="30" y="28"/>
                    <a:pt x="30" y="28"/>
                    <a:pt x="30" y="2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2" name="Freeform 198"/>
            <p:cNvSpPr>
              <a:spLocks/>
            </p:cNvSpPr>
            <p:nvPr/>
          </p:nvSpPr>
          <p:spPr bwMode="auto">
            <a:xfrm>
              <a:off x="6469603" y="2932438"/>
              <a:ext cx="838464" cy="502411"/>
            </a:xfrm>
            <a:custGeom>
              <a:avLst/>
              <a:gdLst/>
              <a:ahLst/>
              <a:cxnLst>
                <a:cxn ang="0">
                  <a:pos x="197" y="160"/>
                </a:cxn>
                <a:cxn ang="0">
                  <a:pos x="194" y="162"/>
                </a:cxn>
                <a:cxn ang="0">
                  <a:pos x="185" y="168"/>
                </a:cxn>
                <a:cxn ang="0">
                  <a:pos x="179" y="176"/>
                </a:cxn>
                <a:cxn ang="0">
                  <a:pos x="174" y="176"/>
                </a:cxn>
                <a:cxn ang="0">
                  <a:pos x="174" y="173"/>
                </a:cxn>
                <a:cxn ang="0">
                  <a:pos x="163" y="168"/>
                </a:cxn>
                <a:cxn ang="0">
                  <a:pos x="159" y="162"/>
                </a:cxn>
                <a:cxn ang="0">
                  <a:pos x="159" y="153"/>
                </a:cxn>
                <a:cxn ang="0">
                  <a:pos x="148" y="143"/>
                </a:cxn>
                <a:cxn ang="0">
                  <a:pos x="124" y="143"/>
                </a:cxn>
                <a:cxn ang="0">
                  <a:pos x="121" y="135"/>
                </a:cxn>
                <a:cxn ang="0">
                  <a:pos x="122" y="124"/>
                </a:cxn>
                <a:cxn ang="0">
                  <a:pos x="122" y="114"/>
                </a:cxn>
                <a:cxn ang="0">
                  <a:pos x="121" y="109"/>
                </a:cxn>
                <a:cxn ang="0">
                  <a:pos x="112" y="109"/>
                </a:cxn>
                <a:cxn ang="0">
                  <a:pos x="107" y="114"/>
                </a:cxn>
                <a:cxn ang="0">
                  <a:pos x="99" y="121"/>
                </a:cxn>
                <a:cxn ang="0">
                  <a:pos x="80" y="132"/>
                </a:cxn>
                <a:cxn ang="0">
                  <a:pos x="75" y="170"/>
                </a:cxn>
                <a:cxn ang="0">
                  <a:pos x="63" y="159"/>
                </a:cxn>
                <a:cxn ang="0">
                  <a:pos x="51" y="165"/>
                </a:cxn>
                <a:cxn ang="0">
                  <a:pos x="46" y="151"/>
                </a:cxn>
                <a:cxn ang="0">
                  <a:pos x="37" y="137"/>
                </a:cxn>
                <a:cxn ang="0">
                  <a:pos x="43" y="134"/>
                </a:cxn>
                <a:cxn ang="0">
                  <a:pos x="43" y="124"/>
                </a:cxn>
                <a:cxn ang="0">
                  <a:pos x="55" y="123"/>
                </a:cxn>
                <a:cxn ang="0">
                  <a:pos x="57" y="107"/>
                </a:cxn>
                <a:cxn ang="0">
                  <a:pos x="45" y="106"/>
                </a:cxn>
                <a:cxn ang="0">
                  <a:pos x="25" y="112"/>
                </a:cxn>
                <a:cxn ang="0">
                  <a:pos x="23" y="112"/>
                </a:cxn>
                <a:cxn ang="0">
                  <a:pos x="11" y="96"/>
                </a:cxn>
                <a:cxn ang="0">
                  <a:pos x="7" y="76"/>
                </a:cxn>
                <a:cxn ang="0">
                  <a:pos x="22" y="65"/>
                </a:cxn>
                <a:cxn ang="0">
                  <a:pos x="46" y="50"/>
                </a:cxn>
                <a:cxn ang="0">
                  <a:pos x="80" y="62"/>
                </a:cxn>
                <a:cxn ang="0">
                  <a:pos x="103" y="61"/>
                </a:cxn>
                <a:cxn ang="0">
                  <a:pos x="119" y="51"/>
                </a:cxn>
                <a:cxn ang="0">
                  <a:pos x="125" y="31"/>
                </a:cxn>
                <a:cxn ang="0">
                  <a:pos x="171" y="9"/>
                </a:cxn>
                <a:cxn ang="0">
                  <a:pos x="199" y="11"/>
                </a:cxn>
                <a:cxn ang="0">
                  <a:pos x="218" y="23"/>
                </a:cxn>
                <a:cxn ang="0">
                  <a:pos x="243" y="20"/>
                </a:cxn>
                <a:cxn ang="0">
                  <a:pos x="279" y="56"/>
                </a:cxn>
                <a:cxn ang="0">
                  <a:pos x="321" y="73"/>
                </a:cxn>
                <a:cxn ang="0">
                  <a:pos x="321" y="87"/>
                </a:cxn>
                <a:cxn ang="0">
                  <a:pos x="310" y="106"/>
                </a:cxn>
                <a:cxn ang="0">
                  <a:pos x="293" y="104"/>
                </a:cxn>
                <a:cxn ang="0">
                  <a:pos x="292" y="124"/>
                </a:cxn>
                <a:cxn ang="0">
                  <a:pos x="272" y="128"/>
                </a:cxn>
                <a:cxn ang="0">
                  <a:pos x="275" y="149"/>
                </a:cxn>
                <a:cxn ang="0">
                  <a:pos x="272" y="160"/>
                </a:cxn>
                <a:cxn ang="0">
                  <a:pos x="247" y="153"/>
                </a:cxn>
                <a:cxn ang="0">
                  <a:pos x="221" y="149"/>
                </a:cxn>
                <a:cxn ang="0">
                  <a:pos x="203" y="153"/>
                </a:cxn>
              </a:cxnLst>
              <a:rect l="0" t="0" r="r" b="b"/>
              <a:pathLst>
                <a:path w="328" h="179">
                  <a:moveTo>
                    <a:pt x="199" y="159"/>
                  </a:moveTo>
                  <a:cubicBezTo>
                    <a:pt x="197" y="160"/>
                    <a:pt x="197" y="160"/>
                    <a:pt x="197" y="160"/>
                  </a:cubicBezTo>
                  <a:cubicBezTo>
                    <a:pt x="196" y="160"/>
                    <a:pt x="197" y="162"/>
                    <a:pt x="196" y="162"/>
                  </a:cubicBezTo>
                  <a:cubicBezTo>
                    <a:pt x="194" y="162"/>
                    <a:pt x="196" y="160"/>
                    <a:pt x="194" y="162"/>
                  </a:cubicBezTo>
                  <a:cubicBezTo>
                    <a:pt x="191" y="163"/>
                    <a:pt x="189" y="165"/>
                    <a:pt x="188" y="166"/>
                  </a:cubicBezTo>
                  <a:cubicBezTo>
                    <a:pt x="186" y="168"/>
                    <a:pt x="186" y="168"/>
                    <a:pt x="185" y="168"/>
                  </a:cubicBezTo>
                  <a:cubicBezTo>
                    <a:pt x="182" y="170"/>
                    <a:pt x="183" y="171"/>
                    <a:pt x="182" y="171"/>
                  </a:cubicBezTo>
                  <a:cubicBezTo>
                    <a:pt x="180" y="173"/>
                    <a:pt x="179" y="174"/>
                    <a:pt x="179" y="176"/>
                  </a:cubicBezTo>
                  <a:cubicBezTo>
                    <a:pt x="180" y="177"/>
                    <a:pt x="179" y="179"/>
                    <a:pt x="177" y="177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6" y="173"/>
                    <a:pt x="176" y="173"/>
                    <a:pt x="176" y="173"/>
                  </a:cubicBezTo>
                  <a:cubicBezTo>
                    <a:pt x="176" y="173"/>
                    <a:pt x="176" y="174"/>
                    <a:pt x="174" y="173"/>
                  </a:cubicBezTo>
                  <a:cubicBezTo>
                    <a:pt x="174" y="171"/>
                    <a:pt x="174" y="171"/>
                    <a:pt x="168" y="171"/>
                  </a:cubicBezTo>
                  <a:cubicBezTo>
                    <a:pt x="163" y="173"/>
                    <a:pt x="163" y="171"/>
                    <a:pt x="163" y="168"/>
                  </a:cubicBezTo>
                  <a:cubicBezTo>
                    <a:pt x="163" y="165"/>
                    <a:pt x="163" y="162"/>
                    <a:pt x="162" y="162"/>
                  </a:cubicBezTo>
                  <a:cubicBezTo>
                    <a:pt x="159" y="162"/>
                    <a:pt x="159" y="162"/>
                    <a:pt x="159" y="162"/>
                  </a:cubicBezTo>
                  <a:cubicBezTo>
                    <a:pt x="159" y="162"/>
                    <a:pt x="159" y="160"/>
                    <a:pt x="159" y="157"/>
                  </a:cubicBezTo>
                  <a:cubicBezTo>
                    <a:pt x="160" y="153"/>
                    <a:pt x="160" y="149"/>
                    <a:pt x="159" y="153"/>
                  </a:cubicBezTo>
                  <a:cubicBezTo>
                    <a:pt x="156" y="154"/>
                    <a:pt x="157" y="148"/>
                    <a:pt x="154" y="146"/>
                  </a:cubicBezTo>
                  <a:cubicBezTo>
                    <a:pt x="151" y="145"/>
                    <a:pt x="151" y="142"/>
                    <a:pt x="148" y="143"/>
                  </a:cubicBezTo>
                  <a:cubicBezTo>
                    <a:pt x="144" y="146"/>
                    <a:pt x="141" y="143"/>
                    <a:pt x="133" y="145"/>
                  </a:cubicBezTo>
                  <a:cubicBezTo>
                    <a:pt x="127" y="146"/>
                    <a:pt x="127" y="146"/>
                    <a:pt x="124" y="143"/>
                  </a:cubicBezTo>
                  <a:cubicBezTo>
                    <a:pt x="122" y="140"/>
                    <a:pt x="121" y="139"/>
                    <a:pt x="121" y="137"/>
                  </a:cubicBezTo>
                  <a:cubicBezTo>
                    <a:pt x="119" y="137"/>
                    <a:pt x="121" y="135"/>
                    <a:pt x="121" y="135"/>
                  </a:cubicBezTo>
                  <a:cubicBezTo>
                    <a:pt x="119" y="131"/>
                    <a:pt x="121" y="135"/>
                    <a:pt x="127" y="128"/>
                  </a:cubicBezTo>
                  <a:cubicBezTo>
                    <a:pt x="125" y="123"/>
                    <a:pt x="122" y="129"/>
                    <a:pt x="122" y="124"/>
                  </a:cubicBezTo>
                  <a:cubicBezTo>
                    <a:pt x="122" y="120"/>
                    <a:pt x="121" y="121"/>
                    <a:pt x="119" y="117"/>
                  </a:cubicBezTo>
                  <a:cubicBezTo>
                    <a:pt x="118" y="112"/>
                    <a:pt x="122" y="117"/>
                    <a:pt x="122" y="114"/>
                  </a:cubicBezTo>
                  <a:cubicBezTo>
                    <a:pt x="122" y="110"/>
                    <a:pt x="124" y="114"/>
                    <a:pt x="124" y="107"/>
                  </a:cubicBezTo>
                  <a:cubicBezTo>
                    <a:pt x="124" y="106"/>
                    <a:pt x="121" y="107"/>
                    <a:pt x="121" y="109"/>
                  </a:cubicBezTo>
                  <a:cubicBezTo>
                    <a:pt x="119" y="112"/>
                    <a:pt x="116" y="112"/>
                    <a:pt x="118" y="109"/>
                  </a:cubicBezTo>
                  <a:cubicBezTo>
                    <a:pt x="119" y="106"/>
                    <a:pt x="116" y="107"/>
                    <a:pt x="112" y="109"/>
                  </a:cubicBezTo>
                  <a:cubicBezTo>
                    <a:pt x="107" y="112"/>
                    <a:pt x="113" y="110"/>
                    <a:pt x="112" y="114"/>
                  </a:cubicBezTo>
                  <a:cubicBezTo>
                    <a:pt x="110" y="117"/>
                    <a:pt x="109" y="112"/>
                    <a:pt x="107" y="114"/>
                  </a:cubicBezTo>
                  <a:cubicBezTo>
                    <a:pt x="106" y="114"/>
                    <a:pt x="109" y="115"/>
                    <a:pt x="107" y="117"/>
                  </a:cubicBezTo>
                  <a:cubicBezTo>
                    <a:pt x="104" y="118"/>
                    <a:pt x="103" y="114"/>
                    <a:pt x="99" y="121"/>
                  </a:cubicBezTo>
                  <a:cubicBezTo>
                    <a:pt x="98" y="121"/>
                    <a:pt x="84" y="126"/>
                    <a:pt x="81" y="128"/>
                  </a:cubicBezTo>
                  <a:cubicBezTo>
                    <a:pt x="78" y="128"/>
                    <a:pt x="80" y="128"/>
                    <a:pt x="80" y="132"/>
                  </a:cubicBezTo>
                  <a:cubicBezTo>
                    <a:pt x="80" y="135"/>
                    <a:pt x="80" y="170"/>
                    <a:pt x="80" y="170"/>
                  </a:cubicBezTo>
                  <a:cubicBezTo>
                    <a:pt x="77" y="170"/>
                    <a:pt x="75" y="171"/>
                    <a:pt x="75" y="170"/>
                  </a:cubicBezTo>
                  <a:cubicBezTo>
                    <a:pt x="71" y="163"/>
                    <a:pt x="72" y="163"/>
                    <a:pt x="69" y="162"/>
                  </a:cubicBezTo>
                  <a:cubicBezTo>
                    <a:pt x="67" y="160"/>
                    <a:pt x="66" y="157"/>
                    <a:pt x="63" y="159"/>
                  </a:cubicBezTo>
                  <a:cubicBezTo>
                    <a:pt x="60" y="159"/>
                    <a:pt x="57" y="160"/>
                    <a:pt x="55" y="162"/>
                  </a:cubicBezTo>
                  <a:cubicBezTo>
                    <a:pt x="52" y="163"/>
                    <a:pt x="51" y="165"/>
                    <a:pt x="51" y="165"/>
                  </a:cubicBezTo>
                  <a:cubicBezTo>
                    <a:pt x="49" y="157"/>
                    <a:pt x="57" y="157"/>
                    <a:pt x="52" y="154"/>
                  </a:cubicBezTo>
                  <a:cubicBezTo>
                    <a:pt x="49" y="149"/>
                    <a:pt x="48" y="154"/>
                    <a:pt x="46" y="151"/>
                  </a:cubicBezTo>
                  <a:cubicBezTo>
                    <a:pt x="45" y="148"/>
                    <a:pt x="42" y="151"/>
                    <a:pt x="42" y="148"/>
                  </a:cubicBezTo>
                  <a:cubicBezTo>
                    <a:pt x="42" y="148"/>
                    <a:pt x="40" y="137"/>
                    <a:pt x="37" y="137"/>
                  </a:cubicBezTo>
                  <a:cubicBezTo>
                    <a:pt x="32" y="137"/>
                    <a:pt x="31" y="134"/>
                    <a:pt x="35" y="132"/>
                  </a:cubicBezTo>
                  <a:cubicBezTo>
                    <a:pt x="42" y="132"/>
                    <a:pt x="37" y="135"/>
                    <a:pt x="43" y="134"/>
                  </a:cubicBezTo>
                  <a:cubicBezTo>
                    <a:pt x="48" y="134"/>
                    <a:pt x="35" y="129"/>
                    <a:pt x="40" y="128"/>
                  </a:cubicBezTo>
                  <a:cubicBezTo>
                    <a:pt x="45" y="126"/>
                    <a:pt x="40" y="126"/>
                    <a:pt x="43" y="124"/>
                  </a:cubicBezTo>
                  <a:cubicBezTo>
                    <a:pt x="46" y="121"/>
                    <a:pt x="45" y="124"/>
                    <a:pt x="49" y="124"/>
                  </a:cubicBezTo>
                  <a:cubicBezTo>
                    <a:pt x="52" y="123"/>
                    <a:pt x="60" y="126"/>
                    <a:pt x="55" y="123"/>
                  </a:cubicBezTo>
                  <a:cubicBezTo>
                    <a:pt x="52" y="120"/>
                    <a:pt x="58" y="115"/>
                    <a:pt x="57" y="112"/>
                  </a:cubicBezTo>
                  <a:cubicBezTo>
                    <a:pt x="55" y="110"/>
                    <a:pt x="57" y="109"/>
                    <a:pt x="57" y="107"/>
                  </a:cubicBezTo>
                  <a:cubicBezTo>
                    <a:pt x="55" y="106"/>
                    <a:pt x="52" y="104"/>
                    <a:pt x="51" y="106"/>
                  </a:cubicBezTo>
                  <a:cubicBezTo>
                    <a:pt x="49" y="109"/>
                    <a:pt x="49" y="107"/>
                    <a:pt x="45" y="106"/>
                  </a:cubicBezTo>
                  <a:cubicBezTo>
                    <a:pt x="42" y="103"/>
                    <a:pt x="39" y="104"/>
                    <a:pt x="32" y="109"/>
                  </a:cubicBezTo>
                  <a:cubicBezTo>
                    <a:pt x="28" y="114"/>
                    <a:pt x="28" y="109"/>
                    <a:pt x="25" y="112"/>
                  </a:cubicBezTo>
                  <a:cubicBezTo>
                    <a:pt x="23" y="117"/>
                    <a:pt x="22" y="115"/>
                    <a:pt x="22" y="117"/>
                  </a:cubicBezTo>
                  <a:cubicBezTo>
                    <a:pt x="22" y="115"/>
                    <a:pt x="22" y="117"/>
                    <a:pt x="23" y="112"/>
                  </a:cubicBezTo>
                  <a:cubicBezTo>
                    <a:pt x="16" y="107"/>
                    <a:pt x="28" y="110"/>
                    <a:pt x="20" y="103"/>
                  </a:cubicBezTo>
                  <a:cubicBezTo>
                    <a:pt x="14" y="95"/>
                    <a:pt x="14" y="95"/>
                    <a:pt x="11" y="96"/>
                  </a:cubicBezTo>
                  <a:cubicBezTo>
                    <a:pt x="8" y="96"/>
                    <a:pt x="11" y="92"/>
                    <a:pt x="7" y="89"/>
                  </a:cubicBezTo>
                  <a:cubicBezTo>
                    <a:pt x="0" y="87"/>
                    <a:pt x="10" y="81"/>
                    <a:pt x="7" y="76"/>
                  </a:cubicBezTo>
                  <a:cubicBezTo>
                    <a:pt x="3" y="73"/>
                    <a:pt x="11" y="62"/>
                    <a:pt x="14" y="65"/>
                  </a:cubicBezTo>
                  <a:cubicBezTo>
                    <a:pt x="20" y="75"/>
                    <a:pt x="22" y="72"/>
                    <a:pt x="22" y="65"/>
                  </a:cubicBezTo>
                  <a:cubicBezTo>
                    <a:pt x="22" y="59"/>
                    <a:pt x="32" y="56"/>
                    <a:pt x="37" y="51"/>
                  </a:cubicBezTo>
                  <a:cubicBezTo>
                    <a:pt x="40" y="45"/>
                    <a:pt x="42" y="54"/>
                    <a:pt x="46" y="50"/>
                  </a:cubicBezTo>
                  <a:cubicBezTo>
                    <a:pt x="52" y="47"/>
                    <a:pt x="51" y="51"/>
                    <a:pt x="58" y="53"/>
                  </a:cubicBezTo>
                  <a:cubicBezTo>
                    <a:pt x="66" y="53"/>
                    <a:pt x="74" y="67"/>
                    <a:pt x="80" y="62"/>
                  </a:cubicBezTo>
                  <a:cubicBezTo>
                    <a:pt x="83" y="57"/>
                    <a:pt x="84" y="54"/>
                    <a:pt x="89" y="57"/>
                  </a:cubicBezTo>
                  <a:cubicBezTo>
                    <a:pt x="93" y="61"/>
                    <a:pt x="93" y="53"/>
                    <a:pt x="103" y="61"/>
                  </a:cubicBezTo>
                  <a:cubicBezTo>
                    <a:pt x="112" y="67"/>
                    <a:pt x="107" y="56"/>
                    <a:pt x="113" y="61"/>
                  </a:cubicBezTo>
                  <a:cubicBezTo>
                    <a:pt x="121" y="65"/>
                    <a:pt x="128" y="54"/>
                    <a:pt x="119" y="51"/>
                  </a:cubicBezTo>
                  <a:cubicBezTo>
                    <a:pt x="103" y="44"/>
                    <a:pt x="124" y="45"/>
                    <a:pt x="118" y="39"/>
                  </a:cubicBezTo>
                  <a:cubicBezTo>
                    <a:pt x="112" y="34"/>
                    <a:pt x="133" y="34"/>
                    <a:pt x="125" y="31"/>
                  </a:cubicBezTo>
                  <a:cubicBezTo>
                    <a:pt x="118" y="28"/>
                    <a:pt x="115" y="20"/>
                    <a:pt x="124" y="20"/>
                  </a:cubicBezTo>
                  <a:cubicBezTo>
                    <a:pt x="133" y="20"/>
                    <a:pt x="163" y="14"/>
                    <a:pt x="171" y="9"/>
                  </a:cubicBezTo>
                  <a:cubicBezTo>
                    <a:pt x="180" y="6"/>
                    <a:pt x="182" y="0"/>
                    <a:pt x="188" y="5"/>
                  </a:cubicBezTo>
                  <a:cubicBezTo>
                    <a:pt x="193" y="8"/>
                    <a:pt x="196" y="0"/>
                    <a:pt x="199" y="11"/>
                  </a:cubicBezTo>
                  <a:cubicBezTo>
                    <a:pt x="202" y="23"/>
                    <a:pt x="206" y="15"/>
                    <a:pt x="212" y="19"/>
                  </a:cubicBezTo>
                  <a:cubicBezTo>
                    <a:pt x="218" y="22"/>
                    <a:pt x="223" y="19"/>
                    <a:pt x="218" y="23"/>
                  </a:cubicBezTo>
                  <a:cubicBezTo>
                    <a:pt x="214" y="28"/>
                    <a:pt x="223" y="28"/>
                    <a:pt x="235" y="20"/>
                  </a:cubicBezTo>
                  <a:cubicBezTo>
                    <a:pt x="247" y="11"/>
                    <a:pt x="246" y="17"/>
                    <a:pt x="243" y="20"/>
                  </a:cubicBezTo>
                  <a:cubicBezTo>
                    <a:pt x="240" y="23"/>
                    <a:pt x="252" y="25"/>
                    <a:pt x="263" y="45"/>
                  </a:cubicBezTo>
                  <a:cubicBezTo>
                    <a:pt x="276" y="75"/>
                    <a:pt x="270" y="48"/>
                    <a:pt x="279" y="56"/>
                  </a:cubicBezTo>
                  <a:cubicBezTo>
                    <a:pt x="290" y="65"/>
                    <a:pt x="295" y="53"/>
                    <a:pt x="304" y="62"/>
                  </a:cubicBezTo>
                  <a:cubicBezTo>
                    <a:pt x="311" y="73"/>
                    <a:pt x="314" y="79"/>
                    <a:pt x="321" y="73"/>
                  </a:cubicBezTo>
                  <a:cubicBezTo>
                    <a:pt x="328" y="68"/>
                    <a:pt x="321" y="75"/>
                    <a:pt x="328" y="81"/>
                  </a:cubicBezTo>
                  <a:cubicBezTo>
                    <a:pt x="319" y="79"/>
                    <a:pt x="328" y="86"/>
                    <a:pt x="321" y="87"/>
                  </a:cubicBezTo>
                  <a:cubicBezTo>
                    <a:pt x="311" y="90"/>
                    <a:pt x="313" y="96"/>
                    <a:pt x="314" y="100"/>
                  </a:cubicBezTo>
                  <a:cubicBezTo>
                    <a:pt x="316" y="103"/>
                    <a:pt x="314" y="104"/>
                    <a:pt x="310" y="106"/>
                  </a:cubicBezTo>
                  <a:cubicBezTo>
                    <a:pt x="307" y="107"/>
                    <a:pt x="308" y="104"/>
                    <a:pt x="304" y="106"/>
                  </a:cubicBezTo>
                  <a:cubicBezTo>
                    <a:pt x="299" y="106"/>
                    <a:pt x="295" y="100"/>
                    <a:pt x="293" y="104"/>
                  </a:cubicBezTo>
                  <a:cubicBezTo>
                    <a:pt x="293" y="107"/>
                    <a:pt x="292" y="117"/>
                    <a:pt x="289" y="120"/>
                  </a:cubicBezTo>
                  <a:cubicBezTo>
                    <a:pt x="287" y="123"/>
                    <a:pt x="292" y="121"/>
                    <a:pt x="292" y="124"/>
                  </a:cubicBezTo>
                  <a:cubicBezTo>
                    <a:pt x="290" y="128"/>
                    <a:pt x="287" y="126"/>
                    <a:pt x="284" y="124"/>
                  </a:cubicBezTo>
                  <a:cubicBezTo>
                    <a:pt x="282" y="124"/>
                    <a:pt x="276" y="126"/>
                    <a:pt x="272" y="128"/>
                  </a:cubicBezTo>
                  <a:cubicBezTo>
                    <a:pt x="264" y="129"/>
                    <a:pt x="275" y="129"/>
                    <a:pt x="273" y="132"/>
                  </a:cubicBezTo>
                  <a:cubicBezTo>
                    <a:pt x="272" y="135"/>
                    <a:pt x="279" y="148"/>
                    <a:pt x="275" y="149"/>
                  </a:cubicBezTo>
                  <a:cubicBezTo>
                    <a:pt x="272" y="151"/>
                    <a:pt x="276" y="153"/>
                    <a:pt x="273" y="153"/>
                  </a:cubicBezTo>
                  <a:cubicBezTo>
                    <a:pt x="270" y="154"/>
                    <a:pt x="273" y="159"/>
                    <a:pt x="272" y="160"/>
                  </a:cubicBezTo>
                  <a:cubicBezTo>
                    <a:pt x="269" y="156"/>
                    <a:pt x="266" y="159"/>
                    <a:pt x="264" y="156"/>
                  </a:cubicBezTo>
                  <a:cubicBezTo>
                    <a:pt x="264" y="153"/>
                    <a:pt x="258" y="153"/>
                    <a:pt x="247" y="153"/>
                  </a:cubicBezTo>
                  <a:cubicBezTo>
                    <a:pt x="235" y="151"/>
                    <a:pt x="235" y="154"/>
                    <a:pt x="232" y="153"/>
                  </a:cubicBezTo>
                  <a:cubicBezTo>
                    <a:pt x="231" y="151"/>
                    <a:pt x="226" y="148"/>
                    <a:pt x="221" y="149"/>
                  </a:cubicBezTo>
                  <a:cubicBezTo>
                    <a:pt x="215" y="151"/>
                    <a:pt x="220" y="159"/>
                    <a:pt x="217" y="157"/>
                  </a:cubicBezTo>
                  <a:cubicBezTo>
                    <a:pt x="214" y="156"/>
                    <a:pt x="208" y="153"/>
                    <a:pt x="203" y="153"/>
                  </a:cubicBezTo>
                  <a:cubicBezTo>
                    <a:pt x="199" y="154"/>
                    <a:pt x="199" y="157"/>
                    <a:pt x="199" y="15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3" name="Freeform 199"/>
            <p:cNvSpPr>
              <a:spLocks noEditPoints="1"/>
            </p:cNvSpPr>
            <p:nvPr/>
          </p:nvSpPr>
          <p:spPr bwMode="auto">
            <a:xfrm>
              <a:off x="5936513" y="2385143"/>
              <a:ext cx="244826" cy="403956"/>
            </a:xfrm>
            <a:custGeom>
              <a:avLst/>
              <a:gdLst/>
              <a:ahLst/>
              <a:cxnLst>
                <a:cxn ang="0">
                  <a:pos x="12" y="13"/>
                </a:cxn>
                <a:cxn ang="0">
                  <a:pos x="24" y="21"/>
                </a:cxn>
                <a:cxn ang="0">
                  <a:pos x="35" y="19"/>
                </a:cxn>
                <a:cxn ang="0">
                  <a:pos x="44" y="21"/>
                </a:cxn>
                <a:cxn ang="0">
                  <a:pos x="50" y="10"/>
                </a:cxn>
                <a:cxn ang="0">
                  <a:pos x="62" y="2"/>
                </a:cxn>
                <a:cxn ang="0">
                  <a:pos x="77" y="10"/>
                </a:cxn>
                <a:cxn ang="0">
                  <a:pos x="73" y="19"/>
                </a:cxn>
                <a:cxn ang="0">
                  <a:pos x="79" y="31"/>
                </a:cxn>
                <a:cxn ang="0">
                  <a:pos x="76" y="49"/>
                </a:cxn>
                <a:cxn ang="0">
                  <a:pos x="80" y="66"/>
                </a:cxn>
                <a:cxn ang="0">
                  <a:pos x="80" y="70"/>
                </a:cxn>
                <a:cxn ang="0">
                  <a:pos x="83" y="78"/>
                </a:cxn>
                <a:cxn ang="0">
                  <a:pos x="88" y="86"/>
                </a:cxn>
                <a:cxn ang="0">
                  <a:pos x="93" y="99"/>
                </a:cxn>
                <a:cxn ang="0">
                  <a:pos x="79" y="120"/>
                </a:cxn>
                <a:cxn ang="0">
                  <a:pos x="56" y="134"/>
                </a:cxn>
                <a:cxn ang="0">
                  <a:pos x="44" y="138"/>
                </a:cxn>
                <a:cxn ang="0">
                  <a:pos x="27" y="141"/>
                </a:cxn>
                <a:cxn ang="0">
                  <a:pos x="22" y="138"/>
                </a:cxn>
                <a:cxn ang="0">
                  <a:pos x="13" y="128"/>
                </a:cxn>
                <a:cxn ang="0">
                  <a:pos x="15" y="117"/>
                </a:cxn>
                <a:cxn ang="0">
                  <a:pos x="15" y="99"/>
                </a:cxn>
                <a:cxn ang="0">
                  <a:pos x="21" y="94"/>
                </a:cxn>
                <a:cxn ang="0">
                  <a:pos x="29" y="88"/>
                </a:cxn>
                <a:cxn ang="0">
                  <a:pos x="41" y="75"/>
                </a:cxn>
                <a:cxn ang="0">
                  <a:pos x="45" y="70"/>
                </a:cxn>
                <a:cxn ang="0">
                  <a:pos x="36" y="63"/>
                </a:cxn>
                <a:cxn ang="0">
                  <a:pos x="35" y="49"/>
                </a:cxn>
                <a:cxn ang="0">
                  <a:pos x="33" y="39"/>
                </a:cxn>
                <a:cxn ang="0">
                  <a:pos x="30" y="35"/>
                </a:cxn>
                <a:cxn ang="0">
                  <a:pos x="29" y="28"/>
                </a:cxn>
                <a:cxn ang="0">
                  <a:pos x="12" y="19"/>
                </a:cxn>
                <a:cxn ang="0">
                  <a:pos x="12" y="16"/>
                </a:cxn>
                <a:cxn ang="0">
                  <a:pos x="21" y="138"/>
                </a:cxn>
                <a:cxn ang="0">
                  <a:pos x="18" y="136"/>
                </a:cxn>
                <a:cxn ang="0">
                  <a:pos x="18" y="136"/>
                </a:cxn>
                <a:cxn ang="0">
                  <a:pos x="16" y="139"/>
                </a:cxn>
                <a:cxn ang="0">
                  <a:pos x="18" y="139"/>
                </a:cxn>
                <a:cxn ang="0">
                  <a:pos x="18" y="139"/>
                </a:cxn>
                <a:cxn ang="0">
                  <a:pos x="18" y="138"/>
                </a:cxn>
                <a:cxn ang="0">
                  <a:pos x="4" y="141"/>
                </a:cxn>
                <a:cxn ang="0">
                  <a:pos x="4" y="141"/>
                </a:cxn>
                <a:cxn ang="0">
                  <a:pos x="4" y="138"/>
                </a:cxn>
                <a:cxn ang="0">
                  <a:pos x="3" y="136"/>
                </a:cxn>
                <a:cxn ang="0">
                  <a:pos x="1" y="136"/>
                </a:cxn>
                <a:cxn ang="0">
                  <a:pos x="0" y="138"/>
                </a:cxn>
                <a:cxn ang="0">
                  <a:pos x="3" y="139"/>
                </a:cxn>
                <a:cxn ang="0">
                  <a:pos x="41" y="72"/>
                </a:cxn>
                <a:cxn ang="0">
                  <a:pos x="44" y="74"/>
                </a:cxn>
                <a:cxn ang="0">
                  <a:pos x="13" y="97"/>
                </a:cxn>
                <a:cxn ang="0">
                  <a:pos x="15" y="97"/>
                </a:cxn>
              </a:cxnLst>
              <a:rect l="0" t="0" r="r" b="b"/>
              <a:pathLst>
                <a:path w="96" h="144">
                  <a:moveTo>
                    <a:pt x="12" y="16"/>
                  </a:moveTo>
                  <a:cubicBezTo>
                    <a:pt x="12" y="16"/>
                    <a:pt x="10" y="14"/>
                    <a:pt x="12" y="13"/>
                  </a:cubicBezTo>
                  <a:cubicBezTo>
                    <a:pt x="15" y="11"/>
                    <a:pt x="18" y="14"/>
                    <a:pt x="21" y="17"/>
                  </a:cubicBezTo>
                  <a:cubicBezTo>
                    <a:pt x="24" y="21"/>
                    <a:pt x="19" y="21"/>
                    <a:pt x="24" y="21"/>
                  </a:cubicBezTo>
                  <a:cubicBezTo>
                    <a:pt x="30" y="21"/>
                    <a:pt x="27" y="22"/>
                    <a:pt x="30" y="22"/>
                  </a:cubicBezTo>
                  <a:cubicBezTo>
                    <a:pt x="35" y="21"/>
                    <a:pt x="33" y="19"/>
                    <a:pt x="35" y="19"/>
                  </a:cubicBezTo>
                  <a:cubicBezTo>
                    <a:pt x="36" y="21"/>
                    <a:pt x="39" y="21"/>
                    <a:pt x="42" y="24"/>
                  </a:cubicBezTo>
                  <a:cubicBezTo>
                    <a:pt x="42" y="22"/>
                    <a:pt x="44" y="24"/>
                    <a:pt x="44" y="21"/>
                  </a:cubicBezTo>
                  <a:cubicBezTo>
                    <a:pt x="45" y="17"/>
                    <a:pt x="51" y="19"/>
                    <a:pt x="48" y="16"/>
                  </a:cubicBezTo>
                  <a:cubicBezTo>
                    <a:pt x="47" y="13"/>
                    <a:pt x="50" y="13"/>
                    <a:pt x="50" y="10"/>
                  </a:cubicBezTo>
                  <a:cubicBezTo>
                    <a:pt x="50" y="8"/>
                    <a:pt x="51" y="5"/>
                    <a:pt x="54" y="3"/>
                  </a:cubicBezTo>
                  <a:cubicBezTo>
                    <a:pt x="58" y="2"/>
                    <a:pt x="56" y="5"/>
                    <a:pt x="62" y="2"/>
                  </a:cubicBezTo>
                  <a:cubicBezTo>
                    <a:pt x="65" y="0"/>
                    <a:pt x="65" y="0"/>
                    <a:pt x="67" y="3"/>
                  </a:cubicBezTo>
                  <a:cubicBezTo>
                    <a:pt x="68" y="5"/>
                    <a:pt x="76" y="6"/>
                    <a:pt x="77" y="10"/>
                  </a:cubicBezTo>
                  <a:cubicBezTo>
                    <a:pt x="77" y="11"/>
                    <a:pt x="70" y="14"/>
                    <a:pt x="74" y="16"/>
                  </a:cubicBezTo>
                  <a:cubicBezTo>
                    <a:pt x="67" y="21"/>
                    <a:pt x="73" y="17"/>
                    <a:pt x="73" y="19"/>
                  </a:cubicBezTo>
                  <a:cubicBezTo>
                    <a:pt x="74" y="22"/>
                    <a:pt x="70" y="21"/>
                    <a:pt x="71" y="25"/>
                  </a:cubicBezTo>
                  <a:cubicBezTo>
                    <a:pt x="73" y="33"/>
                    <a:pt x="76" y="27"/>
                    <a:pt x="79" y="31"/>
                  </a:cubicBezTo>
                  <a:cubicBezTo>
                    <a:pt x="82" y="36"/>
                    <a:pt x="85" y="35"/>
                    <a:pt x="82" y="38"/>
                  </a:cubicBezTo>
                  <a:cubicBezTo>
                    <a:pt x="79" y="41"/>
                    <a:pt x="73" y="46"/>
                    <a:pt x="76" y="49"/>
                  </a:cubicBezTo>
                  <a:cubicBezTo>
                    <a:pt x="79" y="50"/>
                    <a:pt x="85" y="64"/>
                    <a:pt x="83" y="64"/>
                  </a:cubicBezTo>
                  <a:cubicBezTo>
                    <a:pt x="80" y="64"/>
                    <a:pt x="80" y="64"/>
                    <a:pt x="80" y="66"/>
                  </a:cubicBezTo>
                  <a:cubicBezTo>
                    <a:pt x="82" y="66"/>
                    <a:pt x="80" y="66"/>
                    <a:pt x="80" y="67"/>
                  </a:cubicBezTo>
                  <a:cubicBezTo>
                    <a:pt x="80" y="70"/>
                    <a:pt x="79" y="69"/>
                    <a:pt x="80" y="70"/>
                  </a:cubicBezTo>
                  <a:cubicBezTo>
                    <a:pt x="83" y="72"/>
                    <a:pt x="79" y="72"/>
                    <a:pt x="79" y="74"/>
                  </a:cubicBezTo>
                  <a:cubicBezTo>
                    <a:pt x="80" y="77"/>
                    <a:pt x="86" y="77"/>
                    <a:pt x="83" y="78"/>
                  </a:cubicBezTo>
                  <a:cubicBezTo>
                    <a:pt x="82" y="80"/>
                    <a:pt x="83" y="80"/>
                    <a:pt x="83" y="81"/>
                  </a:cubicBezTo>
                  <a:cubicBezTo>
                    <a:pt x="82" y="83"/>
                    <a:pt x="88" y="83"/>
                    <a:pt x="88" y="86"/>
                  </a:cubicBezTo>
                  <a:cubicBezTo>
                    <a:pt x="86" y="89"/>
                    <a:pt x="80" y="89"/>
                    <a:pt x="83" y="92"/>
                  </a:cubicBezTo>
                  <a:cubicBezTo>
                    <a:pt x="86" y="94"/>
                    <a:pt x="91" y="95"/>
                    <a:pt x="93" y="99"/>
                  </a:cubicBezTo>
                  <a:cubicBezTo>
                    <a:pt x="94" y="102"/>
                    <a:pt x="96" y="100"/>
                    <a:pt x="94" y="103"/>
                  </a:cubicBezTo>
                  <a:cubicBezTo>
                    <a:pt x="93" y="106"/>
                    <a:pt x="88" y="113"/>
                    <a:pt x="79" y="120"/>
                  </a:cubicBezTo>
                  <a:cubicBezTo>
                    <a:pt x="71" y="128"/>
                    <a:pt x="68" y="130"/>
                    <a:pt x="65" y="133"/>
                  </a:cubicBezTo>
                  <a:cubicBezTo>
                    <a:pt x="61" y="136"/>
                    <a:pt x="61" y="133"/>
                    <a:pt x="56" y="134"/>
                  </a:cubicBezTo>
                  <a:cubicBezTo>
                    <a:pt x="51" y="138"/>
                    <a:pt x="53" y="133"/>
                    <a:pt x="51" y="136"/>
                  </a:cubicBezTo>
                  <a:cubicBezTo>
                    <a:pt x="48" y="139"/>
                    <a:pt x="50" y="134"/>
                    <a:pt x="44" y="138"/>
                  </a:cubicBezTo>
                  <a:cubicBezTo>
                    <a:pt x="35" y="142"/>
                    <a:pt x="33" y="141"/>
                    <a:pt x="30" y="142"/>
                  </a:cubicBezTo>
                  <a:cubicBezTo>
                    <a:pt x="25" y="144"/>
                    <a:pt x="25" y="144"/>
                    <a:pt x="27" y="141"/>
                  </a:cubicBezTo>
                  <a:cubicBezTo>
                    <a:pt x="29" y="139"/>
                    <a:pt x="27" y="138"/>
                    <a:pt x="25" y="141"/>
                  </a:cubicBezTo>
                  <a:cubicBezTo>
                    <a:pt x="22" y="142"/>
                    <a:pt x="22" y="139"/>
                    <a:pt x="22" y="138"/>
                  </a:cubicBezTo>
                  <a:cubicBezTo>
                    <a:pt x="24" y="134"/>
                    <a:pt x="21" y="134"/>
                    <a:pt x="16" y="134"/>
                  </a:cubicBezTo>
                  <a:cubicBezTo>
                    <a:pt x="12" y="133"/>
                    <a:pt x="13" y="133"/>
                    <a:pt x="13" y="128"/>
                  </a:cubicBezTo>
                  <a:cubicBezTo>
                    <a:pt x="15" y="125"/>
                    <a:pt x="15" y="124"/>
                    <a:pt x="15" y="122"/>
                  </a:cubicBezTo>
                  <a:cubicBezTo>
                    <a:pt x="13" y="119"/>
                    <a:pt x="18" y="120"/>
                    <a:pt x="15" y="117"/>
                  </a:cubicBezTo>
                  <a:cubicBezTo>
                    <a:pt x="10" y="111"/>
                    <a:pt x="16" y="114"/>
                    <a:pt x="13" y="110"/>
                  </a:cubicBezTo>
                  <a:cubicBezTo>
                    <a:pt x="10" y="103"/>
                    <a:pt x="15" y="102"/>
                    <a:pt x="15" y="99"/>
                  </a:cubicBezTo>
                  <a:cubicBezTo>
                    <a:pt x="15" y="97"/>
                    <a:pt x="18" y="100"/>
                    <a:pt x="19" y="99"/>
                  </a:cubicBezTo>
                  <a:cubicBezTo>
                    <a:pt x="22" y="97"/>
                    <a:pt x="19" y="94"/>
                    <a:pt x="21" y="94"/>
                  </a:cubicBezTo>
                  <a:cubicBezTo>
                    <a:pt x="22" y="94"/>
                    <a:pt x="22" y="91"/>
                    <a:pt x="25" y="92"/>
                  </a:cubicBezTo>
                  <a:cubicBezTo>
                    <a:pt x="27" y="92"/>
                    <a:pt x="25" y="89"/>
                    <a:pt x="29" y="88"/>
                  </a:cubicBezTo>
                  <a:cubicBezTo>
                    <a:pt x="32" y="88"/>
                    <a:pt x="27" y="88"/>
                    <a:pt x="33" y="85"/>
                  </a:cubicBezTo>
                  <a:cubicBezTo>
                    <a:pt x="39" y="80"/>
                    <a:pt x="38" y="77"/>
                    <a:pt x="41" y="75"/>
                  </a:cubicBezTo>
                  <a:cubicBezTo>
                    <a:pt x="45" y="74"/>
                    <a:pt x="45" y="75"/>
                    <a:pt x="45" y="74"/>
                  </a:cubicBezTo>
                  <a:cubicBezTo>
                    <a:pt x="47" y="72"/>
                    <a:pt x="44" y="74"/>
                    <a:pt x="45" y="70"/>
                  </a:cubicBezTo>
                  <a:cubicBezTo>
                    <a:pt x="45" y="67"/>
                    <a:pt x="47" y="66"/>
                    <a:pt x="42" y="64"/>
                  </a:cubicBezTo>
                  <a:cubicBezTo>
                    <a:pt x="38" y="64"/>
                    <a:pt x="41" y="63"/>
                    <a:pt x="36" y="63"/>
                  </a:cubicBezTo>
                  <a:cubicBezTo>
                    <a:pt x="36" y="58"/>
                    <a:pt x="30" y="56"/>
                    <a:pt x="33" y="53"/>
                  </a:cubicBezTo>
                  <a:cubicBezTo>
                    <a:pt x="35" y="50"/>
                    <a:pt x="33" y="50"/>
                    <a:pt x="35" y="49"/>
                  </a:cubicBezTo>
                  <a:cubicBezTo>
                    <a:pt x="36" y="47"/>
                    <a:pt x="32" y="46"/>
                    <a:pt x="32" y="44"/>
                  </a:cubicBezTo>
                  <a:cubicBezTo>
                    <a:pt x="32" y="41"/>
                    <a:pt x="33" y="41"/>
                    <a:pt x="33" y="39"/>
                  </a:cubicBezTo>
                  <a:cubicBezTo>
                    <a:pt x="33" y="38"/>
                    <a:pt x="30" y="41"/>
                    <a:pt x="30" y="39"/>
                  </a:cubicBezTo>
                  <a:cubicBezTo>
                    <a:pt x="30" y="38"/>
                    <a:pt x="32" y="39"/>
                    <a:pt x="30" y="35"/>
                  </a:cubicBezTo>
                  <a:cubicBezTo>
                    <a:pt x="30" y="31"/>
                    <a:pt x="35" y="35"/>
                    <a:pt x="30" y="30"/>
                  </a:cubicBezTo>
                  <a:cubicBezTo>
                    <a:pt x="27" y="28"/>
                    <a:pt x="29" y="30"/>
                    <a:pt x="29" y="28"/>
                  </a:cubicBezTo>
                  <a:cubicBezTo>
                    <a:pt x="29" y="27"/>
                    <a:pt x="25" y="25"/>
                    <a:pt x="22" y="25"/>
                  </a:cubicBezTo>
                  <a:cubicBezTo>
                    <a:pt x="19" y="25"/>
                    <a:pt x="15" y="22"/>
                    <a:pt x="12" y="19"/>
                  </a:cubicBezTo>
                  <a:cubicBezTo>
                    <a:pt x="7" y="17"/>
                    <a:pt x="12" y="17"/>
                    <a:pt x="9" y="16"/>
                  </a:cubicBezTo>
                  <a:cubicBezTo>
                    <a:pt x="9" y="14"/>
                    <a:pt x="12" y="17"/>
                    <a:pt x="12" y="16"/>
                  </a:cubicBezTo>
                  <a:close/>
                  <a:moveTo>
                    <a:pt x="19" y="136"/>
                  </a:moveTo>
                  <a:cubicBezTo>
                    <a:pt x="19" y="136"/>
                    <a:pt x="21" y="136"/>
                    <a:pt x="21" y="138"/>
                  </a:cubicBezTo>
                  <a:cubicBezTo>
                    <a:pt x="21" y="138"/>
                    <a:pt x="19" y="138"/>
                    <a:pt x="19" y="136"/>
                  </a:cubicBezTo>
                  <a:close/>
                  <a:moveTo>
                    <a:pt x="18" y="136"/>
                  </a:moveTo>
                  <a:cubicBezTo>
                    <a:pt x="18" y="136"/>
                    <a:pt x="16" y="134"/>
                    <a:pt x="18" y="134"/>
                  </a:cubicBezTo>
                  <a:cubicBezTo>
                    <a:pt x="18" y="134"/>
                    <a:pt x="19" y="136"/>
                    <a:pt x="18" y="136"/>
                  </a:cubicBezTo>
                  <a:close/>
                  <a:moveTo>
                    <a:pt x="15" y="139"/>
                  </a:moveTo>
                  <a:cubicBezTo>
                    <a:pt x="15" y="138"/>
                    <a:pt x="16" y="138"/>
                    <a:pt x="16" y="139"/>
                  </a:cubicBezTo>
                  <a:cubicBezTo>
                    <a:pt x="15" y="139"/>
                    <a:pt x="15" y="139"/>
                    <a:pt x="15" y="139"/>
                  </a:cubicBezTo>
                  <a:close/>
                  <a:moveTo>
                    <a:pt x="18" y="139"/>
                  </a:moveTo>
                  <a:cubicBezTo>
                    <a:pt x="18" y="138"/>
                    <a:pt x="19" y="138"/>
                    <a:pt x="19" y="138"/>
                  </a:cubicBezTo>
                  <a:cubicBezTo>
                    <a:pt x="19" y="139"/>
                    <a:pt x="19" y="139"/>
                    <a:pt x="18" y="139"/>
                  </a:cubicBezTo>
                  <a:close/>
                  <a:moveTo>
                    <a:pt x="16" y="139"/>
                  </a:moveTo>
                  <a:cubicBezTo>
                    <a:pt x="16" y="138"/>
                    <a:pt x="18" y="138"/>
                    <a:pt x="18" y="138"/>
                  </a:cubicBezTo>
                  <a:cubicBezTo>
                    <a:pt x="18" y="139"/>
                    <a:pt x="16" y="139"/>
                    <a:pt x="16" y="139"/>
                  </a:cubicBezTo>
                  <a:close/>
                  <a:moveTo>
                    <a:pt x="4" y="141"/>
                  </a:moveTo>
                  <a:cubicBezTo>
                    <a:pt x="4" y="141"/>
                    <a:pt x="3" y="139"/>
                    <a:pt x="4" y="139"/>
                  </a:cubicBezTo>
                  <a:cubicBezTo>
                    <a:pt x="4" y="139"/>
                    <a:pt x="6" y="141"/>
                    <a:pt x="4" y="141"/>
                  </a:cubicBezTo>
                  <a:close/>
                  <a:moveTo>
                    <a:pt x="3" y="139"/>
                  </a:moveTo>
                  <a:cubicBezTo>
                    <a:pt x="4" y="139"/>
                    <a:pt x="3" y="138"/>
                    <a:pt x="4" y="138"/>
                  </a:cubicBezTo>
                  <a:cubicBezTo>
                    <a:pt x="4" y="138"/>
                    <a:pt x="4" y="139"/>
                    <a:pt x="6" y="138"/>
                  </a:cubicBezTo>
                  <a:cubicBezTo>
                    <a:pt x="6" y="136"/>
                    <a:pt x="6" y="136"/>
                    <a:pt x="3" y="136"/>
                  </a:cubicBezTo>
                  <a:cubicBezTo>
                    <a:pt x="0" y="134"/>
                    <a:pt x="3" y="136"/>
                    <a:pt x="3" y="138"/>
                  </a:cubicBezTo>
                  <a:cubicBezTo>
                    <a:pt x="1" y="139"/>
                    <a:pt x="1" y="136"/>
                    <a:pt x="1" y="136"/>
                  </a:cubicBezTo>
                  <a:cubicBezTo>
                    <a:pt x="1" y="138"/>
                    <a:pt x="0" y="138"/>
                    <a:pt x="0" y="138"/>
                  </a:cubicBezTo>
                  <a:cubicBezTo>
                    <a:pt x="0" y="139"/>
                    <a:pt x="0" y="138"/>
                    <a:pt x="0" y="138"/>
                  </a:cubicBezTo>
                  <a:cubicBezTo>
                    <a:pt x="1" y="139"/>
                    <a:pt x="1" y="139"/>
                    <a:pt x="1" y="139"/>
                  </a:cubicBezTo>
                  <a:cubicBezTo>
                    <a:pt x="3" y="139"/>
                    <a:pt x="3" y="141"/>
                    <a:pt x="3" y="139"/>
                  </a:cubicBezTo>
                  <a:close/>
                  <a:moveTo>
                    <a:pt x="44" y="74"/>
                  </a:moveTo>
                  <a:cubicBezTo>
                    <a:pt x="45" y="72"/>
                    <a:pt x="44" y="72"/>
                    <a:pt x="41" y="72"/>
                  </a:cubicBezTo>
                  <a:cubicBezTo>
                    <a:pt x="39" y="72"/>
                    <a:pt x="39" y="74"/>
                    <a:pt x="41" y="74"/>
                  </a:cubicBezTo>
                  <a:cubicBezTo>
                    <a:pt x="42" y="74"/>
                    <a:pt x="42" y="74"/>
                    <a:pt x="44" y="74"/>
                  </a:cubicBezTo>
                  <a:close/>
                  <a:moveTo>
                    <a:pt x="15" y="97"/>
                  </a:moveTo>
                  <a:cubicBezTo>
                    <a:pt x="13" y="97"/>
                    <a:pt x="13" y="97"/>
                    <a:pt x="13" y="97"/>
                  </a:cubicBezTo>
                  <a:cubicBezTo>
                    <a:pt x="13" y="97"/>
                    <a:pt x="12" y="97"/>
                    <a:pt x="13" y="99"/>
                  </a:cubicBezTo>
                  <a:cubicBezTo>
                    <a:pt x="13" y="99"/>
                    <a:pt x="15" y="99"/>
                    <a:pt x="15" y="9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4" name="Freeform 200"/>
            <p:cNvSpPr>
              <a:spLocks noEditPoints="1"/>
            </p:cNvSpPr>
            <p:nvPr/>
          </p:nvSpPr>
          <p:spPr bwMode="auto">
            <a:xfrm>
              <a:off x="5632454" y="1918930"/>
              <a:ext cx="540987" cy="932429"/>
            </a:xfrm>
            <a:custGeom>
              <a:avLst/>
              <a:gdLst/>
              <a:ahLst/>
              <a:cxnLst>
                <a:cxn ang="0">
                  <a:pos x="58" y="30"/>
                </a:cxn>
                <a:cxn ang="0">
                  <a:pos x="93" y="31"/>
                </a:cxn>
                <a:cxn ang="0">
                  <a:pos x="111" y="45"/>
                </a:cxn>
                <a:cxn ang="0">
                  <a:pos x="56" y="40"/>
                </a:cxn>
                <a:cxn ang="0">
                  <a:pos x="149" y="42"/>
                </a:cxn>
                <a:cxn ang="0">
                  <a:pos x="172" y="9"/>
                </a:cxn>
                <a:cxn ang="0">
                  <a:pos x="108" y="13"/>
                </a:cxn>
                <a:cxn ang="0">
                  <a:pos x="201" y="172"/>
                </a:cxn>
                <a:cxn ang="0">
                  <a:pos x="198" y="159"/>
                </a:cxn>
                <a:cxn ang="0">
                  <a:pos x="184" y="152"/>
                </a:cxn>
                <a:cxn ang="0">
                  <a:pos x="167" y="162"/>
                </a:cxn>
                <a:cxn ang="0">
                  <a:pos x="160" y="154"/>
                </a:cxn>
                <a:cxn ang="0">
                  <a:pos x="146" y="166"/>
                </a:cxn>
                <a:cxn ang="0">
                  <a:pos x="135" y="169"/>
                </a:cxn>
                <a:cxn ang="0">
                  <a:pos x="120" y="172"/>
                </a:cxn>
                <a:cxn ang="0">
                  <a:pos x="106" y="180"/>
                </a:cxn>
                <a:cxn ang="0">
                  <a:pos x="91" y="194"/>
                </a:cxn>
                <a:cxn ang="0">
                  <a:pos x="80" y="200"/>
                </a:cxn>
                <a:cxn ang="0">
                  <a:pos x="87" y="210"/>
                </a:cxn>
                <a:cxn ang="0">
                  <a:pos x="67" y="219"/>
                </a:cxn>
                <a:cxn ang="0">
                  <a:pos x="64" y="233"/>
                </a:cxn>
                <a:cxn ang="0">
                  <a:pos x="56" y="245"/>
                </a:cxn>
                <a:cxn ang="0">
                  <a:pos x="50" y="256"/>
                </a:cxn>
                <a:cxn ang="0">
                  <a:pos x="38" y="258"/>
                </a:cxn>
                <a:cxn ang="0">
                  <a:pos x="15" y="272"/>
                </a:cxn>
                <a:cxn ang="0">
                  <a:pos x="4" y="283"/>
                </a:cxn>
                <a:cxn ang="0">
                  <a:pos x="6" y="292"/>
                </a:cxn>
                <a:cxn ang="0">
                  <a:pos x="12" y="303"/>
                </a:cxn>
                <a:cxn ang="0">
                  <a:pos x="7" y="320"/>
                </a:cxn>
                <a:cxn ang="0">
                  <a:pos x="36" y="323"/>
                </a:cxn>
                <a:cxn ang="0">
                  <a:pos x="50" y="317"/>
                </a:cxn>
                <a:cxn ang="0">
                  <a:pos x="62" y="286"/>
                </a:cxn>
                <a:cxn ang="0">
                  <a:pos x="79" y="233"/>
                </a:cxn>
                <a:cxn ang="0">
                  <a:pos x="106" y="190"/>
                </a:cxn>
                <a:cxn ang="0">
                  <a:pos x="154" y="185"/>
                </a:cxn>
                <a:cxn ang="0">
                  <a:pos x="193" y="182"/>
                </a:cxn>
                <a:cxn ang="0">
                  <a:pos x="149" y="163"/>
                </a:cxn>
                <a:cxn ang="0">
                  <a:pos x="143" y="159"/>
                </a:cxn>
                <a:cxn ang="0">
                  <a:pos x="120" y="165"/>
                </a:cxn>
                <a:cxn ang="0">
                  <a:pos x="129" y="168"/>
                </a:cxn>
                <a:cxn ang="0">
                  <a:pos x="116" y="168"/>
                </a:cxn>
                <a:cxn ang="0">
                  <a:pos x="112" y="168"/>
                </a:cxn>
                <a:cxn ang="0">
                  <a:pos x="112" y="174"/>
                </a:cxn>
                <a:cxn ang="0">
                  <a:pos x="99" y="177"/>
                </a:cxn>
                <a:cxn ang="0">
                  <a:pos x="102" y="183"/>
                </a:cxn>
                <a:cxn ang="0">
                  <a:pos x="82" y="191"/>
                </a:cxn>
                <a:cxn ang="0">
                  <a:pos x="82" y="185"/>
                </a:cxn>
                <a:cxn ang="0">
                  <a:pos x="88" y="183"/>
                </a:cxn>
                <a:cxn ang="0">
                  <a:pos x="90" y="188"/>
                </a:cxn>
                <a:cxn ang="0">
                  <a:pos x="93" y="190"/>
                </a:cxn>
                <a:cxn ang="0">
                  <a:pos x="74" y="193"/>
                </a:cxn>
                <a:cxn ang="0">
                  <a:pos x="70" y="196"/>
                </a:cxn>
                <a:cxn ang="0">
                  <a:pos x="87" y="197"/>
                </a:cxn>
                <a:cxn ang="0">
                  <a:pos x="62" y="227"/>
                </a:cxn>
                <a:cxn ang="0">
                  <a:pos x="59" y="230"/>
                </a:cxn>
                <a:cxn ang="0">
                  <a:pos x="53" y="245"/>
                </a:cxn>
                <a:cxn ang="0">
                  <a:pos x="50" y="244"/>
                </a:cxn>
                <a:cxn ang="0">
                  <a:pos x="29" y="258"/>
                </a:cxn>
                <a:cxn ang="0">
                  <a:pos x="29" y="264"/>
                </a:cxn>
                <a:cxn ang="0">
                  <a:pos x="10" y="273"/>
                </a:cxn>
                <a:cxn ang="0">
                  <a:pos x="1" y="292"/>
                </a:cxn>
                <a:cxn ang="0">
                  <a:pos x="4" y="317"/>
                </a:cxn>
                <a:cxn ang="0">
                  <a:pos x="3" y="300"/>
                </a:cxn>
              </a:cxnLst>
              <a:rect l="0" t="0" r="r" b="b"/>
              <a:pathLst>
                <a:path w="212" h="332">
                  <a:moveTo>
                    <a:pt x="94" y="68"/>
                  </a:moveTo>
                  <a:cubicBezTo>
                    <a:pt x="84" y="65"/>
                    <a:pt x="88" y="62"/>
                    <a:pt x="80" y="59"/>
                  </a:cubicBezTo>
                  <a:cubicBezTo>
                    <a:pt x="71" y="56"/>
                    <a:pt x="73" y="54"/>
                    <a:pt x="80" y="53"/>
                  </a:cubicBezTo>
                  <a:cubicBezTo>
                    <a:pt x="90" y="51"/>
                    <a:pt x="99" y="47"/>
                    <a:pt x="84" y="48"/>
                  </a:cubicBezTo>
                  <a:cubicBezTo>
                    <a:pt x="68" y="50"/>
                    <a:pt x="67" y="48"/>
                    <a:pt x="80" y="44"/>
                  </a:cubicBezTo>
                  <a:cubicBezTo>
                    <a:pt x="93" y="40"/>
                    <a:pt x="102" y="37"/>
                    <a:pt x="91" y="37"/>
                  </a:cubicBezTo>
                  <a:cubicBezTo>
                    <a:pt x="80" y="37"/>
                    <a:pt x="90" y="33"/>
                    <a:pt x="80" y="37"/>
                  </a:cubicBezTo>
                  <a:cubicBezTo>
                    <a:pt x="73" y="42"/>
                    <a:pt x="70" y="47"/>
                    <a:pt x="62" y="39"/>
                  </a:cubicBezTo>
                  <a:cubicBezTo>
                    <a:pt x="55" y="30"/>
                    <a:pt x="52" y="31"/>
                    <a:pt x="58" y="30"/>
                  </a:cubicBezTo>
                  <a:cubicBezTo>
                    <a:pt x="62" y="30"/>
                    <a:pt x="56" y="30"/>
                    <a:pt x="58" y="27"/>
                  </a:cubicBezTo>
                  <a:cubicBezTo>
                    <a:pt x="59" y="22"/>
                    <a:pt x="55" y="31"/>
                    <a:pt x="52" y="27"/>
                  </a:cubicBezTo>
                  <a:cubicBezTo>
                    <a:pt x="49" y="22"/>
                    <a:pt x="45" y="22"/>
                    <a:pt x="52" y="17"/>
                  </a:cubicBezTo>
                  <a:cubicBezTo>
                    <a:pt x="59" y="13"/>
                    <a:pt x="56" y="19"/>
                    <a:pt x="61" y="17"/>
                  </a:cubicBezTo>
                  <a:cubicBezTo>
                    <a:pt x="64" y="14"/>
                    <a:pt x="62" y="19"/>
                    <a:pt x="68" y="16"/>
                  </a:cubicBezTo>
                  <a:cubicBezTo>
                    <a:pt x="76" y="14"/>
                    <a:pt x="76" y="17"/>
                    <a:pt x="70" y="19"/>
                  </a:cubicBezTo>
                  <a:cubicBezTo>
                    <a:pt x="64" y="20"/>
                    <a:pt x="71" y="19"/>
                    <a:pt x="73" y="25"/>
                  </a:cubicBezTo>
                  <a:cubicBezTo>
                    <a:pt x="76" y="30"/>
                    <a:pt x="73" y="19"/>
                    <a:pt x="77" y="17"/>
                  </a:cubicBezTo>
                  <a:cubicBezTo>
                    <a:pt x="84" y="16"/>
                    <a:pt x="90" y="31"/>
                    <a:pt x="93" y="31"/>
                  </a:cubicBezTo>
                  <a:cubicBezTo>
                    <a:pt x="97" y="31"/>
                    <a:pt x="84" y="17"/>
                    <a:pt x="90" y="14"/>
                  </a:cubicBezTo>
                  <a:cubicBezTo>
                    <a:pt x="94" y="9"/>
                    <a:pt x="93" y="14"/>
                    <a:pt x="99" y="14"/>
                  </a:cubicBezTo>
                  <a:cubicBezTo>
                    <a:pt x="103" y="14"/>
                    <a:pt x="103" y="16"/>
                    <a:pt x="106" y="17"/>
                  </a:cubicBezTo>
                  <a:cubicBezTo>
                    <a:pt x="108" y="17"/>
                    <a:pt x="103" y="19"/>
                    <a:pt x="105" y="23"/>
                  </a:cubicBezTo>
                  <a:cubicBezTo>
                    <a:pt x="106" y="27"/>
                    <a:pt x="105" y="17"/>
                    <a:pt x="111" y="20"/>
                  </a:cubicBezTo>
                  <a:cubicBezTo>
                    <a:pt x="116" y="23"/>
                    <a:pt x="109" y="28"/>
                    <a:pt x="117" y="27"/>
                  </a:cubicBezTo>
                  <a:cubicBezTo>
                    <a:pt x="123" y="27"/>
                    <a:pt x="119" y="28"/>
                    <a:pt x="128" y="31"/>
                  </a:cubicBezTo>
                  <a:cubicBezTo>
                    <a:pt x="137" y="33"/>
                    <a:pt x="137" y="34"/>
                    <a:pt x="123" y="36"/>
                  </a:cubicBezTo>
                  <a:cubicBezTo>
                    <a:pt x="109" y="36"/>
                    <a:pt x="120" y="44"/>
                    <a:pt x="111" y="45"/>
                  </a:cubicBezTo>
                  <a:cubicBezTo>
                    <a:pt x="103" y="48"/>
                    <a:pt x="116" y="51"/>
                    <a:pt x="106" y="54"/>
                  </a:cubicBezTo>
                  <a:cubicBezTo>
                    <a:pt x="96" y="58"/>
                    <a:pt x="105" y="72"/>
                    <a:pt x="94" y="68"/>
                  </a:cubicBezTo>
                  <a:close/>
                  <a:moveTo>
                    <a:pt x="131" y="42"/>
                  </a:moveTo>
                  <a:cubicBezTo>
                    <a:pt x="135" y="40"/>
                    <a:pt x="140" y="42"/>
                    <a:pt x="140" y="39"/>
                  </a:cubicBezTo>
                  <a:cubicBezTo>
                    <a:pt x="138" y="36"/>
                    <a:pt x="134" y="36"/>
                    <a:pt x="129" y="37"/>
                  </a:cubicBezTo>
                  <a:cubicBezTo>
                    <a:pt x="125" y="39"/>
                    <a:pt x="122" y="37"/>
                    <a:pt x="126" y="40"/>
                  </a:cubicBezTo>
                  <a:cubicBezTo>
                    <a:pt x="129" y="42"/>
                    <a:pt x="126" y="44"/>
                    <a:pt x="131" y="42"/>
                  </a:cubicBezTo>
                  <a:close/>
                  <a:moveTo>
                    <a:pt x="50" y="37"/>
                  </a:moveTo>
                  <a:cubicBezTo>
                    <a:pt x="52" y="42"/>
                    <a:pt x="50" y="36"/>
                    <a:pt x="56" y="40"/>
                  </a:cubicBezTo>
                  <a:cubicBezTo>
                    <a:pt x="64" y="45"/>
                    <a:pt x="58" y="37"/>
                    <a:pt x="55" y="37"/>
                  </a:cubicBezTo>
                  <a:cubicBezTo>
                    <a:pt x="52" y="37"/>
                    <a:pt x="52" y="30"/>
                    <a:pt x="47" y="31"/>
                  </a:cubicBezTo>
                  <a:cubicBezTo>
                    <a:pt x="45" y="31"/>
                    <a:pt x="47" y="33"/>
                    <a:pt x="50" y="37"/>
                  </a:cubicBezTo>
                  <a:close/>
                  <a:moveTo>
                    <a:pt x="131" y="51"/>
                  </a:moveTo>
                  <a:cubicBezTo>
                    <a:pt x="126" y="56"/>
                    <a:pt x="131" y="54"/>
                    <a:pt x="138" y="54"/>
                  </a:cubicBezTo>
                  <a:cubicBezTo>
                    <a:pt x="146" y="53"/>
                    <a:pt x="135" y="61"/>
                    <a:pt x="146" y="56"/>
                  </a:cubicBezTo>
                  <a:cubicBezTo>
                    <a:pt x="152" y="54"/>
                    <a:pt x="163" y="50"/>
                    <a:pt x="158" y="48"/>
                  </a:cubicBezTo>
                  <a:cubicBezTo>
                    <a:pt x="155" y="47"/>
                    <a:pt x="155" y="50"/>
                    <a:pt x="149" y="47"/>
                  </a:cubicBezTo>
                  <a:cubicBezTo>
                    <a:pt x="143" y="44"/>
                    <a:pt x="154" y="44"/>
                    <a:pt x="149" y="42"/>
                  </a:cubicBezTo>
                  <a:cubicBezTo>
                    <a:pt x="144" y="40"/>
                    <a:pt x="122" y="42"/>
                    <a:pt x="134" y="47"/>
                  </a:cubicBezTo>
                  <a:cubicBezTo>
                    <a:pt x="135" y="48"/>
                    <a:pt x="135" y="48"/>
                    <a:pt x="131" y="51"/>
                  </a:cubicBezTo>
                  <a:close/>
                  <a:moveTo>
                    <a:pt x="131" y="16"/>
                  </a:moveTo>
                  <a:cubicBezTo>
                    <a:pt x="140" y="16"/>
                    <a:pt x="135" y="17"/>
                    <a:pt x="123" y="19"/>
                  </a:cubicBezTo>
                  <a:cubicBezTo>
                    <a:pt x="111" y="22"/>
                    <a:pt x="129" y="23"/>
                    <a:pt x="138" y="23"/>
                  </a:cubicBezTo>
                  <a:cubicBezTo>
                    <a:pt x="146" y="23"/>
                    <a:pt x="151" y="31"/>
                    <a:pt x="157" y="25"/>
                  </a:cubicBezTo>
                  <a:cubicBezTo>
                    <a:pt x="163" y="20"/>
                    <a:pt x="161" y="25"/>
                    <a:pt x="167" y="23"/>
                  </a:cubicBezTo>
                  <a:cubicBezTo>
                    <a:pt x="173" y="22"/>
                    <a:pt x="164" y="20"/>
                    <a:pt x="177" y="16"/>
                  </a:cubicBezTo>
                  <a:cubicBezTo>
                    <a:pt x="184" y="14"/>
                    <a:pt x="177" y="9"/>
                    <a:pt x="172" y="9"/>
                  </a:cubicBezTo>
                  <a:cubicBezTo>
                    <a:pt x="169" y="11"/>
                    <a:pt x="164" y="8"/>
                    <a:pt x="157" y="6"/>
                  </a:cubicBezTo>
                  <a:cubicBezTo>
                    <a:pt x="149" y="6"/>
                    <a:pt x="154" y="11"/>
                    <a:pt x="149" y="9"/>
                  </a:cubicBezTo>
                  <a:cubicBezTo>
                    <a:pt x="144" y="9"/>
                    <a:pt x="151" y="6"/>
                    <a:pt x="148" y="5"/>
                  </a:cubicBezTo>
                  <a:cubicBezTo>
                    <a:pt x="146" y="3"/>
                    <a:pt x="141" y="3"/>
                    <a:pt x="141" y="9"/>
                  </a:cubicBezTo>
                  <a:cubicBezTo>
                    <a:pt x="141" y="14"/>
                    <a:pt x="140" y="14"/>
                    <a:pt x="137" y="9"/>
                  </a:cubicBezTo>
                  <a:cubicBezTo>
                    <a:pt x="134" y="5"/>
                    <a:pt x="135" y="11"/>
                    <a:pt x="123" y="6"/>
                  </a:cubicBezTo>
                  <a:cubicBezTo>
                    <a:pt x="111" y="0"/>
                    <a:pt x="126" y="13"/>
                    <a:pt x="117" y="8"/>
                  </a:cubicBezTo>
                  <a:cubicBezTo>
                    <a:pt x="106" y="3"/>
                    <a:pt x="120" y="13"/>
                    <a:pt x="112" y="9"/>
                  </a:cubicBezTo>
                  <a:cubicBezTo>
                    <a:pt x="105" y="8"/>
                    <a:pt x="103" y="11"/>
                    <a:pt x="108" y="13"/>
                  </a:cubicBezTo>
                  <a:cubicBezTo>
                    <a:pt x="112" y="16"/>
                    <a:pt x="105" y="13"/>
                    <a:pt x="112" y="17"/>
                  </a:cubicBezTo>
                  <a:cubicBezTo>
                    <a:pt x="117" y="20"/>
                    <a:pt x="120" y="16"/>
                    <a:pt x="131" y="16"/>
                  </a:cubicBezTo>
                  <a:close/>
                  <a:moveTo>
                    <a:pt x="196" y="179"/>
                  </a:moveTo>
                  <a:cubicBezTo>
                    <a:pt x="196" y="177"/>
                    <a:pt x="201" y="177"/>
                    <a:pt x="202" y="176"/>
                  </a:cubicBezTo>
                  <a:cubicBezTo>
                    <a:pt x="204" y="174"/>
                    <a:pt x="202" y="174"/>
                    <a:pt x="205" y="174"/>
                  </a:cubicBezTo>
                  <a:cubicBezTo>
                    <a:pt x="207" y="176"/>
                    <a:pt x="210" y="176"/>
                    <a:pt x="209" y="172"/>
                  </a:cubicBezTo>
                  <a:cubicBezTo>
                    <a:pt x="209" y="172"/>
                    <a:pt x="209" y="172"/>
                    <a:pt x="209" y="171"/>
                  </a:cubicBezTo>
                  <a:cubicBezTo>
                    <a:pt x="205" y="171"/>
                    <a:pt x="205" y="172"/>
                    <a:pt x="204" y="171"/>
                  </a:cubicBezTo>
                  <a:cubicBezTo>
                    <a:pt x="202" y="169"/>
                    <a:pt x="202" y="172"/>
                    <a:pt x="201" y="172"/>
                  </a:cubicBezTo>
                  <a:cubicBezTo>
                    <a:pt x="199" y="172"/>
                    <a:pt x="198" y="172"/>
                    <a:pt x="199" y="172"/>
                  </a:cubicBezTo>
                  <a:cubicBezTo>
                    <a:pt x="199" y="171"/>
                    <a:pt x="201" y="169"/>
                    <a:pt x="196" y="168"/>
                  </a:cubicBezTo>
                  <a:cubicBezTo>
                    <a:pt x="193" y="168"/>
                    <a:pt x="193" y="166"/>
                    <a:pt x="192" y="166"/>
                  </a:cubicBezTo>
                  <a:cubicBezTo>
                    <a:pt x="189" y="166"/>
                    <a:pt x="190" y="165"/>
                    <a:pt x="198" y="168"/>
                  </a:cubicBezTo>
                  <a:cubicBezTo>
                    <a:pt x="204" y="169"/>
                    <a:pt x="204" y="165"/>
                    <a:pt x="207" y="165"/>
                  </a:cubicBezTo>
                  <a:cubicBezTo>
                    <a:pt x="210" y="165"/>
                    <a:pt x="212" y="162"/>
                    <a:pt x="209" y="162"/>
                  </a:cubicBezTo>
                  <a:cubicBezTo>
                    <a:pt x="205" y="162"/>
                    <a:pt x="207" y="160"/>
                    <a:pt x="205" y="160"/>
                  </a:cubicBezTo>
                  <a:cubicBezTo>
                    <a:pt x="202" y="160"/>
                    <a:pt x="204" y="157"/>
                    <a:pt x="201" y="159"/>
                  </a:cubicBezTo>
                  <a:cubicBezTo>
                    <a:pt x="199" y="160"/>
                    <a:pt x="201" y="157"/>
                    <a:pt x="198" y="159"/>
                  </a:cubicBezTo>
                  <a:cubicBezTo>
                    <a:pt x="195" y="159"/>
                    <a:pt x="198" y="157"/>
                    <a:pt x="195" y="155"/>
                  </a:cubicBezTo>
                  <a:cubicBezTo>
                    <a:pt x="190" y="155"/>
                    <a:pt x="189" y="159"/>
                    <a:pt x="189" y="162"/>
                  </a:cubicBezTo>
                  <a:cubicBezTo>
                    <a:pt x="190" y="163"/>
                    <a:pt x="189" y="160"/>
                    <a:pt x="187" y="162"/>
                  </a:cubicBezTo>
                  <a:cubicBezTo>
                    <a:pt x="186" y="162"/>
                    <a:pt x="184" y="162"/>
                    <a:pt x="186" y="160"/>
                  </a:cubicBezTo>
                  <a:cubicBezTo>
                    <a:pt x="189" y="159"/>
                    <a:pt x="189" y="157"/>
                    <a:pt x="187" y="159"/>
                  </a:cubicBezTo>
                  <a:cubicBezTo>
                    <a:pt x="186" y="159"/>
                    <a:pt x="186" y="159"/>
                    <a:pt x="186" y="157"/>
                  </a:cubicBezTo>
                  <a:cubicBezTo>
                    <a:pt x="187" y="157"/>
                    <a:pt x="190" y="155"/>
                    <a:pt x="190" y="154"/>
                  </a:cubicBezTo>
                  <a:cubicBezTo>
                    <a:pt x="190" y="152"/>
                    <a:pt x="187" y="155"/>
                    <a:pt x="187" y="154"/>
                  </a:cubicBezTo>
                  <a:cubicBezTo>
                    <a:pt x="187" y="152"/>
                    <a:pt x="186" y="154"/>
                    <a:pt x="184" y="152"/>
                  </a:cubicBezTo>
                  <a:cubicBezTo>
                    <a:pt x="181" y="151"/>
                    <a:pt x="183" y="154"/>
                    <a:pt x="181" y="154"/>
                  </a:cubicBezTo>
                  <a:cubicBezTo>
                    <a:pt x="180" y="152"/>
                    <a:pt x="178" y="155"/>
                    <a:pt x="180" y="155"/>
                  </a:cubicBezTo>
                  <a:cubicBezTo>
                    <a:pt x="183" y="155"/>
                    <a:pt x="180" y="157"/>
                    <a:pt x="180" y="157"/>
                  </a:cubicBezTo>
                  <a:cubicBezTo>
                    <a:pt x="181" y="157"/>
                    <a:pt x="178" y="157"/>
                    <a:pt x="178" y="159"/>
                  </a:cubicBezTo>
                  <a:cubicBezTo>
                    <a:pt x="178" y="160"/>
                    <a:pt x="177" y="159"/>
                    <a:pt x="178" y="160"/>
                  </a:cubicBezTo>
                  <a:cubicBezTo>
                    <a:pt x="178" y="162"/>
                    <a:pt x="178" y="162"/>
                    <a:pt x="175" y="163"/>
                  </a:cubicBezTo>
                  <a:cubicBezTo>
                    <a:pt x="172" y="165"/>
                    <a:pt x="175" y="160"/>
                    <a:pt x="175" y="159"/>
                  </a:cubicBezTo>
                  <a:cubicBezTo>
                    <a:pt x="175" y="159"/>
                    <a:pt x="177" y="155"/>
                    <a:pt x="175" y="155"/>
                  </a:cubicBezTo>
                  <a:cubicBezTo>
                    <a:pt x="173" y="154"/>
                    <a:pt x="169" y="159"/>
                    <a:pt x="167" y="162"/>
                  </a:cubicBezTo>
                  <a:cubicBezTo>
                    <a:pt x="164" y="165"/>
                    <a:pt x="167" y="163"/>
                    <a:pt x="164" y="166"/>
                  </a:cubicBezTo>
                  <a:cubicBezTo>
                    <a:pt x="163" y="168"/>
                    <a:pt x="163" y="166"/>
                    <a:pt x="163" y="166"/>
                  </a:cubicBezTo>
                  <a:cubicBezTo>
                    <a:pt x="161" y="168"/>
                    <a:pt x="160" y="166"/>
                    <a:pt x="161" y="165"/>
                  </a:cubicBezTo>
                  <a:cubicBezTo>
                    <a:pt x="164" y="163"/>
                    <a:pt x="163" y="163"/>
                    <a:pt x="163" y="163"/>
                  </a:cubicBezTo>
                  <a:cubicBezTo>
                    <a:pt x="166" y="160"/>
                    <a:pt x="161" y="162"/>
                    <a:pt x="166" y="159"/>
                  </a:cubicBezTo>
                  <a:cubicBezTo>
                    <a:pt x="169" y="155"/>
                    <a:pt x="170" y="155"/>
                    <a:pt x="167" y="155"/>
                  </a:cubicBezTo>
                  <a:cubicBezTo>
                    <a:pt x="164" y="155"/>
                    <a:pt x="164" y="152"/>
                    <a:pt x="164" y="155"/>
                  </a:cubicBezTo>
                  <a:cubicBezTo>
                    <a:pt x="164" y="159"/>
                    <a:pt x="164" y="155"/>
                    <a:pt x="163" y="155"/>
                  </a:cubicBezTo>
                  <a:cubicBezTo>
                    <a:pt x="161" y="154"/>
                    <a:pt x="161" y="155"/>
                    <a:pt x="160" y="154"/>
                  </a:cubicBezTo>
                  <a:cubicBezTo>
                    <a:pt x="160" y="154"/>
                    <a:pt x="158" y="154"/>
                    <a:pt x="158" y="155"/>
                  </a:cubicBezTo>
                  <a:cubicBezTo>
                    <a:pt x="160" y="155"/>
                    <a:pt x="160" y="157"/>
                    <a:pt x="158" y="157"/>
                  </a:cubicBezTo>
                  <a:cubicBezTo>
                    <a:pt x="155" y="155"/>
                    <a:pt x="155" y="157"/>
                    <a:pt x="158" y="157"/>
                  </a:cubicBezTo>
                  <a:cubicBezTo>
                    <a:pt x="161" y="159"/>
                    <a:pt x="161" y="160"/>
                    <a:pt x="158" y="159"/>
                  </a:cubicBezTo>
                  <a:cubicBezTo>
                    <a:pt x="155" y="157"/>
                    <a:pt x="158" y="159"/>
                    <a:pt x="154" y="162"/>
                  </a:cubicBezTo>
                  <a:cubicBezTo>
                    <a:pt x="148" y="163"/>
                    <a:pt x="152" y="163"/>
                    <a:pt x="149" y="165"/>
                  </a:cubicBezTo>
                  <a:cubicBezTo>
                    <a:pt x="146" y="166"/>
                    <a:pt x="151" y="166"/>
                    <a:pt x="148" y="166"/>
                  </a:cubicBezTo>
                  <a:cubicBezTo>
                    <a:pt x="146" y="168"/>
                    <a:pt x="151" y="168"/>
                    <a:pt x="149" y="169"/>
                  </a:cubicBezTo>
                  <a:cubicBezTo>
                    <a:pt x="149" y="169"/>
                    <a:pt x="144" y="169"/>
                    <a:pt x="146" y="166"/>
                  </a:cubicBezTo>
                  <a:cubicBezTo>
                    <a:pt x="148" y="165"/>
                    <a:pt x="143" y="165"/>
                    <a:pt x="141" y="165"/>
                  </a:cubicBezTo>
                  <a:cubicBezTo>
                    <a:pt x="140" y="165"/>
                    <a:pt x="140" y="163"/>
                    <a:pt x="140" y="165"/>
                  </a:cubicBezTo>
                  <a:cubicBezTo>
                    <a:pt x="138" y="165"/>
                    <a:pt x="137" y="162"/>
                    <a:pt x="137" y="165"/>
                  </a:cubicBezTo>
                  <a:cubicBezTo>
                    <a:pt x="137" y="168"/>
                    <a:pt x="135" y="163"/>
                    <a:pt x="134" y="165"/>
                  </a:cubicBezTo>
                  <a:cubicBezTo>
                    <a:pt x="131" y="166"/>
                    <a:pt x="134" y="166"/>
                    <a:pt x="134" y="166"/>
                  </a:cubicBezTo>
                  <a:cubicBezTo>
                    <a:pt x="134" y="168"/>
                    <a:pt x="135" y="166"/>
                    <a:pt x="137" y="168"/>
                  </a:cubicBezTo>
                  <a:cubicBezTo>
                    <a:pt x="137" y="168"/>
                    <a:pt x="138" y="168"/>
                    <a:pt x="138" y="169"/>
                  </a:cubicBezTo>
                  <a:cubicBezTo>
                    <a:pt x="137" y="169"/>
                    <a:pt x="137" y="169"/>
                    <a:pt x="138" y="171"/>
                  </a:cubicBezTo>
                  <a:cubicBezTo>
                    <a:pt x="140" y="172"/>
                    <a:pt x="138" y="172"/>
                    <a:pt x="135" y="169"/>
                  </a:cubicBezTo>
                  <a:cubicBezTo>
                    <a:pt x="132" y="168"/>
                    <a:pt x="131" y="168"/>
                    <a:pt x="132" y="169"/>
                  </a:cubicBezTo>
                  <a:cubicBezTo>
                    <a:pt x="132" y="169"/>
                    <a:pt x="131" y="171"/>
                    <a:pt x="131" y="169"/>
                  </a:cubicBezTo>
                  <a:cubicBezTo>
                    <a:pt x="131" y="168"/>
                    <a:pt x="128" y="171"/>
                    <a:pt x="126" y="171"/>
                  </a:cubicBezTo>
                  <a:cubicBezTo>
                    <a:pt x="126" y="172"/>
                    <a:pt x="128" y="176"/>
                    <a:pt x="122" y="179"/>
                  </a:cubicBezTo>
                  <a:cubicBezTo>
                    <a:pt x="125" y="176"/>
                    <a:pt x="125" y="172"/>
                    <a:pt x="125" y="169"/>
                  </a:cubicBezTo>
                  <a:cubicBezTo>
                    <a:pt x="125" y="168"/>
                    <a:pt x="125" y="171"/>
                    <a:pt x="123" y="169"/>
                  </a:cubicBezTo>
                  <a:cubicBezTo>
                    <a:pt x="123" y="169"/>
                    <a:pt x="123" y="169"/>
                    <a:pt x="122" y="171"/>
                  </a:cubicBezTo>
                  <a:cubicBezTo>
                    <a:pt x="120" y="174"/>
                    <a:pt x="122" y="172"/>
                    <a:pt x="120" y="174"/>
                  </a:cubicBezTo>
                  <a:cubicBezTo>
                    <a:pt x="119" y="176"/>
                    <a:pt x="119" y="174"/>
                    <a:pt x="120" y="172"/>
                  </a:cubicBezTo>
                  <a:cubicBezTo>
                    <a:pt x="122" y="169"/>
                    <a:pt x="117" y="171"/>
                    <a:pt x="116" y="172"/>
                  </a:cubicBezTo>
                  <a:cubicBezTo>
                    <a:pt x="111" y="176"/>
                    <a:pt x="114" y="174"/>
                    <a:pt x="114" y="176"/>
                  </a:cubicBezTo>
                  <a:cubicBezTo>
                    <a:pt x="114" y="177"/>
                    <a:pt x="119" y="176"/>
                    <a:pt x="119" y="180"/>
                  </a:cubicBezTo>
                  <a:cubicBezTo>
                    <a:pt x="114" y="179"/>
                    <a:pt x="119" y="179"/>
                    <a:pt x="116" y="177"/>
                  </a:cubicBezTo>
                  <a:cubicBezTo>
                    <a:pt x="112" y="177"/>
                    <a:pt x="114" y="174"/>
                    <a:pt x="111" y="176"/>
                  </a:cubicBezTo>
                  <a:cubicBezTo>
                    <a:pt x="108" y="176"/>
                    <a:pt x="109" y="176"/>
                    <a:pt x="111" y="177"/>
                  </a:cubicBezTo>
                  <a:cubicBezTo>
                    <a:pt x="112" y="179"/>
                    <a:pt x="111" y="180"/>
                    <a:pt x="109" y="177"/>
                  </a:cubicBezTo>
                  <a:cubicBezTo>
                    <a:pt x="109" y="176"/>
                    <a:pt x="106" y="174"/>
                    <a:pt x="108" y="177"/>
                  </a:cubicBezTo>
                  <a:cubicBezTo>
                    <a:pt x="108" y="179"/>
                    <a:pt x="105" y="177"/>
                    <a:pt x="106" y="180"/>
                  </a:cubicBezTo>
                  <a:cubicBezTo>
                    <a:pt x="108" y="182"/>
                    <a:pt x="105" y="180"/>
                    <a:pt x="103" y="183"/>
                  </a:cubicBezTo>
                  <a:cubicBezTo>
                    <a:pt x="100" y="185"/>
                    <a:pt x="106" y="183"/>
                    <a:pt x="103" y="185"/>
                  </a:cubicBezTo>
                  <a:cubicBezTo>
                    <a:pt x="100" y="186"/>
                    <a:pt x="102" y="186"/>
                    <a:pt x="100" y="186"/>
                  </a:cubicBezTo>
                  <a:cubicBezTo>
                    <a:pt x="97" y="188"/>
                    <a:pt x="97" y="186"/>
                    <a:pt x="94" y="190"/>
                  </a:cubicBezTo>
                  <a:cubicBezTo>
                    <a:pt x="93" y="193"/>
                    <a:pt x="99" y="190"/>
                    <a:pt x="99" y="190"/>
                  </a:cubicBezTo>
                  <a:cubicBezTo>
                    <a:pt x="99" y="191"/>
                    <a:pt x="99" y="191"/>
                    <a:pt x="102" y="190"/>
                  </a:cubicBezTo>
                  <a:cubicBezTo>
                    <a:pt x="105" y="188"/>
                    <a:pt x="102" y="191"/>
                    <a:pt x="99" y="193"/>
                  </a:cubicBezTo>
                  <a:cubicBezTo>
                    <a:pt x="96" y="193"/>
                    <a:pt x="97" y="191"/>
                    <a:pt x="94" y="191"/>
                  </a:cubicBezTo>
                  <a:cubicBezTo>
                    <a:pt x="91" y="193"/>
                    <a:pt x="90" y="193"/>
                    <a:pt x="91" y="194"/>
                  </a:cubicBezTo>
                  <a:cubicBezTo>
                    <a:pt x="93" y="194"/>
                    <a:pt x="91" y="194"/>
                    <a:pt x="93" y="194"/>
                  </a:cubicBezTo>
                  <a:cubicBezTo>
                    <a:pt x="96" y="194"/>
                    <a:pt x="93" y="196"/>
                    <a:pt x="93" y="197"/>
                  </a:cubicBezTo>
                  <a:cubicBezTo>
                    <a:pt x="93" y="200"/>
                    <a:pt x="91" y="197"/>
                    <a:pt x="91" y="196"/>
                  </a:cubicBezTo>
                  <a:cubicBezTo>
                    <a:pt x="91" y="194"/>
                    <a:pt x="90" y="193"/>
                    <a:pt x="90" y="194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88" y="194"/>
                    <a:pt x="85" y="196"/>
                    <a:pt x="85" y="197"/>
                  </a:cubicBezTo>
                  <a:cubicBezTo>
                    <a:pt x="85" y="197"/>
                    <a:pt x="85" y="196"/>
                    <a:pt x="88" y="197"/>
                  </a:cubicBezTo>
                  <a:cubicBezTo>
                    <a:pt x="90" y="197"/>
                    <a:pt x="90" y="197"/>
                    <a:pt x="90" y="197"/>
                  </a:cubicBezTo>
                  <a:cubicBezTo>
                    <a:pt x="88" y="197"/>
                    <a:pt x="79" y="199"/>
                    <a:pt x="80" y="200"/>
                  </a:cubicBezTo>
                  <a:cubicBezTo>
                    <a:pt x="82" y="202"/>
                    <a:pt x="79" y="202"/>
                    <a:pt x="80" y="202"/>
                  </a:cubicBezTo>
                  <a:cubicBezTo>
                    <a:pt x="84" y="203"/>
                    <a:pt x="84" y="199"/>
                    <a:pt x="88" y="200"/>
                  </a:cubicBezTo>
                  <a:cubicBezTo>
                    <a:pt x="91" y="202"/>
                    <a:pt x="88" y="200"/>
                    <a:pt x="85" y="202"/>
                  </a:cubicBezTo>
                  <a:cubicBezTo>
                    <a:pt x="82" y="202"/>
                    <a:pt x="87" y="203"/>
                    <a:pt x="82" y="203"/>
                  </a:cubicBezTo>
                  <a:cubicBezTo>
                    <a:pt x="77" y="203"/>
                    <a:pt x="82" y="205"/>
                    <a:pt x="82" y="207"/>
                  </a:cubicBezTo>
                  <a:cubicBezTo>
                    <a:pt x="80" y="207"/>
                    <a:pt x="80" y="205"/>
                    <a:pt x="79" y="207"/>
                  </a:cubicBezTo>
                  <a:cubicBezTo>
                    <a:pt x="77" y="207"/>
                    <a:pt x="77" y="208"/>
                    <a:pt x="79" y="208"/>
                  </a:cubicBezTo>
                  <a:cubicBezTo>
                    <a:pt x="79" y="208"/>
                    <a:pt x="80" y="207"/>
                    <a:pt x="84" y="208"/>
                  </a:cubicBezTo>
                  <a:cubicBezTo>
                    <a:pt x="90" y="208"/>
                    <a:pt x="85" y="207"/>
                    <a:pt x="87" y="210"/>
                  </a:cubicBezTo>
                  <a:cubicBezTo>
                    <a:pt x="87" y="211"/>
                    <a:pt x="85" y="208"/>
                    <a:pt x="82" y="208"/>
                  </a:cubicBezTo>
                  <a:cubicBezTo>
                    <a:pt x="80" y="208"/>
                    <a:pt x="79" y="210"/>
                    <a:pt x="77" y="210"/>
                  </a:cubicBezTo>
                  <a:cubicBezTo>
                    <a:pt x="76" y="208"/>
                    <a:pt x="77" y="210"/>
                    <a:pt x="74" y="210"/>
                  </a:cubicBezTo>
                  <a:cubicBezTo>
                    <a:pt x="73" y="210"/>
                    <a:pt x="76" y="211"/>
                    <a:pt x="73" y="211"/>
                  </a:cubicBezTo>
                  <a:cubicBezTo>
                    <a:pt x="68" y="211"/>
                    <a:pt x="73" y="213"/>
                    <a:pt x="71" y="214"/>
                  </a:cubicBezTo>
                  <a:cubicBezTo>
                    <a:pt x="70" y="216"/>
                    <a:pt x="70" y="214"/>
                    <a:pt x="68" y="216"/>
                  </a:cubicBezTo>
                  <a:cubicBezTo>
                    <a:pt x="67" y="217"/>
                    <a:pt x="70" y="216"/>
                    <a:pt x="68" y="217"/>
                  </a:cubicBezTo>
                  <a:cubicBezTo>
                    <a:pt x="67" y="217"/>
                    <a:pt x="68" y="219"/>
                    <a:pt x="68" y="217"/>
                  </a:cubicBezTo>
                  <a:cubicBezTo>
                    <a:pt x="67" y="217"/>
                    <a:pt x="65" y="217"/>
                    <a:pt x="67" y="219"/>
                  </a:cubicBezTo>
                  <a:cubicBezTo>
                    <a:pt x="68" y="219"/>
                    <a:pt x="65" y="221"/>
                    <a:pt x="68" y="221"/>
                  </a:cubicBezTo>
                  <a:cubicBezTo>
                    <a:pt x="71" y="221"/>
                    <a:pt x="65" y="222"/>
                    <a:pt x="67" y="222"/>
                  </a:cubicBezTo>
                  <a:cubicBezTo>
                    <a:pt x="67" y="222"/>
                    <a:pt x="73" y="221"/>
                    <a:pt x="74" y="221"/>
                  </a:cubicBezTo>
                  <a:cubicBezTo>
                    <a:pt x="77" y="221"/>
                    <a:pt x="74" y="222"/>
                    <a:pt x="71" y="222"/>
                  </a:cubicBezTo>
                  <a:cubicBezTo>
                    <a:pt x="68" y="224"/>
                    <a:pt x="67" y="222"/>
                    <a:pt x="65" y="224"/>
                  </a:cubicBezTo>
                  <a:cubicBezTo>
                    <a:pt x="62" y="225"/>
                    <a:pt x="67" y="224"/>
                    <a:pt x="67" y="225"/>
                  </a:cubicBezTo>
                  <a:cubicBezTo>
                    <a:pt x="67" y="227"/>
                    <a:pt x="64" y="225"/>
                    <a:pt x="64" y="228"/>
                  </a:cubicBezTo>
                  <a:cubicBezTo>
                    <a:pt x="62" y="230"/>
                    <a:pt x="61" y="228"/>
                    <a:pt x="61" y="230"/>
                  </a:cubicBezTo>
                  <a:cubicBezTo>
                    <a:pt x="62" y="233"/>
                    <a:pt x="62" y="231"/>
                    <a:pt x="64" y="233"/>
                  </a:cubicBezTo>
                  <a:cubicBezTo>
                    <a:pt x="64" y="235"/>
                    <a:pt x="61" y="235"/>
                    <a:pt x="61" y="236"/>
                  </a:cubicBezTo>
                  <a:cubicBezTo>
                    <a:pt x="62" y="236"/>
                    <a:pt x="62" y="238"/>
                    <a:pt x="59" y="238"/>
                  </a:cubicBezTo>
                  <a:cubicBezTo>
                    <a:pt x="58" y="238"/>
                    <a:pt x="58" y="239"/>
                    <a:pt x="56" y="239"/>
                  </a:cubicBezTo>
                  <a:cubicBezTo>
                    <a:pt x="55" y="239"/>
                    <a:pt x="55" y="241"/>
                    <a:pt x="53" y="241"/>
                  </a:cubicBezTo>
                  <a:cubicBezTo>
                    <a:pt x="52" y="241"/>
                    <a:pt x="50" y="241"/>
                    <a:pt x="50" y="241"/>
                  </a:cubicBezTo>
                  <a:cubicBezTo>
                    <a:pt x="50" y="242"/>
                    <a:pt x="50" y="241"/>
                    <a:pt x="53" y="241"/>
                  </a:cubicBezTo>
                  <a:cubicBezTo>
                    <a:pt x="55" y="242"/>
                    <a:pt x="52" y="244"/>
                    <a:pt x="55" y="242"/>
                  </a:cubicBezTo>
                  <a:cubicBezTo>
                    <a:pt x="56" y="241"/>
                    <a:pt x="56" y="242"/>
                    <a:pt x="55" y="242"/>
                  </a:cubicBezTo>
                  <a:cubicBezTo>
                    <a:pt x="53" y="244"/>
                    <a:pt x="56" y="244"/>
                    <a:pt x="56" y="245"/>
                  </a:cubicBezTo>
                  <a:cubicBezTo>
                    <a:pt x="55" y="247"/>
                    <a:pt x="55" y="247"/>
                    <a:pt x="53" y="247"/>
                  </a:cubicBezTo>
                  <a:cubicBezTo>
                    <a:pt x="52" y="247"/>
                    <a:pt x="52" y="244"/>
                    <a:pt x="50" y="244"/>
                  </a:cubicBezTo>
                  <a:cubicBezTo>
                    <a:pt x="49" y="245"/>
                    <a:pt x="50" y="245"/>
                    <a:pt x="50" y="245"/>
                  </a:cubicBezTo>
                  <a:cubicBezTo>
                    <a:pt x="47" y="245"/>
                    <a:pt x="47" y="247"/>
                    <a:pt x="47" y="249"/>
                  </a:cubicBezTo>
                  <a:cubicBezTo>
                    <a:pt x="47" y="250"/>
                    <a:pt x="44" y="249"/>
                    <a:pt x="44" y="250"/>
                  </a:cubicBezTo>
                  <a:cubicBezTo>
                    <a:pt x="42" y="255"/>
                    <a:pt x="39" y="253"/>
                    <a:pt x="39" y="256"/>
                  </a:cubicBezTo>
                  <a:cubicBezTo>
                    <a:pt x="38" y="258"/>
                    <a:pt x="41" y="256"/>
                    <a:pt x="41" y="256"/>
                  </a:cubicBezTo>
                  <a:cubicBezTo>
                    <a:pt x="41" y="258"/>
                    <a:pt x="42" y="258"/>
                    <a:pt x="42" y="258"/>
                  </a:cubicBezTo>
                  <a:cubicBezTo>
                    <a:pt x="42" y="259"/>
                    <a:pt x="45" y="259"/>
                    <a:pt x="50" y="256"/>
                  </a:cubicBezTo>
                  <a:cubicBezTo>
                    <a:pt x="55" y="253"/>
                    <a:pt x="47" y="255"/>
                    <a:pt x="50" y="253"/>
                  </a:cubicBezTo>
                  <a:cubicBezTo>
                    <a:pt x="53" y="252"/>
                    <a:pt x="52" y="252"/>
                    <a:pt x="53" y="252"/>
                  </a:cubicBezTo>
                  <a:cubicBezTo>
                    <a:pt x="56" y="253"/>
                    <a:pt x="49" y="253"/>
                    <a:pt x="53" y="255"/>
                  </a:cubicBezTo>
                  <a:cubicBezTo>
                    <a:pt x="56" y="255"/>
                    <a:pt x="53" y="256"/>
                    <a:pt x="50" y="258"/>
                  </a:cubicBezTo>
                  <a:cubicBezTo>
                    <a:pt x="47" y="259"/>
                    <a:pt x="50" y="258"/>
                    <a:pt x="49" y="259"/>
                  </a:cubicBezTo>
                  <a:cubicBezTo>
                    <a:pt x="49" y="259"/>
                    <a:pt x="52" y="259"/>
                    <a:pt x="50" y="261"/>
                  </a:cubicBezTo>
                  <a:cubicBezTo>
                    <a:pt x="49" y="261"/>
                    <a:pt x="45" y="259"/>
                    <a:pt x="42" y="261"/>
                  </a:cubicBezTo>
                  <a:cubicBezTo>
                    <a:pt x="41" y="262"/>
                    <a:pt x="42" y="261"/>
                    <a:pt x="41" y="259"/>
                  </a:cubicBezTo>
                  <a:cubicBezTo>
                    <a:pt x="39" y="256"/>
                    <a:pt x="39" y="258"/>
                    <a:pt x="38" y="258"/>
                  </a:cubicBezTo>
                  <a:cubicBezTo>
                    <a:pt x="35" y="259"/>
                    <a:pt x="36" y="261"/>
                    <a:pt x="36" y="259"/>
                  </a:cubicBezTo>
                  <a:cubicBezTo>
                    <a:pt x="35" y="259"/>
                    <a:pt x="33" y="261"/>
                    <a:pt x="30" y="261"/>
                  </a:cubicBezTo>
                  <a:cubicBezTo>
                    <a:pt x="27" y="262"/>
                    <a:pt x="35" y="264"/>
                    <a:pt x="30" y="264"/>
                  </a:cubicBezTo>
                  <a:cubicBezTo>
                    <a:pt x="26" y="264"/>
                    <a:pt x="32" y="266"/>
                    <a:pt x="27" y="266"/>
                  </a:cubicBezTo>
                  <a:cubicBezTo>
                    <a:pt x="23" y="264"/>
                    <a:pt x="29" y="266"/>
                    <a:pt x="26" y="267"/>
                  </a:cubicBezTo>
                  <a:cubicBezTo>
                    <a:pt x="23" y="267"/>
                    <a:pt x="20" y="266"/>
                    <a:pt x="18" y="267"/>
                  </a:cubicBezTo>
                  <a:cubicBezTo>
                    <a:pt x="18" y="267"/>
                    <a:pt x="18" y="270"/>
                    <a:pt x="21" y="269"/>
                  </a:cubicBezTo>
                  <a:cubicBezTo>
                    <a:pt x="26" y="269"/>
                    <a:pt x="21" y="269"/>
                    <a:pt x="23" y="272"/>
                  </a:cubicBezTo>
                  <a:cubicBezTo>
                    <a:pt x="24" y="273"/>
                    <a:pt x="21" y="270"/>
                    <a:pt x="15" y="272"/>
                  </a:cubicBezTo>
                  <a:cubicBezTo>
                    <a:pt x="10" y="273"/>
                    <a:pt x="18" y="272"/>
                    <a:pt x="18" y="273"/>
                  </a:cubicBezTo>
                  <a:cubicBezTo>
                    <a:pt x="20" y="276"/>
                    <a:pt x="18" y="272"/>
                    <a:pt x="13" y="275"/>
                  </a:cubicBezTo>
                  <a:cubicBezTo>
                    <a:pt x="9" y="276"/>
                    <a:pt x="12" y="278"/>
                    <a:pt x="10" y="276"/>
                  </a:cubicBezTo>
                  <a:cubicBezTo>
                    <a:pt x="7" y="276"/>
                    <a:pt x="10" y="278"/>
                    <a:pt x="7" y="278"/>
                  </a:cubicBezTo>
                  <a:cubicBezTo>
                    <a:pt x="4" y="276"/>
                    <a:pt x="3" y="276"/>
                    <a:pt x="4" y="278"/>
                  </a:cubicBezTo>
                  <a:cubicBezTo>
                    <a:pt x="6" y="280"/>
                    <a:pt x="1" y="278"/>
                    <a:pt x="3" y="280"/>
                  </a:cubicBezTo>
                  <a:cubicBezTo>
                    <a:pt x="4" y="281"/>
                    <a:pt x="9" y="280"/>
                    <a:pt x="13" y="281"/>
                  </a:cubicBezTo>
                  <a:cubicBezTo>
                    <a:pt x="17" y="283"/>
                    <a:pt x="12" y="281"/>
                    <a:pt x="10" y="283"/>
                  </a:cubicBezTo>
                  <a:cubicBezTo>
                    <a:pt x="10" y="283"/>
                    <a:pt x="9" y="280"/>
                    <a:pt x="4" y="283"/>
                  </a:cubicBezTo>
                  <a:cubicBezTo>
                    <a:pt x="0" y="284"/>
                    <a:pt x="7" y="286"/>
                    <a:pt x="4" y="287"/>
                  </a:cubicBezTo>
                  <a:cubicBezTo>
                    <a:pt x="0" y="287"/>
                    <a:pt x="4" y="287"/>
                    <a:pt x="3" y="289"/>
                  </a:cubicBezTo>
                  <a:cubicBezTo>
                    <a:pt x="3" y="290"/>
                    <a:pt x="4" y="292"/>
                    <a:pt x="7" y="290"/>
                  </a:cubicBezTo>
                  <a:cubicBezTo>
                    <a:pt x="10" y="289"/>
                    <a:pt x="13" y="292"/>
                    <a:pt x="15" y="290"/>
                  </a:cubicBezTo>
                  <a:cubicBezTo>
                    <a:pt x="15" y="287"/>
                    <a:pt x="17" y="290"/>
                    <a:pt x="20" y="290"/>
                  </a:cubicBezTo>
                  <a:cubicBezTo>
                    <a:pt x="23" y="289"/>
                    <a:pt x="24" y="290"/>
                    <a:pt x="21" y="290"/>
                  </a:cubicBezTo>
                  <a:cubicBezTo>
                    <a:pt x="17" y="292"/>
                    <a:pt x="23" y="295"/>
                    <a:pt x="18" y="292"/>
                  </a:cubicBezTo>
                  <a:cubicBezTo>
                    <a:pt x="15" y="289"/>
                    <a:pt x="15" y="294"/>
                    <a:pt x="13" y="292"/>
                  </a:cubicBezTo>
                  <a:cubicBezTo>
                    <a:pt x="10" y="290"/>
                    <a:pt x="7" y="294"/>
                    <a:pt x="6" y="292"/>
                  </a:cubicBezTo>
                  <a:cubicBezTo>
                    <a:pt x="3" y="292"/>
                    <a:pt x="3" y="292"/>
                    <a:pt x="3" y="294"/>
                  </a:cubicBezTo>
                  <a:cubicBezTo>
                    <a:pt x="3" y="297"/>
                    <a:pt x="6" y="294"/>
                    <a:pt x="6" y="297"/>
                  </a:cubicBezTo>
                  <a:cubicBezTo>
                    <a:pt x="6" y="298"/>
                    <a:pt x="3" y="294"/>
                    <a:pt x="3" y="297"/>
                  </a:cubicBezTo>
                  <a:cubicBezTo>
                    <a:pt x="4" y="300"/>
                    <a:pt x="6" y="297"/>
                    <a:pt x="6" y="298"/>
                  </a:cubicBezTo>
                  <a:cubicBezTo>
                    <a:pt x="6" y="301"/>
                    <a:pt x="3" y="301"/>
                    <a:pt x="3" y="301"/>
                  </a:cubicBezTo>
                  <a:cubicBezTo>
                    <a:pt x="6" y="303"/>
                    <a:pt x="6" y="304"/>
                    <a:pt x="7" y="303"/>
                  </a:cubicBezTo>
                  <a:cubicBezTo>
                    <a:pt x="7" y="301"/>
                    <a:pt x="7" y="304"/>
                    <a:pt x="9" y="304"/>
                  </a:cubicBezTo>
                  <a:cubicBezTo>
                    <a:pt x="9" y="303"/>
                    <a:pt x="7" y="306"/>
                    <a:pt x="9" y="306"/>
                  </a:cubicBezTo>
                  <a:cubicBezTo>
                    <a:pt x="10" y="306"/>
                    <a:pt x="9" y="303"/>
                    <a:pt x="12" y="303"/>
                  </a:cubicBezTo>
                  <a:cubicBezTo>
                    <a:pt x="13" y="301"/>
                    <a:pt x="10" y="306"/>
                    <a:pt x="9" y="308"/>
                  </a:cubicBezTo>
                  <a:cubicBezTo>
                    <a:pt x="6" y="308"/>
                    <a:pt x="10" y="308"/>
                    <a:pt x="9" y="309"/>
                  </a:cubicBezTo>
                  <a:cubicBezTo>
                    <a:pt x="7" y="311"/>
                    <a:pt x="9" y="308"/>
                    <a:pt x="6" y="311"/>
                  </a:cubicBezTo>
                  <a:cubicBezTo>
                    <a:pt x="3" y="314"/>
                    <a:pt x="6" y="317"/>
                    <a:pt x="7" y="315"/>
                  </a:cubicBezTo>
                  <a:cubicBezTo>
                    <a:pt x="7" y="314"/>
                    <a:pt x="9" y="315"/>
                    <a:pt x="9" y="314"/>
                  </a:cubicBezTo>
                  <a:cubicBezTo>
                    <a:pt x="10" y="312"/>
                    <a:pt x="12" y="314"/>
                    <a:pt x="10" y="315"/>
                  </a:cubicBezTo>
                  <a:cubicBezTo>
                    <a:pt x="9" y="315"/>
                    <a:pt x="12" y="315"/>
                    <a:pt x="10" y="317"/>
                  </a:cubicBezTo>
                  <a:cubicBezTo>
                    <a:pt x="9" y="318"/>
                    <a:pt x="12" y="318"/>
                    <a:pt x="10" y="320"/>
                  </a:cubicBezTo>
                  <a:cubicBezTo>
                    <a:pt x="7" y="320"/>
                    <a:pt x="7" y="317"/>
                    <a:pt x="7" y="320"/>
                  </a:cubicBezTo>
                  <a:cubicBezTo>
                    <a:pt x="6" y="323"/>
                    <a:pt x="6" y="323"/>
                    <a:pt x="7" y="323"/>
                  </a:cubicBezTo>
                  <a:cubicBezTo>
                    <a:pt x="9" y="326"/>
                    <a:pt x="10" y="325"/>
                    <a:pt x="10" y="326"/>
                  </a:cubicBezTo>
                  <a:cubicBezTo>
                    <a:pt x="12" y="328"/>
                    <a:pt x="13" y="328"/>
                    <a:pt x="15" y="329"/>
                  </a:cubicBezTo>
                  <a:cubicBezTo>
                    <a:pt x="17" y="329"/>
                    <a:pt x="15" y="329"/>
                    <a:pt x="17" y="331"/>
                  </a:cubicBezTo>
                  <a:cubicBezTo>
                    <a:pt x="17" y="332"/>
                    <a:pt x="17" y="329"/>
                    <a:pt x="18" y="331"/>
                  </a:cubicBezTo>
                  <a:cubicBezTo>
                    <a:pt x="20" y="331"/>
                    <a:pt x="18" y="332"/>
                    <a:pt x="20" y="331"/>
                  </a:cubicBezTo>
                  <a:cubicBezTo>
                    <a:pt x="23" y="331"/>
                    <a:pt x="27" y="331"/>
                    <a:pt x="29" y="329"/>
                  </a:cubicBezTo>
                  <a:cubicBezTo>
                    <a:pt x="30" y="329"/>
                    <a:pt x="32" y="328"/>
                    <a:pt x="33" y="325"/>
                  </a:cubicBezTo>
                  <a:cubicBezTo>
                    <a:pt x="35" y="323"/>
                    <a:pt x="36" y="325"/>
                    <a:pt x="36" y="323"/>
                  </a:cubicBezTo>
                  <a:cubicBezTo>
                    <a:pt x="36" y="321"/>
                    <a:pt x="39" y="323"/>
                    <a:pt x="38" y="321"/>
                  </a:cubicBezTo>
                  <a:cubicBezTo>
                    <a:pt x="36" y="320"/>
                    <a:pt x="41" y="321"/>
                    <a:pt x="39" y="318"/>
                  </a:cubicBezTo>
                  <a:cubicBezTo>
                    <a:pt x="39" y="317"/>
                    <a:pt x="41" y="320"/>
                    <a:pt x="42" y="318"/>
                  </a:cubicBezTo>
                  <a:cubicBezTo>
                    <a:pt x="44" y="318"/>
                    <a:pt x="45" y="320"/>
                    <a:pt x="45" y="317"/>
                  </a:cubicBezTo>
                  <a:cubicBezTo>
                    <a:pt x="45" y="314"/>
                    <a:pt x="49" y="315"/>
                    <a:pt x="45" y="314"/>
                  </a:cubicBezTo>
                  <a:cubicBezTo>
                    <a:pt x="45" y="312"/>
                    <a:pt x="44" y="311"/>
                    <a:pt x="47" y="312"/>
                  </a:cubicBezTo>
                  <a:cubicBezTo>
                    <a:pt x="49" y="314"/>
                    <a:pt x="47" y="309"/>
                    <a:pt x="49" y="311"/>
                  </a:cubicBezTo>
                  <a:cubicBezTo>
                    <a:pt x="49" y="314"/>
                    <a:pt x="47" y="312"/>
                    <a:pt x="49" y="314"/>
                  </a:cubicBezTo>
                  <a:cubicBezTo>
                    <a:pt x="49" y="315"/>
                    <a:pt x="47" y="317"/>
                    <a:pt x="50" y="317"/>
                  </a:cubicBezTo>
                  <a:cubicBezTo>
                    <a:pt x="52" y="317"/>
                    <a:pt x="50" y="317"/>
                    <a:pt x="53" y="317"/>
                  </a:cubicBezTo>
                  <a:cubicBezTo>
                    <a:pt x="53" y="317"/>
                    <a:pt x="53" y="318"/>
                    <a:pt x="55" y="320"/>
                  </a:cubicBezTo>
                  <a:cubicBezTo>
                    <a:pt x="55" y="321"/>
                    <a:pt x="58" y="318"/>
                    <a:pt x="56" y="314"/>
                  </a:cubicBezTo>
                  <a:cubicBezTo>
                    <a:pt x="55" y="311"/>
                    <a:pt x="58" y="311"/>
                    <a:pt x="58" y="309"/>
                  </a:cubicBezTo>
                  <a:cubicBezTo>
                    <a:pt x="56" y="306"/>
                    <a:pt x="59" y="309"/>
                    <a:pt x="61" y="306"/>
                  </a:cubicBezTo>
                  <a:cubicBezTo>
                    <a:pt x="64" y="303"/>
                    <a:pt x="61" y="303"/>
                    <a:pt x="62" y="301"/>
                  </a:cubicBezTo>
                  <a:cubicBezTo>
                    <a:pt x="65" y="300"/>
                    <a:pt x="59" y="294"/>
                    <a:pt x="61" y="292"/>
                  </a:cubicBezTo>
                  <a:cubicBezTo>
                    <a:pt x="61" y="290"/>
                    <a:pt x="64" y="294"/>
                    <a:pt x="64" y="290"/>
                  </a:cubicBezTo>
                  <a:cubicBezTo>
                    <a:pt x="65" y="289"/>
                    <a:pt x="67" y="287"/>
                    <a:pt x="62" y="286"/>
                  </a:cubicBezTo>
                  <a:cubicBezTo>
                    <a:pt x="56" y="283"/>
                    <a:pt x="62" y="278"/>
                    <a:pt x="61" y="273"/>
                  </a:cubicBezTo>
                  <a:cubicBezTo>
                    <a:pt x="58" y="270"/>
                    <a:pt x="61" y="270"/>
                    <a:pt x="59" y="269"/>
                  </a:cubicBezTo>
                  <a:cubicBezTo>
                    <a:pt x="58" y="267"/>
                    <a:pt x="61" y="267"/>
                    <a:pt x="59" y="264"/>
                  </a:cubicBezTo>
                  <a:cubicBezTo>
                    <a:pt x="56" y="261"/>
                    <a:pt x="61" y="261"/>
                    <a:pt x="59" y="259"/>
                  </a:cubicBezTo>
                  <a:cubicBezTo>
                    <a:pt x="59" y="256"/>
                    <a:pt x="65" y="253"/>
                    <a:pt x="67" y="252"/>
                  </a:cubicBezTo>
                  <a:cubicBezTo>
                    <a:pt x="70" y="250"/>
                    <a:pt x="74" y="255"/>
                    <a:pt x="76" y="249"/>
                  </a:cubicBezTo>
                  <a:cubicBezTo>
                    <a:pt x="77" y="245"/>
                    <a:pt x="74" y="247"/>
                    <a:pt x="73" y="245"/>
                  </a:cubicBezTo>
                  <a:cubicBezTo>
                    <a:pt x="70" y="244"/>
                    <a:pt x="77" y="239"/>
                    <a:pt x="77" y="238"/>
                  </a:cubicBezTo>
                  <a:cubicBezTo>
                    <a:pt x="77" y="235"/>
                    <a:pt x="79" y="236"/>
                    <a:pt x="79" y="233"/>
                  </a:cubicBezTo>
                  <a:cubicBezTo>
                    <a:pt x="77" y="228"/>
                    <a:pt x="80" y="230"/>
                    <a:pt x="77" y="224"/>
                  </a:cubicBezTo>
                  <a:cubicBezTo>
                    <a:pt x="77" y="222"/>
                    <a:pt x="88" y="224"/>
                    <a:pt x="85" y="221"/>
                  </a:cubicBezTo>
                  <a:cubicBezTo>
                    <a:pt x="84" y="217"/>
                    <a:pt x="87" y="219"/>
                    <a:pt x="88" y="214"/>
                  </a:cubicBezTo>
                  <a:cubicBezTo>
                    <a:pt x="91" y="211"/>
                    <a:pt x="93" y="213"/>
                    <a:pt x="93" y="210"/>
                  </a:cubicBezTo>
                  <a:cubicBezTo>
                    <a:pt x="94" y="208"/>
                    <a:pt x="91" y="207"/>
                    <a:pt x="91" y="205"/>
                  </a:cubicBezTo>
                  <a:cubicBezTo>
                    <a:pt x="91" y="203"/>
                    <a:pt x="93" y="205"/>
                    <a:pt x="96" y="200"/>
                  </a:cubicBezTo>
                  <a:cubicBezTo>
                    <a:pt x="96" y="197"/>
                    <a:pt x="99" y="197"/>
                    <a:pt x="100" y="196"/>
                  </a:cubicBezTo>
                  <a:cubicBezTo>
                    <a:pt x="102" y="196"/>
                    <a:pt x="103" y="199"/>
                    <a:pt x="106" y="197"/>
                  </a:cubicBezTo>
                  <a:cubicBezTo>
                    <a:pt x="109" y="196"/>
                    <a:pt x="105" y="191"/>
                    <a:pt x="106" y="190"/>
                  </a:cubicBezTo>
                  <a:cubicBezTo>
                    <a:pt x="111" y="186"/>
                    <a:pt x="119" y="194"/>
                    <a:pt x="123" y="191"/>
                  </a:cubicBezTo>
                  <a:cubicBezTo>
                    <a:pt x="126" y="190"/>
                    <a:pt x="119" y="191"/>
                    <a:pt x="123" y="188"/>
                  </a:cubicBezTo>
                  <a:cubicBezTo>
                    <a:pt x="128" y="183"/>
                    <a:pt x="119" y="182"/>
                    <a:pt x="128" y="182"/>
                  </a:cubicBezTo>
                  <a:cubicBezTo>
                    <a:pt x="128" y="180"/>
                    <a:pt x="131" y="183"/>
                    <a:pt x="131" y="182"/>
                  </a:cubicBezTo>
                  <a:cubicBezTo>
                    <a:pt x="131" y="182"/>
                    <a:pt x="129" y="180"/>
                    <a:pt x="131" y="179"/>
                  </a:cubicBezTo>
                  <a:cubicBezTo>
                    <a:pt x="134" y="177"/>
                    <a:pt x="137" y="180"/>
                    <a:pt x="140" y="183"/>
                  </a:cubicBezTo>
                  <a:cubicBezTo>
                    <a:pt x="143" y="186"/>
                    <a:pt x="138" y="186"/>
                    <a:pt x="143" y="186"/>
                  </a:cubicBezTo>
                  <a:cubicBezTo>
                    <a:pt x="149" y="186"/>
                    <a:pt x="146" y="188"/>
                    <a:pt x="149" y="188"/>
                  </a:cubicBezTo>
                  <a:cubicBezTo>
                    <a:pt x="154" y="186"/>
                    <a:pt x="152" y="185"/>
                    <a:pt x="154" y="185"/>
                  </a:cubicBezTo>
                  <a:cubicBezTo>
                    <a:pt x="155" y="186"/>
                    <a:pt x="158" y="186"/>
                    <a:pt x="161" y="190"/>
                  </a:cubicBezTo>
                  <a:cubicBezTo>
                    <a:pt x="161" y="188"/>
                    <a:pt x="163" y="190"/>
                    <a:pt x="163" y="186"/>
                  </a:cubicBezTo>
                  <a:cubicBezTo>
                    <a:pt x="164" y="183"/>
                    <a:pt x="170" y="185"/>
                    <a:pt x="167" y="182"/>
                  </a:cubicBezTo>
                  <a:cubicBezTo>
                    <a:pt x="166" y="179"/>
                    <a:pt x="169" y="179"/>
                    <a:pt x="169" y="176"/>
                  </a:cubicBezTo>
                  <a:cubicBezTo>
                    <a:pt x="169" y="174"/>
                    <a:pt x="170" y="171"/>
                    <a:pt x="173" y="169"/>
                  </a:cubicBezTo>
                  <a:cubicBezTo>
                    <a:pt x="177" y="168"/>
                    <a:pt x="175" y="171"/>
                    <a:pt x="181" y="168"/>
                  </a:cubicBezTo>
                  <a:cubicBezTo>
                    <a:pt x="184" y="166"/>
                    <a:pt x="184" y="166"/>
                    <a:pt x="186" y="169"/>
                  </a:cubicBezTo>
                  <a:cubicBezTo>
                    <a:pt x="187" y="171"/>
                    <a:pt x="195" y="172"/>
                    <a:pt x="196" y="176"/>
                  </a:cubicBezTo>
                  <a:cubicBezTo>
                    <a:pt x="196" y="177"/>
                    <a:pt x="189" y="180"/>
                    <a:pt x="193" y="182"/>
                  </a:cubicBezTo>
                  <a:cubicBezTo>
                    <a:pt x="195" y="183"/>
                    <a:pt x="195" y="182"/>
                    <a:pt x="196" y="179"/>
                  </a:cubicBezTo>
                  <a:close/>
                  <a:moveTo>
                    <a:pt x="154" y="157"/>
                  </a:moveTo>
                  <a:cubicBezTo>
                    <a:pt x="157" y="159"/>
                    <a:pt x="155" y="160"/>
                    <a:pt x="154" y="160"/>
                  </a:cubicBezTo>
                  <a:cubicBezTo>
                    <a:pt x="152" y="162"/>
                    <a:pt x="151" y="157"/>
                    <a:pt x="154" y="157"/>
                  </a:cubicBezTo>
                  <a:close/>
                  <a:moveTo>
                    <a:pt x="149" y="163"/>
                  </a:moveTo>
                  <a:cubicBezTo>
                    <a:pt x="151" y="162"/>
                    <a:pt x="154" y="160"/>
                    <a:pt x="151" y="159"/>
                  </a:cubicBezTo>
                  <a:cubicBezTo>
                    <a:pt x="149" y="159"/>
                    <a:pt x="151" y="160"/>
                    <a:pt x="149" y="160"/>
                  </a:cubicBezTo>
                  <a:cubicBezTo>
                    <a:pt x="146" y="162"/>
                    <a:pt x="144" y="162"/>
                    <a:pt x="148" y="163"/>
                  </a:cubicBezTo>
                  <a:cubicBezTo>
                    <a:pt x="148" y="163"/>
                    <a:pt x="149" y="165"/>
                    <a:pt x="149" y="163"/>
                  </a:cubicBezTo>
                  <a:close/>
                  <a:moveTo>
                    <a:pt x="141" y="163"/>
                  </a:moveTo>
                  <a:cubicBezTo>
                    <a:pt x="144" y="162"/>
                    <a:pt x="146" y="163"/>
                    <a:pt x="146" y="163"/>
                  </a:cubicBezTo>
                  <a:cubicBezTo>
                    <a:pt x="148" y="165"/>
                    <a:pt x="140" y="165"/>
                    <a:pt x="141" y="163"/>
                  </a:cubicBezTo>
                  <a:close/>
                  <a:moveTo>
                    <a:pt x="144" y="160"/>
                  </a:moveTo>
                  <a:cubicBezTo>
                    <a:pt x="146" y="160"/>
                    <a:pt x="146" y="160"/>
                    <a:pt x="149" y="159"/>
                  </a:cubicBezTo>
                  <a:cubicBezTo>
                    <a:pt x="152" y="155"/>
                    <a:pt x="151" y="155"/>
                    <a:pt x="148" y="155"/>
                  </a:cubicBezTo>
                  <a:cubicBezTo>
                    <a:pt x="146" y="157"/>
                    <a:pt x="149" y="157"/>
                    <a:pt x="148" y="157"/>
                  </a:cubicBezTo>
                  <a:cubicBezTo>
                    <a:pt x="146" y="159"/>
                    <a:pt x="144" y="157"/>
                    <a:pt x="144" y="159"/>
                  </a:cubicBezTo>
                  <a:cubicBezTo>
                    <a:pt x="144" y="160"/>
                    <a:pt x="144" y="157"/>
                    <a:pt x="143" y="159"/>
                  </a:cubicBezTo>
                  <a:cubicBezTo>
                    <a:pt x="140" y="159"/>
                    <a:pt x="137" y="160"/>
                    <a:pt x="140" y="160"/>
                  </a:cubicBezTo>
                  <a:cubicBezTo>
                    <a:pt x="141" y="160"/>
                    <a:pt x="138" y="162"/>
                    <a:pt x="141" y="162"/>
                  </a:cubicBezTo>
                  <a:cubicBezTo>
                    <a:pt x="143" y="160"/>
                    <a:pt x="143" y="160"/>
                    <a:pt x="144" y="160"/>
                  </a:cubicBezTo>
                  <a:close/>
                  <a:moveTo>
                    <a:pt x="128" y="168"/>
                  </a:moveTo>
                  <a:cubicBezTo>
                    <a:pt x="129" y="168"/>
                    <a:pt x="129" y="168"/>
                    <a:pt x="129" y="166"/>
                  </a:cubicBezTo>
                  <a:cubicBezTo>
                    <a:pt x="129" y="165"/>
                    <a:pt x="129" y="163"/>
                    <a:pt x="126" y="165"/>
                  </a:cubicBezTo>
                  <a:cubicBezTo>
                    <a:pt x="125" y="166"/>
                    <a:pt x="125" y="166"/>
                    <a:pt x="128" y="168"/>
                  </a:cubicBezTo>
                  <a:close/>
                  <a:moveTo>
                    <a:pt x="122" y="165"/>
                  </a:moveTo>
                  <a:cubicBezTo>
                    <a:pt x="120" y="165"/>
                    <a:pt x="120" y="163"/>
                    <a:pt x="120" y="165"/>
                  </a:cubicBezTo>
                  <a:cubicBezTo>
                    <a:pt x="119" y="166"/>
                    <a:pt x="122" y="168"/>
                    <a:pt x="123" y="166"/>
                  </a:cubicBezTo>
                  <a:cubicBezTo>
                    <a:pt x="125" y="166"/>
                    <a:pt x="123" y="166"/>
                    <a:pt x="122" y="165"/>
                  </a:cubicBezTo>
                  <a:close/>
                  <a:moveTo>
                    <a:pt x="154" y="154"/>
                  </a:moveTo>
                  <a:cubicBezTo>
                    <a:pt x="155" y="154"/>
                    <a:pt x="155" y="154"/>
                    <a:pt x="155" y="154"/>
                  </a:cubicBezTo>
                  <a:cubicBezTo>
                    <a:pt x="157" y="155"/>
                    <a:pt x="155" y="155"/>
                    <a:pt x="154" y="154"/>
                  </a:cubicBezTo>
                  <a:close/>
                  <a:moveTo>
                    <a:pt x="128" y="169"/>
                  </a:moveTo>
                  <a:cubicBezTo>
                    <a:pt x="129" y="169"/>
                    <a:pt x="128" y="171"/>
                    <a:pt x="128" y="171"/>
                  </a:cubicBezTo>
                  <a:cubicBezTo>
                    <a:pt x="126" y="171"/>
                    <a:pt x="128" y="168"/>
                    <a:pt x="128" y="169"/>
                  </a:cubicBezTo>
                  <a:close/>
                  <a:moveTo>
                    <a:pt x="129" y="168"/>
                  </a:moveTo>
                  <a:cubicBezTo>
                    <a:pt x="129" y="166"/>
                    <a:pt x="132" y="168"/>
                    <a:pt x="131" y="169"/>
                  </a:cubicBezTo>
                  <a:cubicBezTo>
                    <a:pt x="129" y="169"/>
                    <a:pt x="129" y="169"/>
                    <a:pt x="129" y="168"/>
                  </a:cubicBezTo>
                  <a:close/>
                  <a:moveTo>
                    <a:pt x="119" y="169"/>
                  </a:moveTo>
                  <a:cubicBezTo>
                    <a:pt x="120" y="168"/>
                    <a:pt x="122" y="168"/>
                    <a:pt x="122" y="168"/>
                  </a:cubicBezTo>
                  <a:cubicBezTo>
                    <a:pt x="122" y="169"/>
                    <a:pt x="119" y="171"/>
                    <a:pt x="119" y="169"/>
                  </a:cubicBezTo>
                  <a:close/>
                  <a:moveTo>
                    <a:pt x="119" y="169"/>
                  </a:moveTo>
                  <a:cubicBezTo>
                    <a:pt x="120" y="168"/>
                    <a:pt x="120" y="168"/>
                    <a:pt x="120" y="168"/>
                  </a:cubicBezTo>
                  <a:cubicBezTo>
                    <a:pt x="119" y="168"/>
                    <a:pt x="119" y="168"/>
                    <a:pt x="117" y="168"/>
                  </a:cubicBezTo>
                  <a:cubicBezTo>
                    <a:pt x="116" y="166"/>
                    <a:pt x="116" y="168"/>
                    <a:pt x="116" y="168"/>
                  </a:cubicBezTo>
                  <a:cubicBezTo>
                    <a:pt x="114" y="168"/>
                    <a:pt x="114" y="168"/>
                    <a:pt x="112" y="169"/>
                  </a:cubicBezTo>
                  <a:cubicBezTo>
                    <a:pt x="112" y="169"/>
                    <a:pt x="114" y="169"/>
                    <a:pt x="116" y="171"/>
                  </a:cubicBezTo>
                  <a:cubicBezTo>
                    <a:pt x="117" y="171"/>
                    <a:pt x="117" y="171"/>
                    <a:pt x="119" y="169"/>
                  </a:cubicBezTo>
                  <a:close/>
                  <a:moveTo>
                    <a:pt x="116" y="166"/>
                  </a:moveTo>
                  <a:cubicBezTo>
                    <a:pt x="114" y="166"/>
                    <a:pt x="116" y="165"/>
                    <a:pt x="117" y="165"/>
                  </a:cubicBezTo>
                  <a:cubicBezTo>
                    <a:pt x="117" y="165"/>
                    <a:pt x="117" y="166"/>
                    <a:pt x="116" y="166"/>
                  </a:cubicBezTo>
                  <a:close/>
                  <a:moveTo>
                    <a:pt x="114" y="166"/>
                  </a:moveTo>
                  <a:cubicBezTo>
                    <a:pt x="114" y="166"/>
                    <a:pt x="114" y="166"/>
                    <a:pt x="112" y="166"/>
                  </a:cubicBezTo>
                  <a:cubicBezTo>
                    <a:pt x="112" y="166"/>
                    <a:pt x="112" y="166"/>
                    <a:pt x="112" y="168"/>
                  </a:cubicBezTo>
                  <a:cubicBezTo>
                    <a:pt x="112" y="169"/>
                    <a:pt x="114" y="166"/>
                    <a:pt x="114" y="166"/>
                  </a:cubicBezTo>
                  <a:close/>
                  <a:moveTo>
                    <a:pt x="112" y="174"/>
                  </a:moveTo>
                  <a:cubicBezTo>
                    <a:pt x="112" y="172"/>
                    <a:pt x="117" y="172"/>
                    <a:pt x="114" y="171"/>
                  </a:cubicBezTo>
                  <a:cubicBezTo>
                    <a:pt x="111" y="169"/>
                    <a:pt x="112" y="171"/>
                    <a:pt x="112" y="171"/>
                  </a:cubicBezTo>
                  <a:cubicBezTo>
                    <a:pt x="111" y="171"/>
                    <a:pt x="111" y="172"/>
                    <a:pt x="111" y="171"/>
                  </a:cubicBezTo>
                  <a:cubicBezTo>
                    <a:pt x="109" y="171"/>
                    <a:pt x="109" y="171"/>
                    <a:pt x="109" y="172"/>
                  </a:cubicBezTo>
                  <a:cubicBezTo>
                    <a:pt x="108" y="174"/>
                    <a:pt x="108" y="172"/>
                    <a:pt x="106" y="174"/>
                  </a:cubicBezTo>
                  <a:cubicBezTo>
                    <a:pt x="106" y="174"/>
                    <a:pt x="106" y="174"/>
                    <a:pt x="111" y="174"/>
                  </a:cubicBezTo>
                  <a:cubicBezTo>
                    <a:pt x="112" y="174"/>
                    <a:pt x="112" y="174"/>
                    <a:pt x="112" y="174"/>
                  </a:cubicBezTo>
                  <a:close/>
                  <a:moveTo>
                    <a:pt x="106" y="179"/>
                  </a:moveTo>
                  <a:cubicBezTo>
                    <a:pt x="105" y="177"/>
                    <a:pt x="106" y="177"/>
                    <a:pt x="106" y="177"/>
                  </a:cubicBezTo>
                  <a:cubicBezTo>
                    <a:pt x="106" y="176"/>
                    <a:pt x="108" y="174"/>
                    <a:pt x="106" y="176"/>
                  </a:cubicBezTo>
                  <a:cubicBezTo>
                    <a:pt x="106" y="176"/>
                    <a:pt x="106" y="174"/>
                    <a:pt x="105" y="174"/>
                  </a:cubicBezTo>
                  <a:cubicBezTo>
                    <a:pt x="105" y="176"/>
                    <a:pt x="105" y="172"/>
                    <a:pt x="103" y="174"/>
                  </a:cubicBezTo>
                  <a:cubicBezTo>
                    <a:pt x="103" y="176"/>
                    <a:pt x="102" y="174"/>
                    <a:pt x="102" y="174"/>
                  </a:cubicBezTo>
                  <a:cubicBezTo>
                    <a:pt x="102" y="176"/>
                    <a:pt x="102" y="174"/>
                    <a:pt x="100" y="176"/>
                  </a:cubicBezTo>
                  <a:cubicBezTo>
                    <a:pt x="99" y="176"/>
                    <a:pt x="102" y="176"/>
                    <a:pt x="102" y="177"/>
                  </a:cubicBezTo>
                  <a:cubicBezTo>
                    <a:pt x="102" y="177"/>
                    <a:pt x="97" y="177"/>
                    <a:pt x="99" y="177"/>
                  </a:cubicBezTo>
                  <a:cubicBezTo>
                    <a:pt x="100" y="179"/>
                    <a:pt x="97" y="177"/>
                    <a:pt x="99" y="179"/>
                  </a:cubicBezTo>
                  <a:cubicBezTo>
                    <a:pt x="99" y="179"/>
                    <a:pt x="97" y="179"/>
                    <a:pt x="99" y="180"/>
                  </a:cubicBezTo>
                  <a:cubicBezTo>
                    <a:pt x="99" y="180"/>
                    <a:pt x="96" y="182"/>
                    <a:pt x="99" y="182"/>
                  </a:cubicBezTo>
                  <a:cubicBezTo>
                    <a:pt x="100" y="182"/>
                    <a:pt x="99" y="183"/>
                    <a:pt x="100" y="182"/>
                  </a:cubicBezTo>
                  <a:cubicBezTo>
                    <a:pt x="102" y="182"/>
                    <a:pt x="102" y="180"/>
                    <a:pt x="102" y="180"/>
                  </a:cubicBezTo>
                  <a:cubicBezTo>
                    <a:pt x="103" y="180"/>
                    <a:pt x="102" y="182"/>
                    <a:pt x="105" y="180"/>
                  </a:cubicBezTo>
                  <a:cubicBezTo>
                    <a:pt x="106" y="180"/>
                    <a:pt x="106" y="180"/>
                    <a:pt x="106" y="179"/>
                  </a:cubicBezTo>
                  <a:close/>
                  <a:moveTo>
                    <a:pt x="100" y="185"/>
                  </a:moveTo>
                  <a:cubicBezTo>
                    <a:pt x="99" y="183"/>
                    <a:pt x="100" y="183"/>
                    <a:pt x="102" y="183"/>
                  </a:cubicBezTo>
                  <a:cubicBezTo>
                    <a:pt x="102" y="185"/>
                    <a:pt x="100" y="185"/>
                    <a:pt x="100" y="185"/>
                  </a:cubicBezTo>
                  <a:close/>
                  <a:moveTo>
                    <a:pt x="97" y="186"/>
                  </a:moveTo>
                  <a:cubicBezTo>
                    <a:pt x="97" y="185"/>
                    <a:pt x="100" y="186"/>
                    <a:pt x="99" y="186"/>
                  </a:cubicBezTo>
                  <a:cubicBezTo>
                    <a:pt x="97" y="186"/>
                    <a:pt x="96" y="186"/>
                    <a:pt x="97" y="186"/>
                  </a:cubicBezTo>
                  <a:close/>
                  <a:moveTo>
                    <a:pt x="82" y="199"/>
                  </a:moveTo>
                  <a:cubicBezTo>
                    <a:pt x="82" y="199"/>
                    <a:pt x="82" y="197"/>
                    <a:pt x="84" y="197"/>
                  </a:cubicBezTo>
                  <a:cubicBezTo>
                    <a:pt x="84" y="197"/>
                    <a:pt x="84" y="197"/>
                    <a:pt x="82" y="199"/>
                  </a:cubicBezTo>
                  <a:close/>
                  <a:moveTo>
                    <a:pt x="82" y="193"/>
                  </a:moveTo>
                  <a:cubicBezTo>
                    <a:pt x="84" y="191"/>
                    <a:pt x="82" y="191"/>
                    <a:pt x="82" y="191"/>
                  </a:cubicBezTo>
                  <a:cubicBezTo>
                    <a:pt x="82" y="191"/>
                    <a:pt x="80" y="191"/>
                    <a:pt x="79" y="191"/>
                  </a:cubicBezTo>
                  <a:cubicBezTo>
                    <a:pt x="77" y="191"/>
                    <a:pt x="79" y="193"/>
                    <a:pt x="77" y="193"/>
                  </a:cubicBezTo>
                  <a:cubicBezTo>
                    <a:pt x="76" y="193"/>
                    <a:pt x="77" y="193"/>
                    <a:pt x="76" y="194"/>
                  </a:cubicBezTo>
                  <a:cubicBezTo>
                    <a:pt x="76" y="194"/>
                    <a:pt x="76" y="196"/>
                    <a:pt x="79" y="194"/>
                  </a:cubicBezTo>
                  <a:cubicBezTo>
                    <a:pt x="79" y="194"/>
                    <a:pt x="80" y="194"/>
                    <a:pt x="82" y="193"/>
                  </a:cubicBezTo>
                  <a:close/>
                  <a:moveTo>
                    <a:pt x="85" y="188"/>
                  </a:moveTo>
                  <a:cubicBezTo>
                    <a:pt x="87" y="188"/>
                    <a:pt x="84" y="186"/>
                    <a:pt x="85" y="186"/>
                  </a:cubicBezTo>
                  <a:cubicBezTo>
                    <a:pt x="87" y="185"/>
                    <a:pt x="84" y="182"/>
                    <a:pt x="84" y="183"/>
                  </a:cubicBezTo>
                  <a:cubicBezTo>
                    <a:pt x="82" y="183"/>
                    <a:pt x="84" y="185"/>
                    <a:pt x="82" y="185"/>
                  </a:cubicBezTo>
                  <a:cubicBezTo>
                    <a:pt x="80" y="185"/>
                    <a:pt x="82" y="186"/>
                    <a:pt x="80" y="186"/>
                  </a:cubicBezTo>
                  <a:cubicBezTo>
                    <a:pt x="79" y="186"/>
                    <a:pt x="80" y="185"/>
                    <a:pt x="79" y="185"/>
                  </a:cubicBezTo>
                  <a:cubicBezTo>
                    <a:pt x="79" y="186"/>
                    <a:pt x="77" y="185"/>
                    <a:pt x="77" y="186"/>
                  </a:cubicBezTo>
                  <a:cubicBezTo>
                    <a:pt x="77" y="186"/>
                    <a:pt x="76" y="188"/>
                    <a:pt x="77" y="188"/>
                  </a:cubicBezTo>
                  <a:cubicBezTo>
                    <a:pt x="79" y="190"/>
                    <a:pt x="79" y="188"/>
                    <a:pt x="82" y="186"/>
                  </a:cubicBezTo>
                  <a:cubicBezTo>
                    <a:pt x="85" y="186"/>
                    <a:pt x="79" y="188"/>
                    <a:pt x="80" y="190"/>
                  </a:cubicBezTo>
                  <a:cubicBezTo>
                    <a:pt x="82" y="190"/>
                    <a:pt x="84" y="188"/>
                    <a:pt x="85" y="188"/>
                  </a:cubicBezTo>
                  <a:close/>
                  <a:moveTo>
                    <a:pt x="87" y="185"/>
                  </a:moveTo>
                  <a:cubicBezTo>
                    <a:pt x="87" y="185"/>
                    <a:pt x="87" y="183"/>
                    <a:pt x="88" y="183"/>
                  </a:cubicBezTo>
                  <a:cubicBezTo>
                    <a:pt x="90" y="183"/>
                    <a:pt x="90" y="182"/>
                    <a:pt x="91" y="180"/>
                  </a:cubicBezTo>
                  <a:cubicBezTo>
                    <a:pt x="91" y="179"/>
                    <a:pt x="91" y="177"/>
                    <a:pt x="90" y="179"/>
                  </a:cubicBezTo>
                  <a:cubicBezTo>
                    <a:pt x="88" y="180"/>
                    <a:pt x="87" y="180"/>
                    <a:pt x="87" y="183"/>
                  </a:cubicBezTo>
                  <a:cubicBezTo>
                    <a:pt x="85" y="183"/>
                    <a:pt x="85" y="183"/>
                    <a:pt x="87" y="185"/>
                  </a:cubicBezTo>
                  <a:close/>
                  <a:moveTo>
                    <a:pt x="93" y="183"/>
                  </a:moveTo>
                  <a:cubicBezTo>
                    <a:pt x="96" y="183"/>
                    <a:pt x="96" y="183"/>
                    <a:pt x="96" y="183"/>
                  </a:cubicBezTo>
                  <a:cubicBezTo>
                    <a:pt x="94" y="185"/>
                    <a:pt x="93" y="183"/>
                    <a:pt x="93" y="183"/>
                  </a:cubicBezTo>
                  <a:close/>
                  <a:moveTo>
                    <a:pt x="91" y="185"/>
                  </a:moveTo>
                  <a:cubicBezTo>
                    <a:pt x="91" y="185"/>
                    <a:pt x="93" y="186"/>
                    <a:pt x="90" y="188"/>
                  </a:cubicBezTo>
                  <a:cubicBezTo>
                    <a:pt x="88" y="190"/>
                    <a:pt x="91" y="186"/>
                    <a:pt x="90" y="186"/>
                  </a:cubicBezTo>
                  <a:cubicBezTo>
                    <a:pt x="88" y="186"/>
                    <a:pt x="91" y="185"/>
                    <a:pt x="90" y="183"/>
                  </a:cubicBezTo>
                  <a:cubicBezTo>
                    <a:pt x="88" y="183"/>
                    <a:pt x="87" y="185"/>
                    <a:pt x="87" y="186"/>
                  </a:cubicBezTo>
                  <a:cubicBezTo>
                    <a:pt x="85" y="188"/>
                    <a:pt x="88" y="190"/>
                    <a:pt x="85" y="190"/>
                  </a:cubicBezTo>
                  <a:cubicBezTo>
                    <a:pt x="84" y="190"/>
                    <a:pt x="85" y="190"/>
                    <a:pt x="84" y="193"/>
                  </a:cubicBezTo>
                  <a:cubicBezTo>
                    <a:pt x="82" y="194"/>
                    <a:pt x="85" y="191"/>
                    <a:pt x="87" y="193"/>
                  </a:cubicBezTo>
                  <a:cubicBezTo>
                    <a:pt x="88" y="194"/>
                    <a:pt x="88" y="191"/>
                    <a:pt x="88" y="191"/>
                  </a:cubicBezTo>
                  <a:cubicBezTo>
                    <a:pt x="90" y="193"/>
                    <a:pt x="90" y="193"/>
                    <a:pt x="90" y="191"/>
                  </a:cubicBezTo>
                  <a:cubicBezTo>
                    <a:pt x="91" y="190"/>
                    <a:pt x="91" y="190"/>
                    <a:pt x="93" y="190"/>
                  </a:cubicBezTo>
                  <a:cubicBezTo>
                    <a:pt x="96" y="188"/>
                    <a:pt x="94" y="185"/>
                    <a:pt x="93" y="185"/>
                  </a:cubicBezTo>
                  <a:cubicBezTo>
                    <a:pt x="93" y="183"/>
                    <a:pt x="93" y="183"/>
                    <a:pt x="91" y="185"/>
                  </a:cubicBezTo>
                  <a:close/>
                  <a:moveTo>
                    <a:pt x="91" y="191"/>
                  </a:moveTo>
                  <a:cubicBezTo>
                    <a:pt x="93" y="190"/>
                    <a:pt x="94" y="190"/>
                    <a:pt x="94" y="190"/>
                  </a:cubicBezTo>
                  <a:cubicBezTo>
                    <a:pt x="93" y="191"/>
                    <a:pt x="91" y="193"/>
                    <a:pt x="91" y="191"/>
                  </a:cubicBezTo>
                  <a:close/>
                  <a:moveTo>
                    <a:pt x="117" y="166"/>
                  </a:moveTo>
                  <a:cubicBezTo>
                    <a:pt x="119" y="165"/>
                    <a:pt x="120" y="166"/>
                    <a:pt x="120" y="166"/>
                  </a:cubicBezTo>
                  <a:cubicBezTo>
                    <a:pt x="119" y="166"/>
                    <a:pt x="117" y="166"/>
                    <a:pt x="117" y="166"/>
                  </a:cubicBezTo>
                  <a:close/>
                  <a:moveTo>
                    <a:pt x="74" y="193"/>
                  </a:moveTo>
                  <a:cubicBezTo>
                    <a:pt x="76" y="193"/>
                    <a:pt x="76" y="193"/>
                    <a:pt x="76" y="193"/>
                  </a:cubicBezTo>
                  <a:cubicBezTo>
                    <a:pt x="76" y="194"/>
                    <a:pt x="74" y="193"/>
                    <a:pt x="74" y="193"/>
                  </a:cubicBezTo>
                  <a:close/>
                  <a:moveTo>
                    <a:pt x="70" y="196"/>
                  </a:moveTo>
                  <a:cubicBezTo>
                    <a:pt x="70" y="196"/>
                    <a:pt x="70" y="197"/>
                    <a:pt x="71" y="196"/>
                  </a:cubicBezTo>
                  <a:cubicBezTo>
                    <a:pt x="71" y="196"/>
                    <a:pt x="71" y="196"/>
                    <a:pt x="73" y="196"/>
                  </a:cubicBezTo>
                  <a:cubicBezTo>
                    <a:pt x="73" y="196"/>
                    <a:pt x="73" y="194"/>
                    <a:pt x="74" y="194"/>
                  </a:cubicBezTo>
                  <a:cubicBezTo>
                    <a:pt x="76" y="194"/>
                    <a:pt x="74" y="194"/>
                    <a:pt x="73" y="193"/>
                  </a:cubicBezTo>
                  <a:cubicBezTo>
                    <a:pt x="71" y="193"/>
                    <a:pt x="71" y="193"/>
                    <a:pt x="70" y="194"/>
                  </a:cubicBezTo>
                  <a:cubicBezTo>
                    <a:pt x="70" y="196"/>
                    <a:pt x="71" y="196"/>
                    <a:pt x="70" y="196"/>
                  </a:cubicBezTo>
                  <a:close/>
                  <a:moveTo>
                    <a:pt x="70" y="196"/>
                  </a:moveTo>
                  <a:cubicBezTo>
                    <a:pt x="71" y="196"/>
                    <a:pt x="68" y="194"/>
                    <a:pt x="68" y="196"/>
                  </a:cubicBezTo>
                  <a:cubicBezTo>
                    <a:pt x="68" y="197"/>
                    <a:pt x="68" y="196"/>
                    <a:pt x="68" y="197"/>
                  </a:cubicBezTo>
                  <a:cubicBezTo>
                    <a:pt x="68" y="197"/>
                    <a:pt x="68" y="197"/>
                    <a:pt x="70" y="196"/>
                  </a:cubicBezTo>
                  <a:close/>
                  <a:moveTo>
                    <a:pt x="65" y="197"/>
                  </a:moveTo>
                  <a:cubicBezTo>
                    <a:pt x="65" y="200"/>
                    <a:pt x="65" y="200"/>
                    <a:pt x="67" y="199"/>
                  </a:cubicBezTo>
                  <a:cubicBezTo>
                    <a:pt x="67" y="197"/>
                    <a:pt x="67" y="197"/>
                    <a:pt x="67" y="196"/>
                  </a:cubicBezTo>
                  <a:cubicBezTo>
                    <a:pt x="67" y="196"/>
                    <a:pt x="67" y="196"/>
                    <a:pt x="65" y="197"/>
                  </a:cubicBezTo>
                  <a:close/>
                  <a:moveTo>
                    <a:pt x="87" y="197"/>
                  </a:moveTo>
                  <a:cubicBezTo>
                    <a:pt x="88" y="197"/>
                    <a:pt x="88" y="197"/>
                    <a:pt x="88" y="197"/>
                  </a:cubicBezTo>
                  <a:cubicBezTo>
                    <a:pt x="90" y="197"/>
                    <a:pt x="87" y="197"/>
                    <a:pt x="87" y="197"/>
                  </a:cubicBezTo>
                  <a:close/>
                  <a:moveTo>
                    <a:pt x="64" y="224"/>
                  </a:moveTo>
                  <a:cubicBezTo>
                    <a:pt x="64" y="222"/>
                    <a:pt x="62" y="222"/>
                    <a:pt x="62" y="222"/>
                  </a:cubicBezTo>
                  <a:cubicBezTo>
                    <a:pt x="62" y="224"/>
                    <a:pt x="61" y="225"/>
                    <a:pt x="62" y="225"/>
                  </a:cubicBezTo>
                  <a:cubicBezTo>
                    <a:pt x="62" y="224"/>
                    <a:pt x="64" y="225"/>
                    <a:pt x="64" y="224"/>
                  </a:cubicBezTo>
                  <a:close/>
                  <a:moveTo>
                    <a:pt x="64" y="227"/>
                  </a:moveTo>
                  <a:cubicBezTo>
                    <a:pt x="65" y="225"/>
                    <a:pt x="65" y="225"/>
                    <a:pt x="64" y="225"/>
                  </a:cubicBezTo>
                  <a:cubicBezTo>
                    <a:pt x="64" y="225"/>
                    <a:pt x="62" y="225"/>
                    <a:pt x="62" y="227"/>
                  </a:cubicBezTo>
                  <a:cubicBezTo>
                    <a:pt x="62" y="227"/>
                    <a:pt x="62" y="227"/>
                    <a:pt x="64" y="227"/>
                  </a:cubicBezTo>
                  <a:close/>
                  <a:moveTo>
                    <a:pt x="59" y="235"/>
                  </a:moveTo>
                  <a:cubicBezTo>
                    <a:pt x="59" y="236"/>
                    <a:pt x="58" y="236"/>
                    <a:pt x="59" y="236"/>
                  </a:cubicBezTo>
                  <a:cubicBezTo>
                    <a:pt x="61" y="236"/>
                    <a:pt x="59" y="235"/>
                    <a:pt x="61" y="235"/>
                  </a:cubicBezTo>
                  <a:cubicBezTo>
                    <a:pt x="62" y="235"/>
                    <a:pt x="62" y="235"/>
                    <a:pt x="62" y="233"/>
                  </a:cubicBezTo>
                  <a:cubicBezTo>
                    <a:pt x="61" y="231"/>
                    <a:pt x="61" y="231"/>
                    <a:pt x="61" y="233"/>
                  </a:cubicBezTo>
                  <a:cubicBezTo>
                    <a:pt x="61" y="233"/>
                    <a:pt x="59" y="233"/>
                    <a:pt x="59" y="235"/>
                  </a:cubicBezTo>
                  <a:close/>
                  <a:moveTo>
                    <a:pt x="56" y="230"/>
                  </a:moveTo>
                  <a:cubicBezTo>
                    <a:pt x="56" y="230"/>
                    <a:pt x="58" y="228"/>
                    <a:pt x="59" y="230"/>
                  </a:cubicBezTo>
                  <a:cubicBezTo>
                    <a:pt x="59" y="230"/>
                    <a:pt x="56" y="231"/>
                    <a:pt x="56" y="230"/>
                  </a:cubicBezTo>
                  <a:close/>
                  <a:moveTo>
                    <a:pt x="59" y="238"/>
                  </a:moveTo>
                  <a:cubicBezTo>
                    <a:pt x="58" y="238"/>
                    <a:pt x="59" y="238"/>
                    <a:pt x="61" y="238"/>
                  </a:cubicBezTo>
                  <a:cubicBezTo>
                    <a:pt x="62" y="236"/>
                    <a:pt x="61" y="236"/>
                    <a:pt x="59" y="236"/>
                  </a:cubicBezTo>
                  <a:cubicBezTo>
                    <a:pt x="59" y="238"/>
                    <a:pt x="59" y="236"/>
                    <a:pt x="59" y="238"/>
                  </a:cubicBezTo>
                  <a:close/>
                  <a:moveTo>
                    <a:pt x="55" y="238"/>
                  </a:moveTo>
                  <a:cubicBezTo>
                    <a:pt x="56" y="238"/>
                    <a:pt x="58" y="238"/>
                    <a:pt x="58" y="238"/>
                  </a:cubicBezTo>
                  <a:cubicBezTo>
                    <a:pt x="56" y="238"/>
                    <a:pt x="55" y="238"/>
                    <a:pt x="55" y="238"/>
                  </a:cubicBezTo>
                  <a:close/>
                  <a:moveTo>
                    <a:pt x="53" y="245"/>
                  </a:moveTo>
                  <a:cubicBezTo>
                    <a:pt x="55" y="245"/>
                    <a:pt x="55" y="245"/>
                    <a:pt x="53" y="245"/>
                  </a:cubicBezTo>
                  <a:cubicBezTo>
                    <a:pt x="53" y="245"/>
                    <a:pt x="53" y="244"/>
                    <a:pt x="52" y="244"/>
                  </a:cubicBezTo>
                  <a:cubicBezTo>
                    <a:pt x="52" y="245"/>
                    <a:pt x="52" y="245"/>
                    <a:pt x="53" y="245"/>
                  </a:cubicBezTo>
                  <a:close/>
                  <a:moveTo>
                    <a:pt x="53" y="244"/>
                  </a:moveTo>
                  <a:cubicBezTo>
                    <a:pt x="53" y="244"/>
                    <a:pt x="55" y="244"/>
                    <a:pt x="53" y="244"/>
                  </a:cubicBezTo>
                  <a:cubicBezTo>
                    <a:pt x="53" y="244"/>
                    <a:pt x="52" y="242"/>
                    <a:pt x="53" y="244"/>
                  </a:cubicBezTo>
                  <a:close/>
                  <a:moveTo>
                    <a:pt x="50" y="244"/>
                  </a:moveTo>
                  <a:cubicBezTo>
                    <a:pt x="52" y="242"/>
                    <a:pt x="52" y="244"/>
                    <a:pt x="52" y="244"/>
                  </a:cubicBezTo>
                  <a:cubicBezTo>
                    <a:pt x="50" y="244"/>
                    <a:pt x="50" y="244"/>
                    <a:pt x="50" y="244"/>
                  </a:cubicBezTo>
                  <a:close/>
                  <a:moveTo>
                    <a:pt x="64" y="222"/>
                  </a:moveTo>
                  <a:cubicBezTo>
                    <a:pt x="65" y="221"/>
                    <a:pt x="65" y="221"/>
                    <a:pt x="65" y="221"/>
                  </a:cubicBezTo>
                  <a:cubicBezTo>
                    <a:pt x="67" y="222"/>
                    <a:pt x="65" y="222"/>
                    <a:pt x="64" y="222"/>
                  </a:cubicBezTo>
                  <a:close/>
                  <a:moveTo>
                    <a:pt x="26" y="261"/>
                  </a:moveTo>
                  <a:cubicBezTo>
                    <a:pt x="24" y="261"/>
                    <a:pt x="29" y="259"/>
                    <a:pt x="29" y="261"/>
                  </a:cubicBezTo>
                  <a:cubicBezTo>
                    <a:pt x="29" y="261"/>
                    <a:pt x="27" y="262"/>
                    <a:pt x="26" y="261"/>
                  </a:cubicBezTo>
                  <a:close/>
                  <a:moveTo>
                    <a:pt x="33" y="256"/>
                  </a:moveTo>
                  <a:cubicBezTo>
                    <a:pt x="35" y="256"/>
                    <a:pt x="33" y="255"/>
                    <a:pt x="33" y="255"/>
                  </a:cubicBezTo>
                  <a:cubicBezTo>
                    <a:pt x="32" y="256"/>
                    <a:pt x="29" y="256"/>
                    <a:pt x="29" y="258"/>
                  </a:cubicBezTo>
                  <a:cubicBezTo>
                    <a:pt x="30" y="258"/>
                    <a:pt x="32" y="258"/>
                    <a:pt x="33" y="256"/>
                  </a:cubicBezTo>
                  <a:close/>
                  <a:moveTo>
                    <a:pt x="32" y="259"/>
                  </a:moveTo>
                  <a:cubicBezTo>
                    <a:pt x="35" y="259"/>
                    <a:pt x="36" y="259"/>
                    <a:pt x="36" y="259"/>
                  </a:cubicBezTo>
                  <a:cubicBezTo>
                    <a:pt x="36" y="258"/>
                    <a:pt x="35" y="259"/>
                    <a:pt x="35" y="258"/>
                  </a:cubicBezTo>
                  <a:cubicBezTo>
                    <a:pt x="35" y="256"/>
                    <a:pt x="32" y="258"/>
                    <a:pt x="32" y="258"/>
                  </a:cubicBezTo>
                  <a:cubicBezTo>
                    <a:pt x="30" y="259"/>
                    <a:pt x="29" y="259"/>
                    <a:pt x="29" y="259"/>
                  </a:cubicBezTo>
                  <a:cubicBezTo>
                    <a:pt x="29" y="261"/>
                    <a:pt x="30" y="261"/>
                    <a:pt x="32" y="259"/>
                  </a:cubicBezTo>
                  <a:close/>
                  <a:moveTo>
                    <a:pt x="27" y="264"/>
                  </a:moveTo>
                  <a:cubicBezTo>
                    <a:pt x="26" y="262"/>
                    <a:pt x="27" y="262"/>
                    <a:pt x="29" y="264"/>
                  </a:cubicBezTo>
                  <a:cubicBezTo>
                    <a:pt x="27" y="264"/>
                    <a:pt x="27" y="264"/>
                    <a:pt x="27" y="264"/>
                  </a:cubicBezTo>
                  <a:close/>
                  <a:moveTo>
                    <a:pt x="24" y="266"/>
                  </a:moveTo>
                  <a:cubicBezTo>
                    <a:pt x="26" y="266"/>
                    <a:pt x="24" y="264"/>
                    <a:pt x="24" y="266"/>
                  </a:cubicBezTo>
                  <a:cubicBezTo>
                    <a:pt x="23" y="266"/>
                    <a:pt x="23" y="264"/>
                    <a:pt x="23" y="266"/>
                  </a:cubicBezTo>
                  <a:cubicBezTo>
                    <a:pt x="21" y="267"/>
                    <a:pt x="24" y="267"/>
                    <a:pt x="24" y="266"/>
                  </a:cubicBezTo>
                  <a:close/>
                  <a:moveTo>
                    <a:pt x="17" y="270"/>
                  </a:moveTo>
                  <a:cubicBezTo>
                    <a:pt x="15" y="270"/>
                    <a:pt x="18" y="269"/>
                    <a:pt x="18" y="270"/>
                  </a:cubicBezTo>
                  <a:cubicBezTo>
                    <a:pt x="17" y="270"/>
                    <a:pt x="17" y="270"/>
                    <a:pt x="17" y="270"/>
                  </a:cubicBezTo>
                  <a:close/>
                  <a:moveTo>
                    <a:pt x="10" y="273"/>
                  </a:moveTo>
                  <a:cubicBezTo>
                    <a:pt x="12" y="275"/>
                    <a:pt x="10" y="276"/>
                    <a:pt x="9" y="276"/>
                  </a:cubicBezTo>
                  <a:cubicBezTo>
                    <a:pt x="9" y="275"/>
                    <a:pt x="10" y="273"/>
                    <a:pt x="10" y="273"/>
                  </a:cubicBezTo>
                  <a:close/>
                  <a:moveTo>
                    <a:pt x="7" y="276"/>
                  </a:moveTo>
                  <a:cubicBezTo>
                    <a:pt x="7" y="275"/>
                    <a:pt x="9" y="275"/>
                    <a:pt x="9" y="276"/>
                  </a:cubicBezTo>
                  <a:cubicBezTo>
                    <a:pt x="7" y="276"/>
                    <a:pt x="7" y="276"/>
                    <a:pt x="7" y="276"/>
                  </a:cubicBezTo>
                  <a:close/>
                  <a:moveTo>
                    <a:pt x="1" y="283"/>
                  </a:moveTo>
                  <a:cubicBezTo>
                    <a:pt x="1" y="281"/>
                    <a:pt x="3" y="281"/>
                    <a:pt x="4" y="281"/>
                  </a:cubicBezTo>
                  <a:cubicBezTo>
                    <a:pt x="4" y="281"/>
                    <a:pt x="3" y="283"/>
                    <a:pt x="1" y="283"/>
                  </a:cubicBezTo>
                  <a:close/>
                  <a:moveTo>
                    <a:pt x="1" y="292"/>
                  </a:moveTo>
                  <a:cubicBezTo>
                    <a:pt x="1" y="292"/>
                    <a:pt x="1" y="290"/>
                    <a:pt x="3" y="290"/>
                  </a:cubicBezTo>
                  <a:cubicBezTo>
                    <a:pt x="3" y="290"/>
                    <a:pt x="3" y="292"/>
                    <a:pt x="1" y="292"/>
                  </a:cubicBezTo>
                  <a:close/>
                  <a:moveTo>
                    <a:pt x="6" y="308"/>
                  </a:moveTo>
                  <a:cubicBezTo>
                    <a:pt x="6" y="306"/>
                    <a:pt x="6" y="306"/>
                    <a:pt x="7" y="308"/>
                  </a:cubicBezTo>
                  <a:cubicBezTo>
                    <a:pt x="7" y="308"/>
                    <a:pt x="7" y="306"/>
                    <a:pt x="9" y="306"/>
                  </a:cubicBezTo>
                  <a:cubicBezTo>
                    <a:pt x="9" y="304"/>
                    <a:pt x="6" y="304"/>
                    <a:pt x="6" y="306"/>
                  </a:cubicBezTo>
                  <a:cubicBezTo>
                    <a:pt x="4" y="308"/>
                    <a:pt x="6" y="309"/>
                    <a:pt x="7" y="309"/>
                  </a:cubicBezTo>
                  <a:cubicBezTo>
                    <a:pt x="7" y="309"/>
                    <a:pt x="7" y="308"/>
                    <a:pt x="6" y="308"/>
                  </a:cubicBezTo>
                  <a:close/>
                  <a:moveTo>
                    <a:pt x="4" y="317"/>
                  </a:moveTo>
                  <a:cubicBezTo>
                    <a:pt x="6" y="317"/>
                    <a:pt x="4" y="312"/>
                    <a:pt x="4" y="314"/>
                  </a:cubicBezTo>
                  <a:cubicBezTo>
                    <a:pt x="4" y="315"/>
                    <a:pt x="3" y="317"/>
                    <a:pt x="4" y="317"/>
                  </a:cubicBezTo>
                  <a:close/>
                  <a:moveTo>
                    <a:pt x="4" y="311"/>
                  </a:moveTo>
                  <a:cubicBezTo>
                    <a:pt x="4" y="312"/>
                    <a:pt x="4" y="309"/>
                    <a:pt x="4" y="309"/>
                  </a:cubicBezTo>
                  <a:cubicBezTo>
                    <a:pt x="6" y="309"/>
                    <a:pt x="6" y="311"/>
                    <a:pt x="6" y="309"/>
                  </a:cubicBezTo>
                  <a:cubicBezTo>
                    <a:pt x="6" y="309"/>
                    <a:pt x="6" y="309"/>
                    <a:pt x="4" y="308"/>
                  </a:cubicBezTo>
                  <a:cubicBezTo>
                    <a:pt x="4" y="308"/>
                    <a:pt x="4" y="309"/>
                    <a:pt x="4" y="311"/>
                  </a:cubicBezTo>
                  <a:close/>
                  <a:moveTo>
                    <a:pt x="3" y="303"/>
                  </a:moveTo>
                  <a:cubicBezTo>
                    <a:pt x="3" y="300"/>
                    <a:pt x="3" y="300"/>
                    <a:pt x="3" y="300"/>
                  </a:cubicBezTo>
                  <a:cubicBezTo>
                    <a:pt x="3" y="301"/>
                    <a:pt x="4" y="304"/>
                    <a:pt x="3" y="303"/>
                  </a:cubicBezTo>
                  <a:close/>
                  <a:moveTo>
                    <a:pt x="4" y="300"/>
                  </a:moveTo>
                  <a:cubicBezTo>
                    <a:pt x="4" y="301"/>
                    <a:pt x="3" y="300"/>
                    <a:pt x="3" y="298"/>
                  </a:cubicBezTo>
                  <a:cubicBezTo>
                    <a:pt x="4" y="300"/>
                    <a:pt x="4" y="300"/>
                    <a:pt x="4" y="300"/>
                  </a:cubicBezTo>
                  <a:close/>
                  <a:moveTo>
                    <a:pt x="3" y="298"/>
                  </a:moveTo>
                  <a:cubicBezTo>
                    <a:pt x="4" y="298"/>
                    <a:pt x="3" y="297"/>
                    <a:pt x="3" y="297"/>
                  </a:cubicBezTo>
                  <a:cubicBezTo>
                    <a:pt x="1" y="295"/>
                    <a:pt x="1" y="297"/>
                    <a:pt x="3" y="29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5" name="Freeform 201"/>
            <p:cNvSpPr>
              <a:spLocks noEditPoints="1"/>
            </p:cNvSpPr>
            <p:nvPr/>
          </p:nvSpPr>
          <p:spPr bwMode="auto">
            <a:xfrm>
              <a:off x="5366568" y="2747111"/>
              <a:ext cx="210603" cy="379342"/>
            </a:xfrm>
            <a:custGeom>
              <a:avLst/>
              <a:gdLst/>
              <a:ahLst/>
              <a:cxnLst>
                <a:cxn ang="0">
                  <a:pos x="32" y="78"/>
                </a:cxn>
                <a:cxn ang="0">
                  <a:pos x="29" y="67"/>
                </a:cxn>
                <a:cxn ang="0">
                  <a:pos x="25" y="62"/>
                </a:cxn>
                <a:cxn ang="0">
                  <a:pos x="23" y="64"/>
                </a:cxn>
                <a:cxn ang="0">
                  <a:pos x="23" y="55"/>
                </a:cxn>
                <a:cxn ang="0">
                  <a:pos x="20" y="52"/>
                </a:cxn>
                <a:cxn ang="0">
                  <a:pos x="22" y="44"/>
                </a:cxn>
                <a:cxn ang="0">
                  <a:pos x="25" y="34"/>
                </a:cxn>
                <a:cxn ang="0">
                  <a:pos x="32" y="30"/>
                </a:cxn>
                <a:cxn ang="0">
                  <a:pos x="35" y="39"/>
                </a:cxn>
                <a:cxn ang="0">
                  <a:pos x="52" y="42"/>
                </a:cxn>
                <a:cxn ang="0">
                  <a:pos x="46" y="59"/>
                </a:cxn>
                <a:cxn ang="0">
                  <a:pos x="53" y="67"/>
                </a:cxn>
                <a:cxn ang="0">
                  <a:pos x="67" y="89"/>
                </a:cxn>
                <a:cxn ang="0">
                  <a:pos x="69" y="101"/>
                </a:cxn>
                <a:cxn ang="0">
                  <a:pos x="75" y="114"/>
                </a:cxn>
                <a:cxn ang="0">
                  <a:pos x="79" y="118"/>
                </a:cxn>
                <a:cxn ang="0">
                  <a:pos x="60" y="126"/>
                </a:cxn>
                <a:cxn ang="0">
                  <a:pos x="46" y="128"/>
                </a:cxn>
                <a:cxn ang="0">
                  <a:pos x="28" y="134"/>
                </a:cxn>
                <a:cxn ang="0">
                  <a:pos x="29" y="128"/>
                </a:cxn>
                <a:cxn ang="0">
                  <a:pos x="43" y="121"/>
                </a:cxn>
                <a:cxn ang="0">
                  <a:pos x="38" y="118"/>
                </a:cxn>
                <a:cxn ang="0">
                  <a:pos x="26" y="112"/>
                </a:cxn>
                <a:cxn ang="0">
                  <a:pos x="31" y="101"/>
                </a:cxn>
                <a:cxn ang="0">
                  <a:pos x="40" y="95"/>
                </a:cxn>
                <a:cxn ang="0">
                  <a:pos x="44" y="90"/>
                </a:cxn>
                <a:cxn ang="0">
                  <a:pos x="40" y="78"/>
                </a:cxn>
                <a:cxn ang="0">
                  <a:pos x="23" y="83"/>
                </a:cxn>
                <a:cxn ang="0">
                  <a:pos x="23" y="78"/>
                </a:cxn>
                <a:cxn ang="0">
                  <a:pos x="14" y="72"/>
                </a:cxn>
                <a:cxn ang="0">
                  <a:pos x="11" y="84"/>
                </a:cxn>
                <a:cxn ang="0">
                  <a:pos x="22" y="84"/>
                </a:cxn>
                <a:cxn ang="0">
                  <a:pos x="31" y="95"/>
                </a:cxn>
                <a:cxn ang="0">
                  <a:pos x="25" y="66"/>
                </a:cxn>
                <a:cxn ang="0">
                  <a:pos x="55" y="128"/>
                </a:cxn>
                <a:cxn ang="0">
                  <a:pos x="13" y="38"/>
                </a:cxn>
                <a:cxn ang="0">
                  <a:pos x="16" y="38"/>
                </a:cxn>
                <a:cxn ang="0">
                  <a:pos x="17" y="33"/>
                </a:cxn>
                <a:cxn ang="0">
                  <a:pos x="11" y="42"/>
                </a:cxn>
                <a:cxn ang="0">
                  <a:pos x="9" y="48"/>
                </a:cxn>
                <a:cxn ang="0">
                  <a:pos x="16" y="45"/>
                </a:cxn>
                <a:cxn ang="0">
                  <a:pos x="22" y="47"/>
                </a:cxn>
                <a:cxn ang="0">
                  <a:pos x="16" y="42"/>
                </a:cxn>
                <a:cxn ang="0">
                  <a:pos x="19" y="58"/>
                </a:cxn>
                <a:cxn ang="0">
                  <a:pos x="17" y="55"/>
                </a:cxn>
                <a:cxn ang="0">
                  <a:pos x="17" y="67"/>
                </a:cxn>
                <a:cxn ang="0">
                  <a:pos x="16" y="66"/>
                </a:cxn>
                <a:cxn ang="0">
                  <a:pos x="20" y="64"/>
                </a:cxn>
                <a:cxn ang="0">
                  <a:pos x="44" y="25"/>
                </a:cxn>
                <a:cxn ang="0">
                  <a:pos x="43" y="22"/>
                </a:cxn>
                <a:cxn ang="0">
                  <a:pos x="44" y="27"/>
                </a:cxn>
                <a:cxn ang="0">
                  <a:pos x="46" y="21"/>
                </a:cxn>
                <a:cxn ang="0">
                  <a:pos x="46" y="22"/>
                </a:cxn>
                <a:cxn ang="0">
                  <a:pos x="58" y="11"/>
                </a:cxn>
                <a:cxn ang="0">
                  <a:pos x="58" y="5"/>
                </a:cxn>
                <a:cxn ang="0">
                  <a:pos x="53" y="8"/>
                </a:cxn>
                <a:cxn ang="0">
                  <a:pos x="58" y="11"/>
                </a:cxn>
                <a:cxn ang="0">
                  <a:pos x="58" y="3"/>
                </a:cxn>
                <a:cxn ang="0">
                  <a:pos x="60" y="2"/>
                </a:cxn>
              </a:cxnLst>
              <a:rect l="0" t="0" r="r" b="b"/>
              <a:pathLst>
                <a:path w="82" h="135">
                  <a:moveTo>
                    <a:pt x="40" y="75"/>
                  </a:moveTo>
                  <a:cubicBezTo>
                    <a:pt x="38" y="78"/>
                    <a:pt x="38" y="75"/>
                    <a:pt x="37" y="76"/>
                  </a:cubicBezTo>
                  <a:cubicBezTo>
                    <a:pt x="35" y="80"/>
                    <a:pt x="32" y="75"/>
                    <a:pt x="32" y="76"/>
                  </a:cubicBezTo>
                  <a:cubicBezTo>
                    <a:pt x="34" y="78"/>
                    <a:pt x="32" y="80"/>
                    <a:pt x="32" y="78"/>
                  </a:cubicBezTo>
                  <a:cubicBezTo>
                    <a:pt x="31" y="76"/>
                    <a:pt x="28" y="75"/>
                    <a:pt x="28" y="78"/>
                  </a:cubicBezTo>
                  <a:cubicBezTo>
                    <a:pt x="29" y="81"/>
                    <a:pt x="26" y="76"/>
                    <a:pt x="26" y="75"/>
                  </a:cubicBezTo>
                  <a:cubicBezTo>
                    <a:pt x="28" y="73"/>
                    <a:pt x="28" y="76"/>
                    <a:pt x="28" y="73"/>
                  </a:cubicBezTo>
                  <a:cubicBezTo>
                    <a:pt x="28" y="70"/>
                    <a:pt x="32" y="70"/>
                    <a:pt x="29" y="67"/>
                  </a:cubicBezTo>
                  <a:cubicBezTo>
                    <a:pt x="28" y="64"/>
                    <a:pt x="29" y="64"/>
                    <a:pt x="31" y="62"/>
                  </a:cubicBezTo>
                  <a:cubicBezTo>
                    <a:pt x="28" y="59"/>
                    <a:pt x="29" y="64"/>
                    <a:pt x="28" y="64"/>
                  </a:cubicBezTo>
                  <a:cubicBezTo>
                    <a:pt x="26" y="62"/>
                    <a:pt x="28" y="64"/>
                    <a:pt x="26" y="64"/>
                  </a:cubicBezTo>
                  <a:cubicBezTo>
                    <a:pt x="25" y="62"/>
                    <a:pt x="26" y="61"/>
                    <a:pt x="25" y="62"/>
                  </a:cubicBezTo>
                  <a:cubicBezTo>
                    <a:pt x="23" y="62"/>
                    <a:pt x="26" y="64"/>
                    <a:pt x="25" y="66"/>
                  </a:cubicBezTo>
                  <a:cubicBezTo>
                    <a:pt x="23" y="67"/>
                    <a:pt x="23" y="72"/>
                    <a:pt x="22" y="72"/>
                  </a:cubicBezTo>
                  <a:cubicBezTo>
                    <a:pt x="20" y="70"/>
                    <a:pt x="25" y="64"/>
                    <a:pt x="23" y="66"/>
                  </a:cubicBezTo>
                  <a:cubicBezTo>
                    <a:pt x="23" y="66"/>
                    <a:pt x="23" y="66"/>
                    <a:pt x="23" y="64"/>
                  </a:cubicBezTo>
                  <a:cubicBezTo>
                    <a:pt x="23" y="62"/>
                    <a:pt x="22" y="62"/>
                    <a:pt x="23" y="61"/>
                  </a:cubicBezTo>
                  <a:cubicBezTo>
                    <a:pt x="23" y="59"/>
                    <a:pt x="22" y="59"/>
                    <a:pt x="23" y="58"/>
                  </a:cubicBezTo>
                  <a:cubicBezTo>
                    <a:pt x="25" y="58"/>
                    <a:pt x="23" y="56"/>
                    <a:pt x="25" y="55"/>
                  </a:cubicBezTo>
                  <a:cubicBezTo>
                    <a:pt x="26" y="53"/>
                    <a:pt x="26" y="53"/>
                    <a:pt x="23" y="55"/>
                  </a:cubicBezTo>
                  <a:cubicBezTo>
                    <a:pt x="22" y="56"/>
                    <a:pt x="23" y="55"/>
                    <a:pt x="22" y="55"/>
                  </a:cubicBezTo>
                  <a:cubicBezTo>
                    <a:pt x="20" y="55"/>
                    <a:pt x="19" y="55"/>
                    <a:pt x="20" y="55"/>
                  </a:cubicBezTo>
                  <a:cubicBezTo>
                    <a:pt x="22" y="53"/>
                    <a:pt x="23" y="53"/>
                    <a:pt x="20" y="53"/>
                  </a:cubicBezTo>
                  <a:cubicBezTo>
                    <a:pt x="17" y="53"/>
                    <a:pt x="19" y="52"/>
                    <a:pt x="20" y="52"/>
                  </a:cubicBezTo>
                  <a:cubicBezTo>
                    <a:pt x="20" y="53"/>
                    <a:pt x="22" y="52"/>
                    <a:pt x="22" y="52"/>
                  </a:cubicBezTo>
                  <a:cubicBezTo>
                    <a:pt x="19" y="50"/>
                    <a:pt x="23" y="50"/>
                    <a:pt x="22" y="48"/>
                  </a:cubicBezTo>
                  <a:cubicBezTo>
                    <a:pt x="22" y="48"/>
                    <a:pt x="22" y="48"/>
                    <a:pt x="23" y="47"/>
                  </a:cubicBezTo>
                  <a:cubicBezTo>
                    <a:pt x="23" y="45"/>
                    <a:pt x="22" y="47"/>
                    <a:pt x="22" y="44"/>
                  </a:cubicBezTo>
                  <a:cubicBezTo>
                    <a:pt x="20" y="41"/>
                    <a:pt x="23" y="42"/>
                    <a:pt x="22" y="39"/>
                  </a:cubicBezTo>
                  <a:cubicBezTo>
                    <a:pt x="20" y="38"/>
                    <a:pt x="23" y="38"/>
                    <a:pt x="25" y="39"/>
                  </a:cubicBezTo>
                  <a:cubicBezTo>
                    <a:pt x="25" y="39"/>
                    <a:pt x="25" y="38"/>
                    <a:pt x="25" y="36"/>
                  </a:cubicBezTo>
                  <a:cubicBezTo>
                    <a:pt x="23" y="34"/>
                    <a:pt x="28" y="36"/>
                    <a:pt x="25" y="34"/>
                  </a:cubicBezTo>
                  <a:cubicBezTo>
                    <a:pt x="23" y="31"/>
                    <a:pt x="29" y="36"/>
                    <a:pt x="26" y="33"/>
                  </a:cubicBezTo>
                  <a:cubicBezTo>
                    <a:pt x="25" y="31"/>
                    <a:pt x="28" y="33"/>
                    <a:pt x="28" y="30"/>
                  </a:cubicBezTo>
                  <a:cubicBezTo>
                    <a:pt x="26" y="28"/>
                    <a:pt x="28" y="28"/>
                    <a:pt x="29" y="30"/>
                  </a:cubicBezTo>
                  <a:cubicBezTo>
                    <a:pt x="31" y="30"/>
                    <a:pt x="31" y="28"/>
                    <a:pt x="32" y="30"/>
                  </a:cubicBezTo>
                  <a:cubicBezTo>
                    <a:pt x="34" y="30"/>
                    <a:pt x="37" y="28"/>
                    <a:pt x="40" y="28"/>
                  </a:cubicBezTo>
                  <a:cubicBezTo>
                    <a:pt x="41" y="30"/>
                    <a:pt x="38" y="28"/>
                    <a:pt x="41" y="28"/>
                  </a:cubicBezTo>
                  <a:cubicBezTo>
                    <a:pt x="44" y="28"/>
                    <a:pt x="43" y="30"/>
                    <a:pt x="43" y="30"/>
                  </a:cubicBezTo>
                  <a:cubicBezTo>
                    <a:pt x="44" y="31"/>
                    <a:pt x="37" y="38"/>
                    <a:pt x="35" y="39"/>
                  </a:cubicBezTo>
                  <a:cubicBezTo>
                    <a:pt x="34" y="39"/>
                    <a:pt x="38" y="38"/>
                    <a:pt x="37" y="39"/>
                  </a:cubicBezTo>
                  <a:cubicBezTo>
                    <a:pt x="35" y="41"/>
                    <a:pt x="34" y="42"/>
                    <a:pt x="35" y="42"/>
                  </a:cubicBezTo>
                  <a:cubicBezTo>
                    <a:pt x="38" y="42"/>
                    <a:pt x="38" y="39"/>
                    <a:pt x="43" y="41"/>
                  </a:cubicBezTo>
                  <a:cubicBezTo>
                    <a:pt x="49" y="41"/>
                    <a:pt x="52" y="39"/>
                    <a:pt x="52" y="42"/>
                  </a:cubicBezTo>
                  <a:cubicBezTo>
                    <a:pt x="53" y="44"/>
                    <a:pt x="52" y="44"/>
                    <a:pt x="50" y="50"/>
                  </a:cubicBezTo>
                  <a:cubicBezTo>
                    <a:pt x="47" y="56"/>
                    <a:pt x="46" y="56"/>
                    <a:pt x="44" y="56"/>
                  </a:cubicBezTo>
                  <a:cubicBezTo>
                    <a:pt x="43" y="56"/>
                    <a:pt x="46" y="56"/>
                    <a:pt x="44" y="58"/>
                  </a:cubicBezTo>
                  <a:cubicBezTo>
                    <a:pt x="44" y="58"/>
                    <a:pt x="49" y="58"/>
                    <a:pt x="46" y="59"/>
                  </a:cubicBezTo>
                  <a:cubicBezTo>
                    <a:pt x="44" y="61"/>
                    <a:pt x="44" y="59"/>
                    <a:pt x="43" y="61"/>
                  </a:cubicBezTo>
                  <a:cubicBezTo>
                    <a:pt x="43" y="62"/>
                    <a:pt x="38" y="62"/>
                    <a:pt x="41" y="62"/>
                  </a:cubicBezTo>
                  <a:cubicBezTo>
                    <a:pt x="46" y="64"/>
                    <a:pt x="43" y="59"/>
                    <a:pt x="47" y="62"/>
                  </a:cubicBezTo>
                  <a:cubicBezTo>
                    <a:pt x="52" y="64"/>
                    <a:pt x="50" y="66"/>
                    <a:pt x="53" y="67"/>
                  </a:cubicBezTo>
                  <a:cubicBezTo>
                    <a:pt x="55" y="69"/>
                    <a:pt x="53" y="70"/>
                    <a:pt x="57" y="75"/>
                  </a:cubicBezTo>
                  <a:cubicBezTo>
                    <a:pt x="58" y="81"/>
                    <a:pt x="58" y="80"/>
                    <a:pt x="61" y="80"/>
                  </a:cubicBezTo>
                  <a:cubicBezTo>
                    <a:pt x="64" y="81"/>
                    <a:pt x="63" y="84"/>
                    <a:pt x="66" y="84"/>
                  </a:cubicBezTo>
                  <a:cubicBezTo>
                    <a:pt x="67" y="86"/>
                    <a:pt x="64" y="86"/>
                    <a:pt x="67" y="89"/>
                  </a:cubicBezTo>
                  <a:cubicBezTo>
                    <a:pt x="70" y="92"/>
                    <a:pt x="69" y="92"/>
                    <a:pt x="66" y="90"/>
                  </a:cubicBezTo>
                  <a:cubicBezTo>
                    <a:pt x="64" y="89"/>
                    <a:pt x="64" y="90"/>
                    <a:pt x="67" y="92"/>
                  </a:cubicBezTo>
                  <a:cubicBezTo>
                    <a:pt x="69" y="94"/>
                    <a:pt x="72" y="98"/>
                    <a:pt x="70" y="98"/>
                  </a:cubicBezTo>
                  <a:cubicBezTo>
                    <a:pt x="69" y="100"/>
                    <a:pt x="67" y="101"/>
                    <a:pt x="69" y="101"/>
                  </a:cubicBezTo>
                  <a:cubicBezTo>
                    <a:pt x="70" y="101"/>
                    <a:pt x="70" y="103"/>
                    <a:pt x="72" y="100"/>
                  </a:cubicBezTo>
                  <a:cubicBezTo>
                    <a:pt x="72" y="98"/>
                    <a:pt x="81" y="100"/>
                    <a:pt x="81" y="104"/>
                  </a:cubicBezTo>
                  <a:cubicBezTo>
                    <a:pt x="82" y="112"/>
                    <a:pt x="76" y="112"/>
                    <a:pt x="78" y="114"/>
                  </a:cubicBezTo>
                  <a:cubicBezTo>
                    <a:pt x="79" y="114"/>
                    <a:pt x="76" y="112"/>
                    <a:pt x="75" y="114"/>
                  </a:cubicBezTo>
                  <a:cubicBezTo>
                    <a:pt x="73" y="115"/>
                    <a:pt x="76" y="114"/>
                    <a:pt x="75" y="117"/>
                  </a:cubicBezTo>
                  <a:cubicBezTo>
                    <a:pt x="75" y="117"/>
                    <a:pt x="70" y="117"/>
                    <a:pt x="72" y="117"/>
                  </a:cubicBezTo>
                  <a:cubicBezTo>
                    <a:pt x="73" y="118"/>
                    <a:pt x="72" y="118"/>
                    <a:pt x="73" y="118"/>
                  </a:cubicBezTo>
                  <a:cubicBezTo>
                    <a:pt x="75" y="120"/>
                    <a:pt x="79" y="117"/>
                    <a:pt x="79" y="118"/>
                  </a:cubicBezTo>
                  <a:cubicBezTo>
                    <a:pt x="78" y="120"/>
                    <a:pt x="79" y="121"/>
                    <a:pt x="76" y="123"/>
                  </a:cubicBezTo>
                  <a:cubicBezTo>
                    <a:pt x="73" y="123"/>
                    <a:pt x="76" y="125"/>
                    <a:pt x="73" y="125"/>
                  </a:cubicBezTo>
                  <a:cubicBezTo>
                    <a:pt x="72" y="125"/>
                    <a:pt x="70" y="128"/>
                    <a:pt x="67" y="126"/>
                  </a:cubicBezTo>
                  <a:cubicBezTo>
                    <a:pt x="64" y="125"/>
                    <a:pt x="61" y="128"/>
                    <a:pt x="60" y="126"/>
                  </a:cubicBezTo>
                  <a:cubicBezTo>
                    <a:pt x="60" y="125"/>
                    <a:pt x="60" y="126"/>
                    <a:pt x="58" y="126"/>
                  </a:cubicBezTo>
                  <a:cubicBezTo>
                    <a:pt x="55" y="125"/>
                    <a:pt x="58" y="126"/>
                    <a:pt x="53" y="126"/>
                  </a:cubicBezTo>
                  <a:cubicBezTo>
                    <a:pt x="50" y="128"/>
                    <a:pt x="53" y="129"/>
                    <a:pt x="50" y="128"/>
                  </a:cubicBezTo>
                  <a:cubicBezTo>
                    <a:pt x="47" y="128"/>
                    <a:pt x="49" y="131"/>
                    <a:pt x="46" y="128"/>
                  </a:cubicBezTo>
                  <a:cubicBezTo>
                    <a:pt x="44" y="125"/>
                    <a:pt x="41" y="129"/>
                    <a:pt x="40" y="128"/>
                  </a:cubicBezTo>
                  <a:cubicBezTo>
                    <a:pt x="40" y="128"/>
                    <a:pt x="40" y="134"/>
                    <a:pt x="37" y="132"/>
                  </a:cubicBezTo>
                  <a:cubicBezTo>
                    <a:pt x="35" y="131"/>
                    <a:pt x="35" y="131"/>
                    <a:pt x="32" y="131"/>
                  </a:cubicBezTo>
                  <a:cubicBezTo>
                    <a:pt x="29" y="131"/>
                    <a:pt x="29" y="132"/>
                    <a:pt x="28" y="134"/>
                  </a:cubicBezTo>
                  <a:cubicBezTo>
                    <a:pt x="26" y="134"/>
                    <a:pt x="28" y="135"/>
                    <a:pt x="26" y="135"/>
                  </a:cubicBezTo>
                  <a:cubicBezTo>
                    <a:pt x="25" y="135"/>
                    <a:pt x="25" y="134"/>
                    <a:pt x="23" y="134"/>
                  </a:cubicBezTo>
                  <a:cubicBezTo>
                    <a:pt x="22" y="135"/>
                    <a:pt x="22" y="132"/>
                    <a:pt x="25" y="132"/>
                  </a:cubicBezTo>
                  <a:cubicBezTo>
                    <a:pt x="26" y="132"/>
                    <a:pt x="26" y="129"/>
                    <a:pt x="29" y="128"/>
                  </a:cubicBezTo>
                  <a:cubicBezTo>
                    <a:pt x="31" y="128"/>
                    <a:pt x="29" y="128"/>
                    <a:pt x="31" y="126"/>
                  </a:cubicBezTo>
                  <a:cubicBezTo>
                    <a:pt x="32" y="125"/>
                    <a:pt x="29" y="123"/>
                    <a:pt x="32" y="123"/>
                  </a:cubicBezTo>
                  <a:cubicBezTo>
                    <a:pt x="35" y="123"/>
                    <a:pt x="32" y="120"/>
                    <a:pt x="35" y="120"/>
                  </a:cubicBezTo>
                  <a:cubicBezTo>
                    <a:pt x="40" y="120"/>
                    <a:pt x="38" y="121"/>
                    <a:pt x="43" y="121"/>
                  </a:cubicBezTo>
                  <a:cubicBezTo>
                    <a:pt x="46" y="120"/>
                    <a:pt x="41" y="120"/>
                    <a:pt x="47" y="117"/>
                  </a:cubicBezTo>
                  <a:cubicBezTo>
                    <a:pt x="47" y="115"/>
                    <a:pt x="47" y="115"/>
                    <a:pt x="49" y="114"/>
                  </a:cubicBezTo>
                  <a:cubicBezTo>
                    <a:pt x="46" y="115"/>
                    <a:pt x="46" y="117"/>
                    <a:pt x="44" y="117"/>
                  </a:cubicBezTo>
                  <a:cubicBezTo>
                    <a:pt x="43" y="117"/>
                    <a:pt x="41" y="121"/>
                    <a:pt x="38" y="118"/>
                  </a:cubicBezTo>
                  <a:cubicBezTo>
                    <a:pt x="35" y="115"/>
                    <a:pt x="32" y="118"/>
                    <a:pt x="34" y="117"/>
                  </a:cubicBezTo>
                  <a:cubicBezTo>
                    <a:pt x="34" y="115"/>
                    <a:pt x="32" y="114"/>
                    <a:pt x="29" y="115"/>
                  </a:cubicBezTo>
                  <a:cubicBezTo>
                    <a:pt x="28" y="117"/>
                    <a:pt x="26" y="115"/>
                    <a:pt x="26" y="114"/>
                  </a:cubicBezTo>
                  <a:cubicBezTo>
                    <a:pt x="28" y="112"/>
                    <a:pt x="25" y="114"/>
                    <a:pt x="26" y="112"/>
                  </a:cubicBezTo>
                  <a:cubicBezTo>
                    <a:pt x="28" y="109"/>
                    <a:pt x="28" y="112"/>
                    <a:pt x="32" y="109"/>
                  </a:cubicBezTo>
                  <a:cubicBezTo>
                    <a:pt x="37" y="106"/>
                    <a:pt x="34" y="104"/>
                    <a:pt x="35" y="103"/>
                  </a:cubicBezTo>
                  <a:cubicBezTo>
                    <a:pt x="37" y="101"/>
                    <a:pt x="34" y="103"/>
                    <a:pt x="35" y="101"/>
                  </a:cubicBezTo>
                  <a:cubicBezTo>
                    <a:pt x="35" y="98"/>
                    <a:pt x="32" y="103"/>
                    <a:pt x="31" y="101"/>
                  </a:cubicBezTo>
                  <a:cubicBezTo>
                    <a:pt x="31" y="101"/>
                    <a:pt x="29" y="103"/>
                    <a:pt x="31" y="101"/>
                  </a:cubicBezTo>
                  <a:cubicBezTo>
                    <a:pt x="31" y="100"/>
                    <a:pt x="32" y="100"/>
                    <a:pt x="34" y="97"/>
                  </a:cubicBezTo>
                  <a:cubicBezTo>
                    <a:pt x="35" y="95"/>
                    <a:pt x="35" y="97"/>
                    <a:pt x="37" y="95"/>
                  </a:cubicBezTo>
                  <a:cubicBezTo>
                    <a:pt x="37" y="95"/>
                    <a:pt x="37" y="97"/>
                    <a:pt x="40" y="95"/>
                  </a:cubicBezTo>
                  <a:cubicBezTo>
                    <a:pt x="41" y="94"/>
                    <a:pt x="43" y="97"/>
                    <a:pt x="43" y="95"/>
                  </a:cubicBezTo>
                  <a:cubicBezTo>
                    <a:pt x="41" y="94"/>
                    <a:pt x="43" y="94"/>
                    <a:pt x="44" y="95"/>
                  </a:cubicBezTo>
                  <a:cubicBezTo>
                    <a:pt x="44" y="97"/>
                    <a:pt x="44" y="95"/>
                    <a:pt x="44" y="94"/>
                  </a:cubicBezTo>
                  <a:cubicBezTo>
                    <a:pt x="41" y="90"/>
                    <a:pt x="44" y="90"/>
                    <a:pt x="44" y="90"/>
                  </a:cubicBezTo>
                  <a:cubicBezTo>
                    <a:pt x="41" y="89"/>
                    <a:pt x="46" y="87"/>
                    <a:pt x="44" y="87"/>
                  </a:cubicBezTo>
                  <a:cubicBezTo>
                    <a:pt x="44" y="86"/>
                    <a:pt x="46" y="84"/>
                    <a:pt x="44" y="84"/>
                  </a:cubicBezTo>
                  <a:cubicBezTo>
                    <a:pt x="43" y="84"/>
                    <a:pt x="43" y="87"/>
                    <a:pt x="41" y="86"/>
                  </a:cubicBezTo>
                  <a:cubicBezTo>
                    <a:pt x="40" y="83"/>
                    <a:pt x="37" y="83"/>
                    <a:pt x="40" y="78"/>
                  </a:cubicBezTo>
                  <a:cubicBezTo>
                    <a:pt x="43" y="73"/>
                    <a:pt x="40" y="78"/>
                    <a:pt x="41" y="75"/>
                  </a:cubicBezTo>
                  <a:cubicBezTo>
                    <a:pt x="43" y="75"/>
                    <a:pt x="40" y="75"/>
                    <a:pt x="40" y="75"/>
                  </a:cubicBezTo>
                  <a:close/>
                  <a:moveTo>
                    <a:pt x="22" y="84"/>
                  </a:moveTo>
                  <a:cubicBezTo>
                    <a:pt x="22" y="83"/>
                    <a:pt x="23" y="84"/>
                    <a:pt x="23" y="83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3" y="81"/>
                    <a:pt x="23" y="80"/>
                    <a:pt x="23" y="81"/>
                  </a:cubicBezTo>
                  <a:cubicBezTo>
                    <a:pt x="23" y="83"/>
                    <a:pt x="25" y="83"/>
                    <a:pt x="25" y="81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2" y="80"/>
                    <a:pt x="20" y="80"/>
                    <a:pt x="22" y="78"/>
                  </a:cubicBezTo>
                  <a:cubicBezTo>
                    <a:pt x="23" y="78"/>
                    <a:pt x="23" y="76"/>
                    <a:pt x="22" y="76"/>
                  </a:cubicBezTo>
                  <a:cubicBezTo>
                    <a:pt x="20" y="76"/>
                    <a:pt x="20" y="73"/>
                    <a:pt x="19" y="72"/>
                  </a:cubicBezTo>
                  <a:cubicBezTo>
                    <a:pt x="19" y="70"/>
                    <a:pt x="16" y="72"/>
                    <a:pt x="14" y="72"/>
                  </a:cubicBezTo>
                  <a:cubicBezTo>
                    <a:pt x="11" y="72"/>
                    <a:pt x="13" y="73"/>
                    <a:pt x="9" y="73"/>
                  </a:cubicBezTo>
                  <a:cubicBezTo>
                    <a:pt x="6" y="75"/>
                    <a:pt x="9" y="78"/>
                    <a:pt x="6" y="78"/>
                  </a:cubicBezTo>
                  <a:cubicBezTo>
                    <a:pt x="3" y="78"/>
                    <a:pt x="8" y="80"/>
                    <a:pt x="5" y="81"/>
                  </a:cubicBezTo>
                  <a:cubicBezTo>
                    <a:pt x="0" y="83"/>
                    <a:pt x="11" y="87"/>
                    <a:pt x="11" y="84"/>
                  </a:cubicBezTo>
                  <a:cubicBezTo>
                    <a:pt x="11" y="83"/>
                    <a:pt x="13" y="81"/>
                    <a:pt x="13" y="83"/>
                  </a:cubicBezTo>
                  <a:cubicBezTo>
                    <a:pt x="14" y="86"/>
                    <a:pt x="14" y="84"/>
                    <a:pt x="14" y="86"/>
                  </a:cubicBezTo>
                  <a:cubicBezTo>
                    <a:pt x="16" y="87"/>
                    <a:pt x="16" y="86"/>
                    <a:pt x="17" y="86"/>
                  </a:cubicBezTo>
                  <a:cubicBezTo>
                    <a:pt x="20" y="86"/>
                    <a:pt x="19" y="89"/>
                    <a:pt x="22" y="84"/>
                  </a:cubicBezTo>
                  <a:close/>
                  <a:moveTo>
                    <a:pt x="32" y="83"/>
                  </a:moveTo>
                  <a:cubicBezTo>
                    <a:pt x="34" y="83"/>
                    <a:pt x="32" y="87"/>
                    <a:pt x="31" y="86"/>
                  </a:cubicBezTo>
                  <a:cubicBezTo>
                    <a:pt x="28" y="86"/>
                    <a:pt x="32" y="81"/>
                    <a:pt x="32" y="83"/>
                  </a:cubicBezTo>
                  <a:close/>
                  <a:moveTo>
                    <a:pt x="31" y="95"/>
                  </a:moveTo>
                  <a:cubicBezTo>
                    <a:pt x="32" y="92"/>
                    <a:pt x="35" y="95"/>
                    <a:pt x="34" y="97"/>
                  </a:cubicBezTo>
                  <a:cubicBezTo>
                    <a:pt x="32" y="98"/>
                    <a:pt x="31" y="97"/>
                    <a:pt x="31" y="95"/>
                  </a:cubicBezTo>
                  <a:close/>
                  <a:moveTo>
                    <a:pt x="26" y="69"/>
                  </a:moveTo>
                  <a:cubicBezTo>
                    <a:pt x="25" y="69"/>
                    <a:pt x="25" y="67"/>
                    <a:pt x="25" y="66"/>
                  </a:cubicBezTo>
                  <a:cubicBezTo>
                    <a:pt x="26" y="64"/>
                    <a:pt x="28" y="69"/>
                    <a:pt x="26" y="69"/>
                  </a:cubicBezTo>
                  <a:close/>
                  <a:moveTo>
                    <a:pt x="55" y="128"/>
                  </a:moveTo>
                  <a:cubicBezTo>
                    <a:pt x="57" y="126"/>
                    <a:pt x="58" y="126"/>
                    <a:pt x="58" y="128"/>
                  </a:cubicBezTo>
                  <a:cubicBezTo>
                    <a:pt x="60" y="128"/>
                    <a:pt x="58" y="129"/>
                    <a:pt x="55" y="128"/>
                  </a:cubicBezTo>
                  <a:close/>
                  <a:moveTo>
                    <a:pt x="14" y="34"/>
                  </a:moveTo>
                  <a:cubicBezTo>
                    <a:pt x="13" y="36"/>
                    <a:pt x="13" y="33"/>
                    <a:pt x="13" y="34"/>
                  </a:cubicBezTo>
                  <a:cubicBezTo>
                    <a:pt x="11" y="34"/>
                    <a:pt x="11" y="36"/>
                    <a:pt x="11" y="36"/>
                  </a:cubicBezTo>
                  <a:cubicBezTo>
                    <a:pt x="13" y="38"/>
                    <a:pt x="9" y="36"/>
                    <a:pt x="13" y="38"/>
                  </a:cubicBezTo>
                  <a:cubicBezTo>
                    <a:pt x="14" y="38"/>
                    <a:pt x="9" y="38"/>
                    <a:pt x="11" y="39"/>
                  </a:cubicBezTo>
                  <a:cubicBezTo>
                    <a:pt x="13" y="41"/>
                    <a:pt x="13" y="39"/>
                    <a:pt x="14" y="39"/>
                  </a:cubicBezTo>
                  <a:cubicBezTo>
                    <a:pt x="14" y="39"/>
                    <a:pt x="14" y="39"/>
                    <a:pt x="14" y="38"/>
                  </a:cubicBezTo>
                  <a:cubicBezTo>
                    <a:pt x="16" y="38"/>
                    <a:pt x="17" y="38"/>
                    <a:pt x="16" y="38"/>
                  </a:cubicBezTo>
                  <a:cubicBezTo>
                    <a:pt x="16" y="36"/>
                    <a:pt x="17" y="36"/>
                    <a:pt x="17" y="36"/>
                  </a:cubicBezTo>
                  <a:cubicBezTo>
                    <a:pt x="16" y="36"/>
                    <a:pt x="17" y="36"/>
                    <a:pt x="17" y="34"/>
                  </a:cubicBezTo>
                  <a:cubicBezTo>
                    <a:pt x="17" y="33"/>
                    <a:pt x="17" y="34"/>
                    <a:pt x="19" y="34"/>
                  </a:cubicBezTo>
                  <a:cubicBezTo>
                    <a:pt x="20" y="33"/>
                    <a:pt x="17" y="34"/>
                    <a:pt x="17" y="33"/>
                  </a:cubicBezTo>
                  <a:cubicBezTo>
                    <a:pt x="19" y="33"/>
                    <a:pt x="19" y="31"/>
                    <a:pt x="19" y="30"/>
                  </a:cubicBezTo>
                  <a:cubicBezTo>
                    <a:pt x="19" y="30"/>
                    <a:pt x="16" y="31"/>
                    <a:pt x="14" y="33"/>
                  </a:cubicBezTo>
                  <a:cubicBezTo>
                    <a:pt x="13" y="33"/>
                    <a:pt x="14" y="34"/>
                    <a:pt x="14" y="34"/>
                  </a:cubicBezTo>
                  <a:close/>
                  <a:moveTo>
                    <a:pt x="11" y="42"/>
                  </a:moveTo>
                  <a:cubicBezTo>
                    <a:pt x="13" y="41"/>
                    <a:pt x="11" y="41"/>
                    <a:pt x="11" y="41"/>
                  </a:cubicBezTo>
                  <a:cubicBezTo>
                    <a:pt x="9" y="41"/>
                    <a:pt x="9" y="41"/>
                    <a:pt x="8" y="41"/>
                  </a:cubicBezTo>
                  <a:cubicBezTo>
                    <a:pt x="8" y="42"/>
                    <a:pt x="11" y="44"/>
                    <a:pt x="11" y="42"/>
                  </a:cubicBezTo>
                  <a:close/>
                  <a:moveTo>
                    <a:pt x="9" y="48"/>
                  </a:moveTo>
                  <a:cubicBezTo>
                    <a:pt x="11" y="48"/>
                    <a:pt x="9" y="47"/>
                    <a:pt x="9" y="47"/>
                  </a:cubicBezTo>
                  <a:cubicBezTo>
                    <a:pt x="11" y="45"/>
                    <a:pt x="11" y="45"/>
                    <a:pt x="9" y="45"/>
                  </a:cubicBezTo>
                  <a:cubicBezTo>
                    <a:pt x="8" y="44"/>
                    <a:pt x="8" y="48"/>
                    <a:pt x="9" y="48"/>
                  </a:cubicBezTo>
                  <a:close/>
                  <a:moveTo>
                    <a:pt x="16" y="45"/>
                  </a:moveTo>
                  <a:cubicBezTo>
                    <a:pt x="17" y="45"/>
                    <a:pt x="16" y="45"/>
                    <a:pt x="17" y="47"/>
                  </a:cubicBezTo>
                  <a:cubicBezTo>
                    <a:pt x="17" y="48"/>
                    <a:pt x="19" y="47"/>
                    <a:pt x="20" y="47"/>
                  </a:cubicBezTo>
                  <a:cubicBezTo>
                    <a:pt x="22" y="47"/>
                    <a:pt x="19" y="48"/>
                    <a:pt x="20" y="50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23" y="45"/>
                    <a:pt x="22" y="47"/>
                    <a:pt x="20" y="45"/>
                  </a:cubicBezTo>
                  <a:cubicBezTo>
                    <a:pt x="19" y="45"/>
                    <a:pt x="19" y="41"/>
                    <a:pt x="17" y="41"/>
                  </a:cubicBezTo>
                  <a:cubicBezTo>
                    <a:pt x="17" y="41"/>
                    <a:pt x="17" y="42"/>
                    <a:pt x="17" y="44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4" y="42"/>
                    <a:pt x="16" y="44"/>
                    <a:pt x="16" y="44"/>
                  </a:cubicBezTo>
                  <a:cubicBezTo>
                    <a:pt x="16" y="44"/>
                    <a:pt x="13" y="44"/>
                    <a:pt x="14" y="45"/>
                  </a:cubicBezTo>
                  <a:cubicBezTo>
                    <a:pt x="16" y="45"/>
                    <a:pt x="16" y="44"/>
                    <a:pt x="16" y="45"/>
                  </a:cubicBezTo>
                  <a:close/>
                  <a:moveTo>
                    <a:pt x="19" y="58"/>
                  </a:moveTo>
                  <a:cubicBezTo>
                    <a:pt x="19" y="58"/>
                    <a:pt x="17" y="58"/>
                    <a:pt x="17" y="59"/>
                  </a:cubicBezTo>
                  <a:cubicBezTo>
                    <a:pt x="17" y="59"/>
                    <a:pt x="20" y="58"/>
                    <a:pt x="22" y="58"/>
                  </a:cubicBezTo>
                  <a:cubicBezTo>
                    <a:pt x="23" y="58"/>
                    <a:pt x="22" y="56"/>
                    <a:pt x="20" y="56"/>
                  </a:cubicBezTo>
                  <a:cubicBezTo>
                    <a:pt x="19" y="55"/>
                    <a:pt x="19" y="53"/>
                    <a:pt x="17" y="55"/>
                  </a:cubicBezTo>
                  <a:cubicBezTo>
                    <a:pt x="17" y="56"/>
                    <a:pt x="17" y="56"/>
                    <a:pt x="19" y="56"/>
                  </a:cubicBezTo>
                  <a:cubicBezTo>
                    <a:pt x="20" y="56"/>
                    <a:pt x="19" y="56"/>
                    <a:pt x="19" y="58"/>
                  </a:cubicBezTo>
                  <a:close/>
                  <a:moveTo>
                    <a:pt x="17" y="66"/>
                  </a:moveTo>
                  <a:cubicBezTo>
                    <a:pt x="19" y="67"/>
                    <a:pt x="17" y="67"/>
                    <a:pt x="17" y="67"/>
                  </a:cubicBezTo>
                  <a:cubicBezTo>
                    <a:pt x="17" y="69"/>
                    <a:pt x="19" y="67"/>
                    <a:pt x="19" y="67"/>
                  </a:cubicBezTo>
                  <a:cubicBezTo>
                    <a:pt x="20" y="66"/>
                    <a:pt x="19" y="66"/>
                    <a:pt x="19" y="64"/>
                  </a:cubicBezTo>
                  <a:cubicBezTo>
                    <a:pt x="19" y="62"/>
                    <a:pt x="17" y="64"/>
                    <a:pt x="17" y="64"/>
                  </a:cubicBezTo>
                  <a:cubicBezTo>
                    <a:pt x="17" y="62"/>
                    <a:pt x="14" y="66"/>
                    <a:pt x="16" y="66"/>
                  </a:cubicBezTo>
                  <a:cubicBezTo>
                    <a:pt x="17" y="67"/>
                    <a:pt x="17" y="64"/>
                    <a:pt x="17" y="66"/>
                  </a:cubicBezTo>
                  <a:close/>
                  <a:moveTo>
                    <a:pt x="20" y="64"/>
                  </a:moveTo>
                  <a:cubicBezTo>
                    <a:pt x="19" y="62"/>
                    <a:pt x="20" y="61"/>
                    <a:pt x="22" y="61"/>
                  </a:cubicBezTo>
                  <a:cubicBezTo>
                    <a:pt x="23" y="59"/>
                    <a:pt x="20" y="66"/>
                    <a:pt x="20" y="64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5"/>
                    <a:pt x="41" y="25"/>
                  </a:cubicBezTo>
                  <a:cubicBezTo>
                    <a:pt x="41" y="25"/>
                    <a:pt x="43" y="27"/>
                    <a:pt x="41" y="27"/>
                  </a:cubicBezTo>
                  <a:close/>
                  <a:moveTo>
                    <a:pt x="44" y="25"/>
                  </a:moveTo>
                  <a:cubicBezTo>
                    <a:pt x="44" y="27"/>
                    <a:pt x="46" y="25"/>
                    <a:pt x="46" y="24"/>
                  </a:cubicBezTo>
                  <a:cubicBezTo>
                    <a:pt x="46" y="24"/>
                    <a:pt x="44" y="25"/>
                    <a:pt x="44" y="24"/>
                  </a:cubicBezTo>
                  <a:cubicBezTo>
                    <a:pt x="44" y="24"/>
                    <a:pt x="43" y="25"/>
                    <a:pt x="43" y="24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1" y="22"/>
                    <a:pt x="40" y="24"/>
                    <a:pt x="41" y="24"/>
                  </a:cubicBezTo>
                  <a:cubicBezTo>
                    <a:pt x="43" y="25"/>
                    <a:pt x="43" y="24"/>
                    <a:pt x="44" y="25"/>
                  </a:cubicBezTo>
                  <a:close/>
                  <a:moveTo>
                    <a:pt x="44" y="27"/>
                  </a:moveTo>
                  <a:cubicBezTo>
                    <a:pt x="44" y="25"/>
                    <a:pt x="44" y="27"/>
                    <a:pt x="44" y="27"/>
                  </a:cubicBezTo>
                  <a:cubicBezTo>
                    <a:pt x="43" y="27"/>
                    <a:pt x="43" y="27"/>
                    <a:pt x="44" y="27"/>
                  </a:cubicBezTo>
                  <a:close/>
                  <a:moveTo>
                    <a:pt x="46" y="21"/>
                  </a:moveTo>
                  <a:cubicBezTo>
                    <a:pt x="47" y="21"/>
                    <a:pt x="47" y="19"/>
                    <a:pt x="47" y="21"/>
                  </a:cubicBezTo>
                  <a:cubicBezTo>
                    <a:pt x="46" y="21"/>
                    <a:pt x="46" y="19"/>
                    <a:pt x="46" y="21"/>
                  </a:cubicBezTo>
                  <a:cubicBezTo>
                    <a:pt x="46" y="22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7" y="22"/>
                    <a:pt x="47" y="22"/>
                  </a:cubicBezTo>
                  <a:cubicBezTo>
                    <a:pt x="46" y="24"/>
                    <a:pt x="46" y="24"/>
                    <a:pt x="46" y="22"/>
                  </a:cubicBezTo>
                  <a:close/>
                  <a:moveTo>
                    <a:pt x="43" y="19"/>
                  </a:moveTo>
                  <a:cubicBezTo>
                    <a:pt x="44" y="19"/>
                    <a:pt x="44" y="21"/>
                    <a:pt x="44" y="21"/>
                  </a:cubicBezTo>
                  <a:cubicBezTo>
                    <a:pt x="44" y="21"/>
                    <a:pt x="43" y="21"/>
                    <a:pt x="43" y="19"/>
                  </a:cubicBezTo>
                  <a:close/>
                  <a:moveTo>
                    <a:pt x="58" y="11"/>
                  </a:moveTo>
                  <a:cubicBezTo>
                    <a:pt x="58" y="10"/>
                    <a:pt x="58" y="10"/>
                    <a:pt x="58" y="8"/>
                  </a:cubicBezTo>
                  <a:cubicBezTo>
                    <a:pt x="58" y="8"/>
                    <a:pt x="58" y="8"/>
                    <a:pt x="60" y="5"/>
                  </a:cubicBezTo>
                  <a:cubicBezTo>
                    <a:pt x="60" y="3"/>
                    <a:pt x="58" y="7"/>
                    <a:pt x="58" y="5"/>
                  </a:cubicBezTo>
                  <a:cubicBezTo>
                    <a:pt x="58" y="5"/>
                    <a:pt x="58" y="3"/>
                    <a:pt x="58" y="5"/>
                  </a:cubicBezTo>
                  <a:cubicBezTo>
                    <a:pt x="57" y="7"/>
                    <a:pt x="57" y="5"/>
                    <a:pt x="57" y="3"/>
                  </a:cubicBezTo>
                  <a:cubicBezTo>
                    <a:pt x="58" y="2"/>
                    <a:pt x="53" y="5"/>
                    <a:pt x="55" y="5"/>
                  </a:cubicBezTo>
                  <a:cubicBezTo>
                    <a:pt x="55" y="5"/>
                    <a:pt x="57" y="5"/>
                    <a:pt x="57" y="7"/>
                  </a:cubicBezTo>
                  <a:cubicBezTo>
                    <a:pt x="57" y="7"/>
                    <a:pt x="53" y="7"/>
                    <a:pt x="53" y="8"/>
                  </a:cubicBezTo>
                  <a:cubicBezTo>
                    <a:pt x="53" y="10"/>
                    <a:pt x="55" y="8"/>
                    <a:pt x="55" y="8"/>
                  </a:cubicBezTo>
                  <a:cubicBezTo>
                    <a:pt x="57" y="10"/>
                    <a:pt x="57" y="8"/>
                    <a:pt x="57" y="8"/>
                  </a:cubicBezTo>
                  <a:cubicBezTo>
                    <a:pt x="58" y="10"/>
                    <a:pt x="55" y="11"/>
                    <a:pt x="57" y="13"/>
                  </a:cubicBezTo>
                  <a:cubicBezTo>
                    <a:pt x="58" y="14"/>
                    <a:pt x="58" y="11"/>
                    <a:pt x="58" y="11"/>
                  </a:cubicBezTo>
                  <a:close/>
                  <a:moveTo>
                    <a:pt x="60" y="3"/>
                  </a:moveTo>
                  <a:cubicBezTo>
                    <a:pt x="60" y="2"/>
                    <a:pt x="60" y="2"/>
                    <a:pt x="60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5"/>
                    <a:pt x="58" y="3"/>
                    <a:pt x="60" y="3"/>
                  </a:cubicBezTo>
                  <a:close/>
                  <a:moveTo>
                    <a:pt x="60" y="2"/>
                  </a:moveTo>
                  <a:cubicBezTo>
                    <a:pt x="60" y="0"/>
                    <a:pt x="60" y="0"/>
                    <a:pt x="61" y="0"/>
                  </a:cubicBezTo>
                  <a:cubicBezTo>
                    <a:pt x="61" y="0"/>
                    <a:pt x="61" y="2"/>
                    <a:pt x="60" y="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6" name="Freeform 209"/>
            <p:cNvSpPr>
              <a:spLocks noEditPoints="1"/>
            </p:cNvSpPr>
            <p:nvPr/>
          </p:nvSpPr>
          <p:spPr bwMode="auto">
            <a:xfrm>
              <a:off x="5346825" y="3329155"/>
              <a:ext cx="280366" cy="246138"/>
            </a:xfrm>
            <a:custGeom>
              <a:avLst/>
              <a:gdLst/>
              <a:ahLst/>
              <a:cxnLst>
                <a:cxn ang="0">
                  <a:pos x="3" y="16"/>
                </a:cxn>
                <a:cxn ang="0">
                  <a:pos x="2" y="11"/>
                </a:cxn>
                <a:cxn ang="0">
                  <a:pos x="8" y="6"/>
                </a:cxn>
                <a:cxn ang="0">
                  <a:pos x="11" y="2"/>
                </a:cxn>
                <a:cxn ang="0">
                  <a:pos x="22" y="3"/>
                </a:cxn>
                <a:cxn ang="0">
                  <a:pos x="32" y="3"/>
                </a:cxn>
                <a:cxn ang="0">
                  <a:pos x="49" y="5"/>
                </a:cxn>
                <a:cxn ang="0">
                  <a:pos x="57" y="5"/>
                </a:cxn>
                <a:cxn ang="0">
                  <a:pos x="61" y="5"/>
                </a:cxn>
                <a:cxn ang="0">
                  <a:pos x="64" y="8"/>
                </a:cxn>
                <a:cxn ang="0">
                  <a:pos x="71" y="11"/>
                </a:cxn>
                <a:cxn ang="0">
                  <a:pos x="75" y="12"/>
                </a:cxn>
                <a:cxn ang="0">
                  <a:pos x="80" y="12"/>
                </a:cxn>
                <a:cxn ang="0">
                  <a:pos x="87" y="14"/>
                </a:cxn>
                <a:cxn ang="0">
                  <a:pos x="89" y="16"/>
                </a:cxn>
                <a:cxn ang="0">
                  <a:pos x="95" y="16"/>
                </a:cxn>
                <a:cxn ang="0">
                  <a:pos x="100" y="16"/>
                </a:cxn>
                <a:cxn ang="0">
                  <a:pos x="101" y="20"/>
                </a:cxn>
                <a:cxn ang="0">
                  <a:pos x="93" y="28"/>
                </a:cxn>
                <a:cxn ang="0">
                  <a:pos x="81" y="33"/>
                </a:cxn>
                <a:cxn ang="0">
                  <a:pos x="81" y="37"/>
                </a:cxn>
                <a:cxn ang="0">
                  <a:pos x="74" y="52"/>
                </a:cxn>
                <a:cxn ang="0">
                  <a:pos x="77" y="58"/>
                </a:cxn>
                <a:cxn ang="0">
                  <a:pos x="69" y="69"/>
                </a:cxn>
                <a:cxn ang="0">
                  <a:pos x="66" y="70"/>
                </a:cxn>
                <a:cxn ang="0">
                  <a:pos x="57" y="78"/>
                </a:cxn>
                <a:cxn ang="0">
                  <a:pos x="46" y="80"/>
                </a:cxn>
                <a:cxn ang="0">
                  <a:pos x="40" y="81"/>
                </a:cxn>
                <a:cxn ang="0">
                  <a:pos x="34" y="83"/>
                </a:cxn>
                <a:cxn ang="0">
                  <a:pos x="31" y="86"/>
                </a:cxn>
                <a:cxn ang="0">
                  <a:pos x="28" y="86"/>
                </a:cxn>
                <a:cxn ang="0">
                  <a:pos x="23" y="78"/>
                </a:cxn>
                <a:cxn ang="0">
                  <a:pos x="16" y="73"/>
                </a:cxn>
                <a:cxn ang="0">
                  <a:pos x="19" y="66"/>
                </a:cxn>
                <a:cxn ang="0">
                  <a:pos x="19" y="62"/>
                </a:cxn>
                <a:cxn ang="0">
                  <a:pos x="19" y="56"/>
                </a:cxn>
                <a:cxn ang="0">
                  <a:pos x="17" y="52"/>
                </a:cxn>
                <a:cxn ang="0">
                  <a:pos x="17" y="47"/>
                </a:cxn>
                <a:cxn ang="0">
                  <a:pos x="20" y="42"/>
                </a:cxn>
                <a:cxn ang="0">
                  <a:pos x="20" y="33"/>
                </a:cxn>
                <a:cxn ang="0">
                  <a:pos x="25" y="25"/>
                </a:cxn>
                <a:cxn ang="0">
                  <a:pos x="20" y="20"/>
                </a:cxn>
                <a:cxn ang="0">
                  <a:pos x="14" y="22"/>
                </a:cxn>
                <a:cxn ang="0">
                  <a:pos x="10" y="22"/>
                </a:cxn>
                <a:cxn ang="0">
                  <a:pos x="11" y="19"/>
                </a:cxn>
                <a:cxn ang="0">
                  <a:pos x="5" y="22"/>
                </a:cxn>
                <a:cxn ang="0">
                  <a:pos x="3" y="16"/>
                </a:cxn>
                <a:cxn ang="0">
                  <a:pos x="97" y="48"/>
                </a:cxn>
                <a:cxn ang="0">
                  <a:pos x="98" y="52"/>
                </a:cxn>
                <a:cxn ang="0">
                  <a:pos x="103" y="47"/>
                </a:cxn>
                <a:cxn ang="0">
                  <a:pos x="101" y="45"/>
                </a:cxn>
                <a:cxn ang="0">
                  <a:pos x="95" y="48"/>
                </a:cxn>
                <a:cxn ang="0">
                  <a:pos x="97" y="48"/>
                </a:cxn>
                <a:cxn ang="0">
                  <a:pos x="109" y="44"/>
                </a:cxn>
                <a:cxn ang="0">
                  <a:pos x="109" y="44"/>
                </a:cxn>
                <a:cxn ang="0">
                  <a:pos x="106" y="44"/>
                </a:cxn>
                <a:cxn ang="0">
                  <a:pos x="109" y="44"/>
                </a:cxn>
                <a:cxn ang="0">
                  <a:pos x="87" y="53"/>
                </a:cxn>
                <a:cxn ang="0">
                  <a:pos x="84" y="56"/>
                </a:cxn>
                <a:cxn ang="0">
                  <a:pos x="87" y="53"/>
                </a:cxn>
              </a:cxnLst>
              <a:rect l="0" t="0" r="r" b="b"/>
              <a:pathLst>
                <a:path w="110" h="88">
                  <a:moveTo>
                    <a:pt x="3" y="16"/>
                  </a:moveTo>
                  <a:cubicBezTo>
                    <a:pt x="2" y="12"/>
                    <a:pt x="3" y="11"/>
                    <a:pt x="2" y="11"/>
                  </a:cubicBezTo>
                  <a:cubicBezTo>
                    <a:pt x="0" y="9"/>
                    <a:pt x="3" y="6"/>
                    <a:pt x="8" y="6"/>
                  </a:cubicBezTo>
                  <a:cubicBezTo>
                    <a:pt x="11" y="6"/>
                    <a:pt x="8" y="3"/>
                    <a:pt x="11" y="2"/>
                  </a:cubicBezTo>
                  <a:cubicBezTo>
                    <a:pt x="16" y="0"/>
                    <a:pt x="16" y="3"/>
                    <a:pt x="22" y="3"/>
                  </a:cubicBezTo>
                  <a:cubicBezTo>
                    <a:pt x="28" y="3"/>
                    <a:pt x="28" y="2"/>
                    <a:pt x="32" y="3"/>
                  </a:cubicBezTo>
                  <a:cubicBezTo>
                    <a:pt x="40" y="6"/>
                    <a:pt x="43" y="3"/>
                    <a:pt x="49" y="5"/>
                  </a:cubicBezTo>
                  <a:cubicBezTo>
                    <a:pt x="54" y="6"/>
                    <a:pt x="52" y="3"/>
                    <a:pt x="57" y="5"/>
                  </a:cubicBezTo>
                  <a:cubicBezTo>
                    <a:pt x="58" y="6"/>
                    <a:pt x="60" y="5"/>
                    <a:pt x="61" y="5"/>
                  </a:cubicBezTo>
                  <a:cubicBezTo>
                    <a:pt x="63" y="6"/>
                    <a:pt x="64" y="5"/>
                    <a:pt x="64" y="8"/>
                  </a:cubicBezTo>
                  <a:cubicBezTo>
                    <a:pt x="64" y="9"/>
                    <a:pt x="69" y="8"/>
                    <a:pt x="71" y="11"/>
                  </a:cubicBezTo>
                  <a:cubicBezTo>
                    <a:pt x="71" y="12"/>
                    <a:pt x="74" y="11"/>
                    <a:pt x="75" y="12"/>
                  </a:cubicBezTo>
                  <a:cubicBezTo>
                    <a:pt x="77" y="14"/>
                    <a:pt x="77" y="11"/>
                    <a:pt x="80" y="12"/>
                  </a:cubicBezTo>
                  <a:cubicBezTo>
                    <a:pt x="83" y="12"/>
                    <a:pt x="78" y="8"/>
                    <a:pt x="87" y="14"/>
                  </a:cubicBezTo>
                  <a:cubicBezTo>
                    <a:pt x="87" y="16"/>
                    <a:pt x="89" y="16"/>
                    <a:pt x="89" y="16"/>
                  </a:cubicBezTo>
                  <a:cubicBezTo>
                    <a:pt x="93" y="17"/>
                    <a:pt x="93" y="16"/>
                    <a:pt x="95" y="16"/>
                  </a:cubicBezTo>
                  <a:cubicBezTo>
                    <a:pt x="98" y="17"/>
                    <a:pt x="97" y="16"/>
                    <a:pt x="100" y="16"/>
                  </a:cubicBezTo>
                  <a:cubicBezTo>
                    <a:pt x="104" y="19"/>
                    <a:pt x="100" y="17"/>
                    <a:pt x="101" y="20"/>
                  </a:cubicBezTo>
                  <a:cubicBezTo>
                    <a:pt x="103" y="23"/>
                    <a:pt x="93" y="25"/>
                    <a:pt x="93" y="28"/>
                  </a:cubicBezTo>
                  <a:cubicBezTo>
                    <a:pt x="92" y="30"/>
                    <a:pt x="83" y="30"/>
                    <a:pt x="81" y="33"/>
                  </a:cubicBezTo>
                  <a:cubicBezTo>
                    <a:pt x="81" y="36"/>
                    <a:pt x="86" y="34"/>
                    <a:pt x="81" y="37"/>
                  </a:cubicBezTo>
                  <a:cubicBezTo>
                    <a:pt x="78" y="37"/>
                    <a:pt x="72" y="47"/>
                    <a:pt x="74" y="52"/>
                  </a:cubicBezTo>
                  <a:cubicBezTo>
                    <a:pt x="74" y="56"/>
                    <a:pt x="77" y="56"/>
                    <a:pt x="77" y="58"/>
                  </a:cubicBezTo>
                  <a:cubicBezTo>
                    <a:pt x="77" y="58"/>
                    <a:pt x="68" y="62"/>
                    <a:pt x="69" y="69"/>
                  </a:cubicBezTo>
                  <a:cubicBezTo>
                    <a:pt x="69" y="70"/>
                    <a:pt x="69" y="70"/>
                    <a:pt x="66" y="70"/>
                  </a:cubicBezTo>
                  <a:cubicBezTo>
                    <a:pt x="60" y="70"/>
                    <a:pt x="60" y="81"/>
                    <a:pt x="57" y="78"/>
                  </a:cubicBezTo>
                  <a:cubicBezTo>
                    <a:pt x="55" y="77"/>
                    <a:pt x="51" y="81"/>
                    <a:pt x="46" y="80"/>
                  </a:cubicBezTo>
                  <a:cubicBezTo>
                    <a:pt x="43" y="78"/>
                    <a:pt x="40" y="80"/>
                    <a:pt x="40" y="81"/>
                  </a:cubicBezTo>
                  <a:cubicBezTo>
                    <a:pt x="38" y="83"/>
                    <a:pt x="35" y="81"/>
                    <a:pt x="34" y="83"/>
                  </a:cubicBezTo>
                  <a:cubicBezTo>
                    <a:pt x="32" y="86"/>
                    <a:pt x="32" y="86"/>
                    <a:pt x="31" y="86"/>
                  </a:cubicBezTo>
                  <a:cubicBezTo>
                    <a:pt x="31" y="88"/>
                    <a:pt x="31" y="88"/>
                    <a:pt x="28" y="86"/>
                  </a:cubicBezTo>
                  <a:cubicBezTo>
                    <a:pt x="25" y="83"/>
                    <a:pt x="23" y="81"/>
                    <a:pt x="23" y="78"/>
                  </a:cubicBezTo>
                  <a:cubicBezTo>
                    <a:pt x="23" y="77"/>
                    <a:pt x="20" y="72"/>
                    <a:pt x="16" y="73"/>
                  </a:cubicBezTo>
                  <a:cubicBezTo>
                    <a:pt x="16" y="72"/>
                    <a:pt x="16" y="67"/>
                    <a:pt x="19" y="66"/>
                  </a:cubicBezTo>
                  <a:cubicBezTo>
                    <a:pt x="22" y="62"/>
                    <a:pt x="20" y="62"/>
                    <a:pt x="19" y="62"/>
                  </a:cubicBezTo>
                  <a:cubicBezTo>
                    <a:pt x="17" y="62"/>
                    <a:pt x="16" y="61"/>
                    <a:pt x="19" y="56"/>
                  </a:cubicBezTo>
                  <a:cubicBezTo>
                    <a:pt x="22" y="52"/>
                    <a:pt x="19" y="55"/>
                    <a:pt x="17" y="52"/>
                  </a:cubicBezTo>
                  <a:cubicBezTo>
                    <a:pt x="17" y="47"/>
                    <a:pt x="14" y="47"/>
                    <a:pt x="17" y="47"/>
                  </a:cubicBezTo>
                  <a:cubicBezTo>
                    <a:pt x="20" y="47"/>
                    <a:pt x="20" y="45"/>
                    <a:pt x="20" y="42"/>
                  </a:cubicBezTo>
                  <a:cubicBezTo>
                    <a:pt x="19" y="41"/>
                    <a:pt x="22" y="41"/>
                    <a:pt x="20" y="33"/>
                  </a:cubicBezTo>
                  <a:cubicBezTo>
                    <a:pt x="20" y="31"/>
                    <a:pt x="29" y="25"/>
                    <a:pt x="25" y="25"/>
                  </a:cubicBezTo>
                  <a:cubicBezTo>
                    <a:pt x="22" y="23"/>
                    <a:pt x="25" y="22"/>
                    <a:pt x="20" y="20"/>
                  </a:cubicBezTo>
                  <a:cubicBezTo>
                    <a:pt x="16" y="20"/>
                    <a:pt x="19" y="23"/>
                    <a:pt x="14" y="22"/>
                  </a:cubicBezTo>
                  <a:cubicBezTo>
                    <a:pt x="11" y="20"/>
                    <a:pt x="11" y="23"/>
                    <a:pt x="10" y="22"/>
                  </a:cubicBezTo>
                  <a:cubicBezTo>
                    <a:pt x="8" y="22"/>
                    <a:pt x="13" y="20"/>
                    <a:pt x="11" y="19"/>
                  </a:cubicBezTo>
                  <a:cubicBezTo>
                    <a:pt x="10" y="19"/>
                    <a:pt x="10" y="19"/>
                    <a:pt x="5" y="22"/>
                  </a:cubicBezTo>
                  <a:cubicBezTo>
                    <a:pt x="3" y="20"/>
                    <a:pt x="5" y="17"/>
                    <a:pt x="3" y="16"/>
                  </a:cubicBezTo>
                  <a:close/>
                  <a:moveTo>
                    <a:pt x="97" y="48"/>
                  </a:moveTo>
                  <a:cubicBezTo>
                    <a:pt x="98" y="48"/>
                    <a:pt x="97" y="50"/>
                    <a:pt x="98" y="52"/>
                  </a:cubicBezTo>
                  <a:cubicBezTo>
                    <a:pt x="101" y="52"/>
                    <a:pt x="101" y="48"/>
                    <a:pt x="103" y="47"/>
                  </a:cubicBezTo>
                  <a:cubicBezTo>
                    <a:pt x="104" y="44"/>
                    <a:pt x="101" y="47"/>
                    <a:pt x="101" y="45"/>
                  </a:cubicBezTo>
                  <a:cubicBezTo>
                    <a:pt x="100" y="42"/>
                    <a:pt x="93" y="47"/>
                    <a:pt x="95" y="48"/>
                  </a:cubicBezTo>
                  <a:cubicBezTo>
                    <a:pt x="95" y="48"/>
                    <a:pt x="93" y="48"/>
                    <a:pt x="97" y="48"/>
                  </a:cubicBezTo>
                  <a:close/>
                  <a:moveTo>
                    <a:pt x="109" y="44"/>
                  </a:moveTo>
                  <a:cubicBezTo>
                    <a:pt x="109" y="45"/>
                    <a:pt x="110" y="45"/>
                    <a:pt x="109" y="44"/>
                  </a:cubicBezTo>
                  <a:cubicBezTo>
                    <a:pt x="109" y="42"/>
                    <a:pt x="106" y="42"/>
                    <a:pt x="106" y="44"/>
                  </a:cubicBezTo>
                  <a:cubicBezTo>
                    <a:pt x="106" y="44"/>
                    <a:pt x="107" y="44"/>
                    <a:pt x="109" y="44"/>
                  </a:cubicBezTo>
                  <a:close/>
                  <a:moveTo>
                    <a:pt x="87" y="53"/>
                  </a:moveTo>
                  <a:cubicBezTo>
                    <a:pt x="89" y="55"/>
                    <a:pt x="86" y="56"/>
                    <a:pt x="84" y="56"/>
                  </a:cubicBezTo>
                  <a:cubicBezTo>
                    <a:pt x="84" y="55"/>
                    <a:pt x="86" y="52"/>
                    <a:pt x="87" y="5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7" name="Freeform 210"/>
            <p:cNvSpPr>
              <a:spLocks noEditPoints="1"/>
            </p:cNvSpPr>
            <p:nvPr/>
          </p:nvSpPr>
          <p:spPr bwMode="auto">
            <a:xfrm>
              <a:off x="7909604" y="4076258"/>
              <a:ext cx="197440" cy="412643"/>
            </a:xfrm>
            <a:custGeom>
              <a:avLst/>
              <a:gdLst/>
              <a:ahLst/>
              <a:cxnLst>
                <a:cxn ang="0">
                  <a:pos x="38" y="38"/>
                </a:cxn>
                <a:cxn ang="0">
                  <a:pos x="56" y="52"/>
                </a:cxn>
                <a:cxn ang="0">
                  <a:pos x="59" y="78"/>
                </a:cxn>
                <a:cxn ang="0">
                  <a:pos x="62" y="84"/>
                </a:cxn>
                <a:cxn ang="0">
                  <a:pos x="64" y="81"/>
                </a:cxn>
                <a:cxn ang="0">
                  <a:pos x="58" y="72"/>
                </a:cxn>
                <a:cxn ang="0">
                  <a:pos x="48" y="95"/>
                </a:cxn>
                <a:cxn ang="0">
                  <a:pos x="47" y="78"/>
                </a:cxn>
                <a:cxn ang="0">
                  <a:pos x="42" y="91"/>
                </a:cxn>
                <a:cxn ang="0">
                  <a:pos x="45" y="80"/>
                </a:cxn>
                <a:cxn ang="0">
                  <a:pos x="53" y="66"/>
                </a:cxn>
                <a:cxn ang="0">
                  <a:pos x="50" y="66"/>
                </a:cxn>
                <a:cxn ang="0">
                  <a:pos x="68" y="80"/>
                </a:cxn>
                <a:cxn ang="0">
                  <a:pos x="53" y="77"/>
                </a:cxn>
                <a:cxn ang="0">
                  <a:pos x="55" y="81"/>
                </a:cxn>
                <a:cxn ang="0">
                  <a:pos x="50" y="87"/>
                </a:cxn>
                <a:cxn ang="0">
                  <a:pos x="59" y="89"/>
                </a:cxn>
                <a:cxn ang="0">
                  <a:pos x="55" y="87"/>
                </a:cxn>
                <a:cxn ang="0">
                  <a:pos x="41" y="114"/>
                </a:cxn>
                <a:cxn ang="0">
                  <a:pos x="47" y="111"/>
                </a:cxn>
                <a:cxn ang="0">
                  <a:pos x="53" y="109"/>
                </a:cxn>
                <a:cxn ang="0">
                  <a:pos x="56" y="123"/>
                </a:cxn>
                <a:cxn ang="0">
                  <a:pos x="67" y="130"/>
                </a:cxn>
                <a:cxn ang="0">
                  <a:pos x="68" y="114"/>
                </a:cxn>
                <a:cxn ang="0">
                  <a:pos x="71" y="119"/>
                </a:cxn>
                <a:cxn ang="0">
                  <a:pos x="74" y="109"/>
                </a:cxn>
                <a:cxn ang="0">
                  <a:pos x="73" y="97"/>
                </a:cxn>
                <a:cxn ang="0">
                  <a:pos x="67" y="94"/>
                </a:cxn>
                <a:cxn ang="0">
                  <a:pos x="58" y="103"/>
                </a:cxn>
                <a:cxn ang="0">
                  <a:pos x="50" y="100"/>
                </a:cxn>
                <a:cxn ang="0">
                  <a:pos x="42" y="106"/>
                </a:cxn>
                <a:cxn ang="0">
                  <a:pos x="41" y="122"/>
                </a:cxn>
                <a:cxn ang="0">
                  <a:pos x="33" y="126"/>
                </a:cxn>
                <a:cxn ang="0">
                  <a:pos x="52" y="97"/>
                </a:cxn>
                <a:cxn ang="0">
                  <a:pos x="61" y="97"/>
                </a:cxn>
                <a:cxn ang="0">
                  <a:pos x="39" y="61"/>
                </a:cxn>
                <a:cxn ang="0">
                  <a:pos x="38" y="53"/>
                </a:cxn>
                <a:cxn ang="0">
                  <a:pos x="42" y="63"/>
                </a:cxn>
                <a:cxn ang="0">
                  <a:pos x="50" y="61"/>
                </a:cxn>
                <a:cxn ang="0">
                  <a:pos x="52" y="61"/>
                </a:cxn>
                <a:cxn ang="0">
                  <a:pos x="23" y="81"/>
                </a:cxn>
                <a:cxn ang="0">
                  <a:pos x="67" y="73"/>
                </a:cxn>
                <a:cxn ang="0">
                  <a:pos x="59" y="67"/>
                </a:cxn>
                <a:cxn ang="0">
                  <a:pos x="68" y="77"/>
                </a:cxn>
                <a:cxn ang="0">
                  <a:pos x="70" y="87"/>
                </a:cxn>
                <a:cxn ang="0">
                  <a:pos x="47" y="77"/>
                </a:cxn>
                <a:cxn ang="0">
                  <a:pos x="39" y="70"/>
                </a:cxn>
                <a:cxn ang="0">
                  <a:pos x="35" y="63"/>
                </a:cxn>
                <a:cxn ang="0">
                  <a:pos x="27" y="56"/>
                </a:cxn>
                <a:cxn ang="0">
                  <a:pos x="11" y="94"/>
                </a:cxn>
                <a:cxn ang="0">
                  <a:pos x="20" y="73"/>
                </a:cxn>
                <a:cxn ang="0">
                  <a:pos x="7" y="94"/>
                </a:cxn>
                <a:cxn ang="0">
                  <a:pos x="53" y="56"/>
                </a:cxn>
                <a:cxn ang="0">
                  <a:pos x="47" y="50"/>
                </a:cxn>
                <a:cxn ang="0">
                  <a:pos x="36" y="41"/>
                </a:cxn>
                <a:cxn ang="0">
                  <a:pos x="42" y="19"/>
                </a:cxn>
                <a:cxn ang="0">
                  <a:pos x="26" y="8"/>
                </a:cxn>
                <a:cxn ang="0">
                  <a:pos x="21" y="28"/>
                </a:cxn>
                <a:cxn ang="0">
                  <a:pos x="29" y="41"/>
                </a:cxn>
                <a:cxn ang="0">
                  <a:pos x="35" y="49"/>
                </a:cxn>
                <a:cxn ang="0">
                  <a:pos x="45" y="52"/>
                </a:cxn>
                <a:cxn ang="0">
                  <a:pos x="56" y="59"/>
                </a:cxn>
                <a:cxn ang="0">
                  <a:pos x="77" y="142"/>
                </a:cxn>
              </a:cxnLst>
              <a:rect l="0" t="0" r="r" b="b"/>
              <a:pathLst>
                <a:path w="77" h="147">
                  <a:moveTo>
                    <a:pt x="38" y="38"/>
                  </a:moveTo>
                  <a:cubicBezTo>
                    <a:pt x="38" y="36"/>
                    <a:pt x="38" y="38"/>
                    <a:pt x="39" y="39"/>
                  </a:cubicBezTo>
                  <a:cubicBezTo>
                    <a:pt x="39" y="41"/>
                    <a:pt x="38" y="42"/>
                    <a:pt x="38" y="41"/>
                  </a:cubicBezTo>
                  <a:cubicBezTo>
                    <a:pt x="38" y="38"/>
                    <a:pt x="36" y="38"/>
                    <a:pt x="38" y="38"/>
                  </a:cubicBezTo>
                  <a:close/>
                  <a:moveTo>
                    <a:pt x="58" y="50"/>
                  </a:moveTo>
                  <a:cubicBezTo>
                    <a:pt x="58" y="49"/>
                    <a:pt x="58" y="49"/>
                    <a:pt x="58" y="49"/>
                  </a:cubicBezTo>
                  <a:cubicBezTo>
                    <a:pt x="56" y="47"/>
                    <a:pt x="55" y="45"/>
                    <a:pt x="56" y="49"/>
                  </a:cubicBezTo>
                  <a:cubicBezTo>
                    <a:pt x="56" y="52"/>
                    <a:pt x="55" y="50"/>
                    <a:pt x="56" y="52"/>
                  </a:cubicBezTo>
                  <a:cubicBezTo>
                    <a:pt x="56" y="53"/>
                    <a:pt x="58" y="52"/>
                    <a:pt x="58" y="50"/>
                  </a:cubicBezTo>
                  <a:close/>
                  <a:moveTo>
                    <a:pt x="58" y="75"/>
                  </a:moveTo>
                  <a:cubicBezTo>
                    <a:pt x="58" y="77"/>
                    <a:pt x="59" y="77"/>
                    <a:pt x="58" y="78"/>
                  </a:cubicBezTo>
                  <a:cubicBezTo>
                    <a:pt x="56" y="78"/>
                    <a:pt x="59" y="80"/>
                    <a:pt x="59" y="78"/>
                  </a:cubicBezTo>
                  <a:cubicBezTo>
                    <a:pt x="59" y="77"/>
                    <a:pt x="62" y="80"/>
                    <a:pt x="61" y="81"/>
                  </a:cubicBezTo>
                  <a:cubicBezTo>
                    <a:pt x="59" y="83"/>
                    <a:pt x="61" y="83"/>
                    <a:pt x="61" y="84"/>
                  </a:cubicBezTo>
                  <a:cubicBezTo>
                    <a:pt x="61" y="86"/>
                    <a:pt x="61" y="86"/>
                    <a:pt x="62" y="86"/>
                  </a:cubicBezTo>
                  <a:cubicBezTo>
                    <a:pt x="64" y="87"/>
                    <a:pt x="62" y="84"/>
                    <a:pt x="62" y="84"/>
                  </a:cubicBezTo>
                  <a:cubicBezTo>
                    <a:pt x="64" y="84"/>
                    <a:pt x="64" y="86"/>
                    <a:pt x="64" y="87"/>
                  </a:cubicBezTo>
                  <a:cubicBezTo>
                    <a:pt x="65" y="89"/>
                    <a:pt x="65" y="87"/>
                    <a:pt x="64" y="86"/>
                  </a:cubicBezTo>
                  <a:cubicBezTo>
                    <a:pt x="64" y="84"/>
                    <a:pt x="67" y="84"/>
                    <a:pt x="65" y="83"/>
                  </a:cubicBezTo>
                  <a:cubicBezTo>
                    <a:pt x="64" y="83"/>
                    <a:pt x="65" y="81"/>
                    <a:pt x="64" y="81"/>
                  </a:cubicBezTo>
                  <a:cubicBezTo>
                    <a:pt x="62" y="80"/>
                    <a:pt x="64" y="75"/>
                    <a:pt x="62" y="75"/>
                  </a:cubicBezTo>
                  <a:cubicBezTo>
                    <a:pt x="62" y="75"/>
                    <a:pt x="64" y="73"/>
                    <a:pt x="62" y="73"/>
                  </a:cubicBezTo>
                  <a:cubicBezTo>
                    <a:pt x="61" y="73"/>
                    <a:pt x="61" y="75"/>
                    <a:pt x="59" y="73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6" y="73"/>
                    <a:pt x="58" y="75"/>
                    <a:pt x="58" y="75"/>
                  </a:cubicBezTo>
                  <a:close/>
                  <a:moveTo>
                    <a:pt x="42" y="91"/>
                  </a:moveTo>
                  <a:cubicBezTo>
                    <a:pt x="44" y="94"/>
                    <a:pt x="45" y="92"/>
                    <a:pt x="45" y="95"/>
                  </a:cubicBezTo>
                  <a:cubicBezTo>
                    <a:pt x="47" y="98"/>
                    <a:pt x="48" y="97"/>
                    <a:pt x="48" y="95"/>
                  </a:cubicBezTo>
                  <a:cubicBezTo>
                    <a:pt x="50" y="94"/>
                    <a:pt x="47" y="91"/>
                    <a:pt x="48" y="87"/>
                  </a:cubicBezTo>
                  <a:cubicBezTo>
                    <a:pt x="50" y="86"/>
                    <a:pt x="48" y="86"/>
                    <a:pt x="50" y="83"/>
                  </a:cubicBezTo>
                  <a:cubicBezTo>
                    <a:pt x="52" y="81"/>
                    <a:pt x="52" y="78"/>
                    <a:pt x="50" y="78"/>
                  </a:cubicBezTo>
                  <a:cubicBezTo>
                    <a:pt x="48" y="78"/>
                    <a:pt x="48" y="77"/>
                    <a:pt x="47" y="78"/>
                  </a:cubicBezTo>
                  <a:cubicBezTo>
                    <a:pt x="45" y="80"/>
                    <a:pt x="47" y="81"/>
                    <a:pt x="45" y="81"/>
                  </a:cubicBezTo>
                  <a:cubicBezTo>
                    <a:pt x="44" y="83"/>
                    <a:pt x="47" y="86"/>
                    <a:pt x="45" y="87"/>
                  </a:cubicBezTo>
                  <a:cubicBezTo>
                    <a:pt x="42" y="89"/>
                    <a:pt x="42" y="86"/>
                    <a:pt x="42" y="89"/>
                  </a:cubicBezTo>
                  <a:cubicBezTo>
                    <a:pt x="42" y="91"/>
                    <a:pt x="42" y="91"/>
                    <a:pt x="42" y="91"/>
                  </a:cubicBezTo>
                  <a:close/>
                  <a:moveTo>
                    <a:pt x="45" y="80"/>
                  </a:moveTo>
                  <a:cubicBezTo>
                    <a:pt x="44" y="80"/>
                    <a:pt x="42" y="81"/>
                    <a:pt x="44" y="81"/>
                  </a:cubicBezTo>
                  <a:cubicBezTo>
                    <a:pt x="44" y="83"/>
                    <a:pt x="42" y="83"/>
                    <a:pt x="44" y="83"/>
                  </a:cubicBezTo>
                  <a:cubicBezTo>
                    <a:pt x="44" y="84"/>
                    <a:pt x="45" y="81"/>
                    <a:pt x="45" y="80"/>
                  </a:cubicBezTo>
                  <a:close/>
                  <a:moveTo>
                    <a:pt x="50" y="66"/>
                  </a:moveTo>
                  <a:cubicBezTo>
                    <a:pt x="52" y="64"/>
                    <a:pt x="52" y="69"/>
                    <a:pt x="53" y="69"/>
                  </a:cubicBezTo>
                  <a:cubicBezTo>
                    <a:pt x="55" y="69"/>
                    <a:pt x="56" y="72"/>
                    <a:pt x="56" y="70"/>
                  </a:cubicBezTo>
                  <a:cubicBezTo>
                    <a:pt x="55" y="67"/>
                    <a:pt x="55" y="66"/>
                    <a:pt x="53" y="66"/>
                  </a:cubicBezTo>
                  <a:cubicBezTo>
                    <a:pt x="52" y="64"/>
                    <a:pt x="52" y="63"/>
                    <a:pt x="50" y="63"/>
                  </a:cubicBezTo>
                  <a:cubicBezTo>
                    <a:pt x="50" y="63"/>
                    <a:pt x="48" y="61"/>
                    <a:pt x="48" y="63"/>
                  </a:cubicBezTo>
                  <a:cubicBezTo>
                    <a:pt x="48" y="64"/>
                    <a:pt x="48" y="66"/>
                    <a:pt x="48" y="69"/>
                  </a:cubicBezTo>
                  <a:cubicBezTo>
                    <a:pt x="47" y="69"/>
                    <a:pt x="50" y="67"/>
                    <a:pt x="50" y="66"/>
                  </a:cubicBezTo>
                  <a:close/>
                  <a:moveTo>
                    <a:pt x="59" y="70"/>
                  </a:moveTo>
                  <a:cubicBezTo>
                    <a:pt x="59" y="70"/>
                    <a:pt x="61" y="73"/>
                    <a:pt x="59" y="72"/>
                  </a:cubicBezTo>
                  <a:cubicBezTo>
                    <a:pt x="58" y="72"/>
                    <a:pt x="58" y="70"/>
                    <a:pt x="59" y="70"/>
                  </a:cubicBezTo>
                  <a:close/>
                  <a:moveTo>
                    <a:pt x="68" y="80"/>
                  </a:moveTo>
                  <a:cubicBezTo>
                    <a:pt x="68" y="80"/>
                    <a:pt x="70" y="80"/>
                    <a:pt x="68" y="80"/>
                  </a:cubicBezTo>
                  <a:cubicBezTo>
                    <a:pt x="68" y="81"/>
                    <a:pt x="68" y="80"/>
                    <a:pt x="68" y="80"/>
                  </a:cubicBezTo>
                  <a:close/>
                  <a:moveTo>
                    <a:pt x="53" y="75"/>
                  </a:moveTo>
                  <a:cubicBezTo>
                    <a:pt x="53" y="73"/>
                    <a:pt x="53" y="77"/>
                    <a:pt x="53" y="77"/>
                  </a:cubicBezTo>
                  <a:cubicBezTo>
                    <a:pt x="53" y="77"/>
                    <a:pt x="52" y="75"/>
                    <a:pt x="53" y="75"/>
                  </a:cubicBezTo>
                  <a:close/>
                  <a:moveTo>
                    <a:pt x="52" y="91"/>
                  </a:moveTo>
                  <a:cubicBezTo>
                    <a:pt x="52" y="87"/>
                    <a:pt x="52" y="89"/>
                    <a:pt x="52" y="87"/>
                  </a:cubicBezTo>
                  <a:cubicBezTo>
                    <a:pt x="52" y="84"/>
                    <a:pt x="56" y="84"/>
                    <a:pt x="55" y="81"/>
                  </a:cubicBezTo>
                  <a:cubicBezTo>
                    <a:pt x="55" y="80"/>
                    <a:pt x="56" y="80"/>
                    <a:pt x="56" y="78"/>
                  </a:cubicBezTo>
                  <a:cubicBezTo>
                    <a:pt x="55" y="77"/>
                    <a:pt x="56" y="72"/>
                    <a:pt x="55" y="77"/>
                  </a:cubicBezTo>
                  <a:cubicBezTo>
                    <a:pt x="53" y="80"/>
                    <a:pt x="53" y="78"/>
                    <a:pt x="53" y="81"/>
                  </a:cubicBezTo>
                  <a:cubicBezTo>
                    <a:pt x="52" y="84"/>
                    <a:pt x="50" y="86"/>
                    <a:pt x="50" y="87"/>
                  </a:cubicBezTo>
                  <a:cubicBezTo>
                    <a:pt x="50" y="89"/>
                    <a:pt x="50" y="89"/>
                    <a:pt x="50" y="92"/>
                  </a:cubicBezTo>
                  <a:cubicBezTo>
                    <a:pt x="50" y="94"/>
                    <a:pt x="50" y="92"/>
                    <a:pt x="52" y="91"/>
                  </a:cubicBezTo>
                  <a:close/>
                  <a:moveTo>
                    <a:pt x="58" y="91"/>
                  </a:moveTo>
                  <a:cubicBezTo>
                    <a:pt x="59" y="89"/>
                    <a:pt x="59" y="91"/>
                    <a:pt x="59" y="89"/>
                  </a:cubicBezTo>
                  <a:cubicBezTo>
                    <a:pt x="59" y="87"/>
                    <a:pt x="61" y="86"/>
                    <a:pt x="59" y="86"/>
                  </a:cubicBezTo>
                  <a:cubicBezTo>
                    <a:pt x="59" y="86"/>
                    <a:pt x="59" y="87"/>
                    <a:pt x="58" y="86"/>
                  </a:cubicBezTo>
                  <a:cubicBezTo>
                    <a:pt x="58" y="86"/>
                    <a:pt x="56" y="84"/>
                    <a:pt x="56" y="86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3" y="87"/>
                    <a:pt x="53" y="89"/>
                    <a:pt x="53" y="91"/>
                  </a:cubicBezTo>
                  <a:cubicBezTo>
                    <a:pt x="55" y="92"/>
                    <a:pt x="58" y="91"/>
                    <a:pt x="58" y="91"/>
                  </a:cubicBezTo>
                  <a:close/>
                  <a:moveTo>
                    <a:pt x="39" y="117"/>
                  </a:moveTo>
                  <a:cubicBezTo>
                    <a:pt x="41" y="119"/>
                    <a:pt x="41" y="116"/>
                    <a:pt x="41" y="114"/>
                  </a:cubicBezTo>
                  <a:cubicBezTo>
                    <a:pt x="42" y="112"/>
                    <a:pt x="41" y="112"/>
                    <a:pt x="42" y="112"/>
                  </a:cubicBezTo>
                  <a:cubicBezTo>
                    <a:pt x="44" y="111"/>
                    <a:pt x="42" y="111"/>
                    <a:pt x="44" y="109"/>
                  </a:cubicBezTo>
                  <a:cubicBezTo>
                    <a:pt x="45" y="108"/>
                    <a:pt x="45" y="109"/>
                    <a:pt x="45" y="111"/>
                  </a:cubicBezTo>
                  <a:cubicBezTo>
                    <a:pt x="44" y="112"/>
                    <a:pt x="47" y="112"/>
                    <a:pt x="47" y="111"/>
                  </a:cubicBezTo>
                  <a:cubicBezTo>
                    <a:pt x="48" y="108"/>
                    <a:pt x="47" y="112"/>
                    <a:pt x="48" y="112"/>
                  </a:cubicBezTo>
                  <a:cubicBezTo>
                    <a:pt x="50" y="112"/>
                    <a:pt x="52" y="114"/>
                    <a:pt x="50" y="112"/>
                  </a:cubicBezTo>
                  <a:cubicBezTo>
                    <a:pt x="50" y="111"/>
                    <a:pt x="52" y="109"/>
                    <a:pt x="50" y="109"/>
                  </a:cubicBezTo>
                  <a:cubicBezTo>
                    <a:pt x="50" y="109"/>
                    <a:pt x="52" y="108"/>
                    <a:pt x="53" y="109"/>
                  </a:cubicBezTo>
                  <a:cubicBezTo>
                    <a:pt x="53" y="111"/>
                    <a:pt x="55" y="109"/>
                    <a:pt x="56" y="111"/>
                  </a:cubicBezTo>
                  <a:cubicBezTo>
                    <a:pt x="56" y="114"/>
                    <a:pt x="56" y="112"/>
                    <a:pt x="56" y="114"/>
                  </a:cubicBezTo>
                  <a:cubicBezTo>
                    <a:pt x="56" y="114"/>
                    <a:pt x="53" y="116"/>
                    <a:pt x="55" y="119"/>
                  </a:cubicBezTo>
                  <a:cubicBezTo>
                    <a:pt x="55" y="120"/>
                    <a:pt x="55" y="123"/>
                    <a:pt x="56" y="123"/>
                  </a:cubicBezTo>
                  <a:cubicBezTo>
                    <a:pt x="58" y="125"/>
                    <a:pt x="55" y="125"/>
                    <a:pt x="58" y="126"/>
                  </a:cubicBezTo>
                  <a:cubicBezTo>
                    <a:pt x="61" y="128"/>
                    <a:pt x="62" y="130"/>
                    <a:pt x="64" y="126"/>
                  </a:cubicBezTo>
                  <a:cubicBezTo>
                    <a:pt x="64" y="125"/>
                    <a:pt x="65" y="125"/>
                    <a:pt x="65" y="126"/>
                  </a:cubicBezTo>
                  <a:cubicBezTo>
                    <a:pt x="64" y="128"/>
                    <a:pt x="65" y="133"/>
                    <a:pt x="67" y="130"/>
                  </a:cubicBezTo>
                  <a:cubicBezTo>
                    <a:pt x="68" y="128"/>
                    <a:pt x="68" y="125"/>
                    <a:pt x="68" y="123"/>
                  </a:cubicBezTo>
                  <a:cubicBezTo>
                    <a:pt x="67" y="122"/>
                    <a:pt x="67" y="120"/>
                    <a:pt x="67" y="120"/>
                  </a:cubicBezTo>
                  <a:cubicBezTo>
                    <a:pt x="65" y="120"/>
                    <a:pt x="65" y="117"/>
                    <a:pt x="67" y="117"/>
                  </a:cubicBezTo>
                  <a:cubicBezTo>
                    <a:pt x="68" y="116"/>
                    <a:pt x="67" y="114"/>
                    <a:pt x="68" y="114"/>
                  </a:cubicBezTo>
                  <a:cubicBezTo>
                    <a:pt x="70" y="112"/>
                    <a:pt x="68" y="114"/>
                    <a:pt x="70" y="116"/>
                  </a:cubicBezTo>
                  <a:cubicBezTo>
                    <a:pt x="70" y="117"/>
                    <a:pt x="70" y="117"/>
                    <a:pt x="71" y="119"/>
                  </a:cubicBezTo>
                  <a:cubicBezTo>
                    <a:pt x="71" y="120"/>
                    <a:pt x="70" y="119"/>
                    <a:pt x="71" y="123"/>
                  </a:cubicBezTo>
                  <a:cubicBezTo>
                    <a:pt x="73" y="125"/>
                    <a:pt x="73" y="122"/>
                    <a:pt x="71" y="119"/>
                  </a:cubicBezTo>
                  <a:cubicBezTo>
                    <a:pt x="71" y="116"/>
                    <a:pt x="74" y="120"/>
                    <a:pt x="73" y="117"/>
                  </a:cubicBezTo>
                  <a:cubicBezTo>
                    <a:pt x="73" y="116"/>
                    <a:pt x="74" y="119"/>
                    <a:pt x="74" y="116"/>
                  </a:cubicBezTo>
                  <a:cubicBezTo>
                    <a:pt x="76" y="114"/>
                    <a:pt x="76" y="112"/>
                    <a:pt x="74" y="111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3" y="108"/>
                    <a:pt x="74" y="105"/>
                    <a:pt x="74" y="105"/>
                  </a:cubicBezTo>
                  <a:cubicBezTo>
                    <a:pt x="73" y="103"/>
                    <a:pt x="74" y="101"/>
                    <a:pt x="73" y="101"/>
                  </a:cubicBezTo>
                  <a:cubicBezTo>
                    <a:pt x="71" y="101"/>
                    <a:pt x="71" y="101"/>
                    <a:pt x="71" y="100"/>
                  </a:cubicBezTo>
                  <a:cubicBezTo>
                    <a:pt x="73" y="100"/>
                    <a:pt x="74" y="98"/>
                    <a:pt x="73" y="97"/>
                  </a:cubicBezTo>
                  <a:cubicBezTo>
                    <a:pt x="71" y="95"/>
                    <a:pt x="73" y="94"/>
                    <a:pt x="71" y="94"/>
                  </a:cubicBezTo>
                  <a:cubicBezTo>
                    <a:pt x="70" y="95"/>
                    <a:pt x="71" y="92"/>
                    <a:pt x="68" y="92"/>
                  </a:cubicBezTo>
                  <a:cubicBezTo>
                    <a:pt x="67" y="91"/>
                    <a:pt x="68" y="91"/>
                    <a:pt x="67" y="89"/>
                  </a:cubicBezTo>
                  <a:cubicBezTo>
                    <a:pt x="65" y="89"/>
                    <a:pt x="65" y="89"/>
                    <a:pt x="67" y="94"/>
                  </a:cubicBezTo>
                  <a:cubicBezTo>
                    <a:pt x="68" y="98"/>
                    <a:pt x="65" y="97"/>
                    <a:pt x="65" y="97"/>
                  </a:cubicBezTo>
                  <a:cubicBezTo>
                    <a:pt x="64" y="95"/>
                    <a:pt x="65" y="100"/>
                    <a:pt x="62" y="98"/>
                  </a:cubicBezTo>
                  <a:cubicBezTo>
                    <a:pt x="61" y="95"/>
                    <a:pt x="61" y="98"/>
                    <a:pt x="61" y="101"/>
                  </a:cubicBezTo>
                  <a:cubicBezTo>
                    <a:pt x="61" y="105"/>
                    <a:pt x="58" y="98"/>
                    <a:pt x="58" y="103"/>
                  </a:cubicBezTo>
                  <a:cubicBezTo>
                    <a:pt x="56" y="106"/>
                    <a:pt x="56" y="105"/>
                    <a:pt x="55" y="106"/>
                  </a:cubicBezTo>
                  <a:cubicBezTo>
                    <a:pt x="52" y="108"/>
                    <a:pt x="55" y="106"/>
                    <a:pt x="53" y="103"/>
                  </a:cubicBezTo>
                  <a:cubicBezTo>
                    <a:pt x="53" y="101"/>
                    <a:pt x="53" y="100"/>
                    <a:pt x="52" y="101"/>
                  </a:cubicBezTo>
                  <a:cubicBezTo>
                    <a:pt x="50" y="101"/>
                    <a:pt x="52" y="100"/>
                    <a:pt x="50" y="100"/>
                  </a:cubicBezTo>
                  <a:cubicBezTo>
                    <a:pt x="50" y="100"/>
                    <a:pt x="50" y="101"/>
                    <a:pt x="48" y="101"/>
                  </a:cubicBezTo>
                  <a:cubicBezTo>
                    <a:pt x="47" y="101"/>
                    <a:pt x="45" y="103"/>
                    <a:pt x="47" y="105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4" y="105"/>
                    <a:pt x="44" y="106"/>
                    <a:pt x="42" y="106"/>
                  </a:cubicBezTo>
                  <a:cubicBezTo>
                    <a:pt x="41" y="106"/>
                    <a:pt x="39" y="108"/>
                    <a:pt x="39" y="109"/>
                  </a:cubicBezTo>
                  <a:cubicBezTo>
                    <a:pt x="39" y="111"/>
                    <a:pt x="39" y="112"/>
                    <a:pt x="38" y="114"/>
                  </a:cubicBezTo>
                  <a:cubicBezTo>
                    <a:pt x="38" y="116"/>
                    <a:pt x="38" y="116"/>
                    <a:pt x="39" y="117"/>
                  </a:cubicBezTo>
                  <a:close/>
                  <a:moveTo>
                    <a:pt x="41" y="122"/>
                  </a:moveTo>
                  <a:cubicBezTo>
                    <a:pt x="41" y="122"/>
                    <a:pt x="38" y="123"/>
                    <a:pt x="38" y="122"/>
                  </a:cubicBezTo>
                  <a:cubicBezTo>
                    <a:pt x="38" y="119"/>
                    <a:pt x="41" y="120"/>
                    <a:pt x="41" y="122"/>
                  </a:cubicBezTo>
                  <a:close/>
                  <a:moveTo>
                    <a:pt x="32" y="128"/>
                  </a:moveTo>
                  <a:cubicBezTo>
                    <a:pt x="33" y="128"/>
                    <a:pt x="35" y="126"/>
                    <a:pt x="33" y="126"/>
                  </a:cubicBezTo>
                  <a:cubicBezTo>
                    <a:pt x="33" y="126"/>
                    <a:pt x="32" y="123"/>
                    <a:pt x="30" y="126"/>
                  </a:cubicBezTo>
                  <a:cubicBezTo>
                    <a:pt x="29" y="128"/>
                    <a:pt x="32" y="126"/>
                    <a:pt x="32" y="128"/>
                  </a:cubicBezTo>
                  <a:close/>
                  <a:moveTo>
                    <a:pt x="50" y="95"/>
                  </a:moveTo>
                  <a:cubicBezTo>
                    <a:pt x="52" y="97"/>
                    <a:pt x="52" y="97"/>
                    <a:pt x="52" y="97"/>
                  </a:cubicBezTo>
                  <a:cubicBezTo>
                    <a:pt x="53" y="95"/>
                    <a:pt x="52" y="94"/>
                    <a:pt x="52" y="95"/>
                  </a:cubicBezTo>
                  <a:cubicBezTo>
                    <a:pt x="52" y="95"/>
                    <a:pt x="52" y="95"/>
                    <a:pt x="50" y="95"/>
                  </a:cubicBezTo>
                  <a:close/>
                  <a:moveTo>
                    <a:pt x="59" y="95"/>
                  </a:moveTo>
                  <a:cubicBezTo>
                    <a:pt x="61" y="95"/>
                    <a:pt x="62" y="95"/>
                    <a:pt x="61" y="97"/>
                  </a:cubicBezTo>
                  <a:cubicBezTo>
                    <a:pt x="59" y="95"/>
                    <a:pt x="59" y="95"/>
                    <a:pt x="59" y="95"/>
                  </a:cubicBezTo>
                  <a:close/>
                  <a:moveTo>
                    <a:pt x="38" y="64"/>
                  </a:moveTo>
                  <a:cubicBezTo>
                    <a:pt x="38" y="66"/>
                    <a:pt x="39" y="66"/>
                    <a:pt x="39" y="64"/>
                  </a:cubicBezTo>
                  <a:cubicBezTo>
                    <a:pt x="39" y="61"/>
                    <a:pt x="41" y="61"/>
                    <a:pt x="39" y="61"/>
                  </a:cubicBezTo>
                  <a:cubicBezTo>
                    <a:pt x="38" y="63"/>
                    <a:pt x="39" y="61"/>
                    <a:pt x="38" y="64"/>
                  </a:cubicBezTo>
                  <a:close/>
                  <a:moveTo>
                    <a:pt x="39" y="55"/>
                  </a:moveTo>
                  <a:cubicBezTo>
                    <a:pt x="39" y="55"/>
                    <a:pt x="41" y="53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5"/>
                    <a:pt x="38" y="56"/>
                    <a:pt x="39" y="55"/>
                  </a:cubicBezTo>
                  <a:close/>
                  <a:moveTo>
                    <a:pt x="42" y="64"/>
                  </a:moveTo>
                  <a:cubicBezTo>
                    <a:pt x="44" y="64"/>
                    <a:pt x="44" y="66"/>
                    <a:pt x="44" y="64"/>
                  </a:cubicBezTo>
                  <a:cubicBezTo>
                    <a:pt x="45" y="63"/>
                    <a:pt x="42" y="63"/>
                    <a:pt x="42" y="63"/>
                  </a:cubicBezTo>
                  <a:cubicBezTo>
                    <a:pt x="42" y="64"/>
                    <a:pt x="42" y="64"/>
                    <a:pt x="42" y="64"/>
                  </a:cubicBezTo>
                  <a:close/>
                  <a:moveTo>
                    <a:pt x="47" y="58"/>
                  </a:moveTo>
                  <a:cubicBezTo>
                    <a:pt x="47" y="59"/>
                    <a:pt x="47" y="59"/>
                    <a:pt x="48" y="59"/>
                  </a:cubicBezTo>
                  <a:cubicBezTo>
                    <a:pt x="48" y="59"/>
                    <a:pt x="48" y="59"/>
                    <a:pt x="50" y="61"/>
                  </a:cubicBezTo>
                  <a:cubicBezTo>
                    <a:pt x="48" y="59"/>
                    <a:pt x="48" y="59"/>
                    <a:pt x="48" y="59"/>
                  </a:cubicBezTo>
                  <a:cubicBezTo>
                    <a:pt x="48" y="58"/>
                    <a:pt x="47" y="56"/>
                    <a:pt x="47" y="56"/>
                  </a:cubicBezTo>
                  <a:cubicBezTo>
                    <a:pt x="45" y="56"/>
                    <a:pt x="45" y="58"/>
                    <a:pt x="47" y="58"/>
                  </a:cubicBezTo>
                  <a:close/>
                  <a:moveTo>
                    <a:pt x="52" y="61"/>
                  </a:moveTo>
                  <a:cubicBezTo>
                    <a:pt x="53" y="64"/>
                    <a:pt x="53" y="64"/>
                    <a:pt x="53" y="64"/>
                  </a:cubicBezTo>
                  <a:cubicBezTo>
                    <a:pt x="52" y="61"/>
                    <a:pt x="52" y="61"/>
                    <a:pt x="52" y="61"/>
                  </a:cubicBezTo>
                  <a:close/>
                  <a:moveTo>
                    <a:pt x="21" y="83"/>
                  </a:moveTo>
                  <a:cubicBezTo>
                    <a:pt x="23" y="80"/>
                    <a:pt x="24" y="81"/>
                    <a:pt x="23" y="81"/>
                  </a:cubicBezTo>
                  <a:cubicBezTo>
                    <a:pt x="23" y="83"/>
                    <a:pt x="21" y="84"/>
                    <a:pt x="21" y="83"/>
                  </a:cubicBezTo>
                  <a:close/>
                  <a:moveTo>
                    <a:pt x="68" y="77"/>
                  </a:moveTo>
                  <a:cubicBezTo>
                    <a:pt x="70" y="78"/>
                    <a:pt x="68" y="77"/>
                    <a:pt x="68" y="75"/>
                  </a:cubicBezTo>
                  <a:cubicBezTo>
                    <a:pt x="67" y="75"/>
                    <a:pt x="68" y="73"/>
                    <a:pt x="67" y="73"/>
                  </a:cubicBezTo>
                  <a:cubicBezTo>
                    <a:pt x="65" y="72"/>
                    <a:pt x="67" y="66"/>
                    <a:pt x="65" y="64"/>
                  </a:cubicBezTo>
                  <a:cubicBezTo>
                    <a:pt x="65" y="64"/>
                    <a:pt x="65" y="63"/>
                    <a:pt x="64" y="63"/>
                  </a:cubicBezTo>
                  <a:cubicBezTo>
                    <a:pt x="62" y="61"/>
                    <a:pt x="61" y="63"/>
                    <a:pt x="58" y="63"/>
                  </a:cubicBezTo>
                  <a:cubicBezTo>
                    <a:pt x="56" y="61"/>
                    <a:pt x="58" y="66"/>
                    <a:pt x="59" y="67"/>
                  </a:cubicBezTo>
                  <a:cubicBezTo>
                    <a:pt x="62" y="69"/>
                    <a:pt x="61" y="69"/>
                    <a:pt x="62" y="70"/>
                  </a:cubicBezTo>
                  <a:cubicBezTo>
                    <a:pt x="64" y="70"/>
                    <a:pt x="62" y="70"/>
                    <a:pt x="62" y="72"/>
                  </a:cubicBezTo>
                  <a:cubicBezTo>
                    <a:pt x="61" y="72"/>
                    <a:pt x="64" y="73"/>
                    <a:pt x="64" y="77"/>
                  </a:cubicBezTo>
                  <a:cubicBezTo>
                    <a:pt x="64" y="78"/>
                    <a:pt x="67" y="75"/>
                    <a:pt x="68" y="77"/>
                  </a:cubicBezTo>
                  <a:close/>
                  <a:moveTo>
                    <a:pt x="67" y="87"/>
                  </a:moveTo>
                  <a:cubicBezTo>
                    <a:pt x="65" y="86"/>
                    <a:pt x="68" y="81"/>
                    <a:pt x="68" y="83"/>
                  </a:cubicBezTo>
                  <a:cubicBezTo>
                    <a:pt x="68" y="86"/>
                    <a:pt x="70" y="91"/>
                    <a:pt x="67" y="87"/>
                  </a:cubicBezTo>
                  <a:close/>
                  <a:moveTo>
                    <a:pt x="70" y="87"/>
                  </a:moveTo>
                  <a:cubicBezTo>
                    <a:pt x="71" y="86"/>
                    <a:pt x="71" y="86"/>
                    <a:pt x="71" y="87"/>
                  </a:cubicBezTo>
                  <a:cubicBezTo>
                    <a:pt x="73" y="91"/>
                    <a:pt x="70" y="91"/>
                    <a:pt x="70" y="87"/>
                  </a:cubicBezTo>
                  <a:close/>
                  <a:moveTo>
                    <a:pt x="42" y="81"/>
                  </a:moveTo>
                  <a:cubicBezTo>
                    <a:pt x="44" y="81"/>
                    <a:pt x="45" y="78"/>
                    <a:pt x="47" y="77"/>
                  </a:cubicBezTo>
                  <a:cubicBezTo>
                    <a:pt x="48" y="75"/>
                    <a:pt x="48" y="72"/>
                    <a:pt x="47" y="72"/>
                  </a:cubicBezTo>
                  <a:cubicBezTo>
                    <a:pt x="45" y="73"/>
                    <a:pt x="45" y="70"/>
                    <a:pt x="44" y="72"/>
                  </a:cubicBezTo>
                  <a:cubicBezTo>
                    <a:pt x="44" y="73"/>
                    <a:pt x="41" y="69"/>
                    <a:pt x="39" y="69"/>
                  </a:cubicBezTo>
                  <a:cubicBezTo>
                    <a:pt x="38" y="67"/>
                    <a:pt x="36" y="69"/>
                    <a:pt x="39" y="70"/>
                  </a:cubicBezTo>
                  <a:cubicBezTo>
                    <a:pt x="41" y="72"/>
                    <a:pt x="39" y="73"/>
                    <a:pt x="39" y="77"/>
                  </a:cubicBezTo>
                  <a:cubicBezTo>
                    <a:pt x="39" y="78"/>
                    <a:pt x="38" y="77"/>
                    <a:pt x="38" y="81"/>
                  </a:cubicBezTo>
                  <a:cubicBezTo>
                    <a:pt x="38" y="86"/>
                    <a:pt x="39" y="81"/>
                    <a:pt x="42" y="81"/>
                  </a:cubicBezTo>
                  <a:close/>
                  <a:moveTo>
                    <a:pt x="35" y="63"/>
                  </a:moveTo>
                  <a:cubicBezTo>
                    <a:pt x="36" y="59"/>
                    <a:pt x="35" y="61"/>
                    <a:pt x="35" y="58"/>
                  </a:cubicBezTo>
                  <a:cubicBezTo>
                    <a:pt x="36" y="55"/>
                    <a:pt x="33" y="53"/>
                    <a:pt x="29" y="53"/>
                  </a:cubicBezTo>
                  <a:cubicBezTo>
                    <a:pt x="26" y="52"/>
                    <a:pt x="24" y="53"/>
                    <a:pt x="26" y="53"/>
                  </a:cubicBezTo>
                  <a:cubicBezTo>
                    <a:pt x="27" y="55"/>
                    <a:pt x="27" y="55"/>
                    <a:pt x="27" y="56"/>
                  </a:cubicBezTo>
                  <a:cubicBezTo>
                    <a:pt x="29" y="56"/>
                    <a:pt x="30" y="61"/>
                    <a:pt x="32" y="64"/>
                  </a:cubicBezTo>
                  <a:cubicBezTo>
                    <a:pt x="32" y="67"/>
                    <a:pt x="33" y="66"/>
                    <a:pt x="35" y="63"/>
                  </a:cubicBezTo>
                  <a:close/>
                  <a:moveTo>
                    <a:pt x="4" y="101"/>
                  </a:moveTo>
                  <a:cubicBezTo>
                    <a:pt x="4" y="100"/>
                    <a:pt x="6" y="98"/>
                    <a:pt x="11" y="94"/>
                  </a:cubicBezTo>
                  <a:cubicBezTo>
                    <a:pt x="17" y="89"/>
                    <a:pt x="12" y="89"/>
                    <a:pt x="15" y="87"/>
                  </a:cubicBezTo>
                  <a:cubicBezTo>
                    <a:pt x="18" y="87"/>
                    <a:pt x="17" y="84"/>
                    <a:pt x="18" y="84"/>
                  </a:cubicBezTo>
                  <a:cubicBezTo>
                    <a:pt x="20" y="84"/>
                    <a:pt x="21" y="83"/>
                    <a:pt x="20" y="80"/>
                  </a:cubicBezTo>
                  <a:cubicBezTo>
                    <a:pt x="20" y="78"/>
                    <a:pt x="21" y="73"/>
                    <a:pt x="20" y="73"/>
                  </a:cubicBezTo>
                  <a:cubicBezTo>
                    <a:pt x="18" y="73"/>
                    <a:pt x="18" y="78"/>
                    <a:pt x="17" y="78"/>
                  </a:cubicBezTo>
                  <a:cubicBezTo>
                    <a:pt x="15" y="78"/>
                    <a:pt x="18" y="80"/>
                    <a:pt x="17" y="83"/>
                  </a:cubicBezTo>
                  <a:cubicBezTo>
                    <a:pt x="17" y="84"/>
                    <a:pt x="17" y="81"/>
                    <a:pt x="15" y="84"/>
                  </a:cubicBezTo>
                  <a:cubicBezTo>
                    <a:pt x="14" y="87"/>
                    <a:pt x="9" y="92"/>
                    <a:pt x="7" y="94"/>
                  </a:cubicBezTo>
                  <a:cubicBezTo>
                    <a:pt x="6" y="95"/>
                    <a:pt x="3" y="98"/>
                    <a:pt x="1" y="103"/>
                  </a:cubicBezTo>
                  <a:cubicBezTo>
                    <a:pt x="0" y="105"/>
                    <a:pt x="3" y="103"/>
                    <a:pt x="4" y="101"/>
                  </a:cubicBezTo>
                  <a:close/>
                  <a:moveTo>
                    <a:pt x="56" y="59"/>
                  </a:moveTo>
                  <a:cubicBezTo>
                    <a:pt x="56" y="58"/>
                    <a:pt x="56" y="56"/>
                    <a:pt x="53" y="56"/>
                  </a:cubicBezTo>
                  <a:cubicBezTo>
                    <a:pt x="50" y="56"/>
                    <a:pt x="55" y="56"/>
                    <a:pt x="52" y="53"/>
                  </a:cubicBezTo>
                  <a:cubicBezTo>
                    <a:pt x="48" y="50"/>
                    <a:pt x="53" y="52"/>
                    <a:pt x="55" y="52"/>
                  </a:cubicBezTo>
                  <a:cubicBezTo>
                    <a:pt x="55" y="50"/>
                    <a:pt x="53" y="50"/>
                    <a:pt x="50" y="49"/>
                  </a:cubicBezTo>
                  <a:cubicBezTo>
                    <a:pt x="47" y="45"/>
                    <a:pt x="48" y="52"/>
                    <a:pt x="47" y="50"/>
                  </a:cubicBezTo>
                  <a:cubicBezTo>
                    <a:pt x="45" y="50"/>
                    <a:pt x="48" y="47"/>
                    <a:pt x="44" y="45"/>
                  </a:cubicBezTo>
                  <a:cubicBezTo>
                    <a:pt x="41" y="44"/>
                    <a:pt x="42" y="47"/>
                    <a:pt x="41" y="45"/>
                  </a:cubicBezTo>
                  <a:cubicBezTo>
                    <a:pt x="38" y="45"/>
                    <a:pt x="41" y="49"/>
                    <a:pt x="39" y="49"/>
                  </a:cubicBezTo>
                  <a:cubicBezTo>
                    <a:pt x="36" y="47"/>
                    <a:pt x="35" y="42"/>
                    <a:pt x="36" y="41"/>
                  </a:cubicBezTo>
                  <a:cubicBezTo>
                    <a:pt x="36" y="39"/>
                    <a:pt x="33" y="36"/>
                    <a:pt x="35" y="33"/>
                  </a:cubicBezTo>
                  <a:cubicBezTo>
                    <a:pt x="36" y="30"/>
                    <a:pt x="35" y="30"/>
                    <a:pt x="36" y="27"/>
                  </a:cubicBezTo>
                  <a:cubicBezTo>
                    <a:pt x="39" y="25"/>
                    <a:pt x="38" y="28"/>
                    <a:pt x="39" y="28"/>
                  </a:cubicBezTo>
                  <a:cubicBezTo>
                    <a:pt x="41" y="27"/>
                    <a:pt x="42" y="20"/>
                    <a:pt x="42" y="19"/>
                  </a:cubicBezTo>
                  <a:cubicBezTo>
                    <a:pt x="42" y="16"/>
                    <a:pt x="38" y="14"/>
                    <a:pt x="41" y="8"/>
                  </a:cubicBezTo>
                  <a:cubicBezTo>
                    <a:pt x="42" y="3"/>
                    <a:pt x="41" y="2"/>
                    <a:pt x="39" y="5"/>
                  </a:cubicBezTo>
                  <a:cubicBezTo>
                    <a:pt x="36" y="8"/>
                    <a:pt x="33" y="0"/>
                    <a:pt x="29" y="2"/>
                  </a:cubicBezTo>
                  <a:cubicBezTo>
                    <a:pt x="26" y="3"/>
                    <a:pt x="27" y="3"/>
                    <a:pt x="26" y="8"/>
                  </a:cubicBezTo>
                  <a:cubicBezTo>
                    <a:pt x="24" y="13"/>
                    <a:pt x="27" y="14"/>
                    <a:pt x="26" y="20"/>
                  </a:cubicBezTo>
                  <a:cubicBezTo>
                    <a:pt x="23" y="25"/>
                    <a:pt x="27" y="24"/>
                    <a:pt x="26" y="27"/>
                  </a:cubicBezTo>
                  <a:cubicBezTo>
                    <a:pt x="24" y="31"/>
                    <a:pt x="23" y="24"/>
                    <a:pt x="21" y="25"/>
                  </a:cubicBezTo>
                  <a:cubicBezTo>
                    <a:pt x="20" y="25"/>
                    <a:pt x="20" y="28"/>
                    <a:pt x="21" y="28"/>
                  </a:cubicBezTo>
                  <a:cubicBezTo>
                    <a:pt x="23" y="30"/>
                    <a:pt x="21" y="28"/>
                    <a:pt x="23" y="36"/>
                  </a:cubicBezTo>
                  <a:cubicBezTo>
                    <a:pt x="23" y="44"/>
                    <a:pt x="24" y="39"/>
                    <a:pt x="26" y="42"/>
                  </a:cubicBezTo>
                  <a:cubicBezTo>
                    <a:pt x="26" y="45"/>
                    <a:pt x="27" y="44"/>
                    <a:pt x="27" y="42"/>
                  </a:cubicBezTo>
                  <a:cubicBezTo>
                    <a:pt x="27" y="39"/>
                    <a:pt x="27" y="39"/>
                    <a:pt x="29" y="41"/>
                  </a:cubicBezTo>
                  <a:cubicBezTo>
                    <a:pt x="30" y="42"/>
                    <a:pt x="30" y="44"/>
                    <a:pt x="29" y="44"/>
                  </a:cubicBezTo>
                  <a:cubicBezTo>
                    <a:pt x="27" y="45"/>
                    <a:pt x="26" y="50"/>
                    <a:pt x="29" y="50"/>
                  </a:cubicBezTo>
                  <a:cubicBezTo>
                    <a:pt x="30" y="49"/>
                    <a:pt x="30" y="52"/>
                    <a:pt x="33" y="52"/>
                  </a:cubicBezTo>
                  <a:cubicBezTo>
                    <a:pt x="35" y="52"/>
                    <a:pt x="33" y="50"/>
                    <a:pt x="35" y="49"/>
                  </a:cubicBezTo>
                  <a:cubicBezTo>
                    <a:pt x="36" y="49"/>
                    <a:pt x="36" y="49"/>
                    <a:pt x="39" y="52"/>
                  </a:cubicBezTo>
                  <a:cubicBezTo>
                    <a:pt x="42" y="53"/>
                    <a:pt x="41" y="56"/>
                    <a:pt x="44" y="56"/>
                  </a:cubicBezTo>
                  <a:cubicBezTo>
                    <a:pt x="45" y="56"/>
                    <a:pt x="42" y="53"/>
                    <a:pt x="42" y="50"/>
                  </a:cubicBezTo>
                  <a:cubicBezTo>
                    <a:pt x="42" y="49"/>
                    <a:pt x="45" y="50"/>
                    <a:pt x="45" y="52"/>
                  </a:cubicBezTo>
                  <a:cubicBezTo>
                    <a:pt x="45" y="53"/>
                    <a:pt x="47" y="53"/>
                    <a:pt x="48" y="55"/>
                  </a:cubicBezTo>
                  <a:cubicBezTo>
                    <a:pt x="48" y="56"/>
                    <a:pt x="47" y="58"/>
                    <a:pt x="50" y="59"/>
                  </a:cubicBezTo>
                  <a:cubicBezTo>
                    <a:pt x="55" y="61"/>
                    <a:pt x="53" y="61"/>
                    <a:pt x="55" y="63"/>
                  </a:cubicBezTo>
                  <a:cubicBezTo>
                    <a:pt x="55" y="64"/>
                    <a:pt x="56" y="63"/>
                    <a:pt x="56" y="59"/>
                  </a:cubicBezTo>
                  <a:close/>
                  <a:moveTo>
                    <a:pt x="76" y="144"/>
                  </a:moveTo>
                  <a:cubicBezTo>
                    <a:pt x="76" y="144"/>
                    <a:pt x="77" y="144"/>
                    <a:pt x="76" y="145"/>
                  </a:cubicBezTo>
                  <a:cubicBezTo>
                    <a:pt x="74" y="147"/>
                    <a:pt x="77" y="147"/>
                    <a:pt x="77" y="145"/>
                  </a:cubicBezTo>
                  <a:cubicBezTo>
                    <a:pt x="77" y="144"/>
                    <a:pt x="77" y="144"/>
                    <a:pt x="77" y="142"/>
                  </a:cubicBezTo>
                  <a:cubicBezTo>
                    <a:pt x="77" y="142"/>
                    <a:pt x="77" y="140"/>
                    <a:pt x="76" y="140"/>
                  </a:cubicBezTo>
                  <a:cubicBezTo>
                    <a:pt x="76" y="140"/>
                    <a:pt x="76" y="142"/>
                    <a:pt x="76" y="14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8" name="Freeform 213"/>
            <p:cNvSpPr>
              <a:spLocks/>
            </p:cNvSpPr>
            <p:nvPr/>
          </p:nvSpPr>
          <p:spPr bwMode="auto">
            <a:xfrm>
              <a:off x="7754283" y="4403476"/>
              <a:ext cx="201389" cy="175192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2" y="22"/>
                </a:cxn>
                <a:cxn ang="0">
                  <a:pos x="42" y="25"/>
                </a:cxn>
                <a:cxn ang="0">
                  <a:pos x="41" y="29"/>
                </a:cxn>
                <a:cxn ang="0">
                  <a:pos x="39" y="26"/>
                </a:cxn>
                <a:cxn ang="0">
                  <a:pos x="36" y="23"/>
                </a:cxn>
                <a:cxn ang="0">
                  <a:pos x="36" y="26"/>
                </a:cxn>
                <a:cxn ang="0">
                  <a:pos x="29" y="37"/>
                </a:cxn>
                <a:cxn ang="0">
                  <a:pos x="17" y="42"/>
                </a:cxn>
                <a:cxn ang="0">
                  <a:pos x="15" y="45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14" y="54"/>
                </a:cxn>
                <a:cxn ang="0">
                  <a:pos x="12" y="54"/>
                </a:cxn>
                <a:cxn ang="0">
                  <a:pos x="9" y="53"/>
                </a:cxn>
                <a:cxn ang="0">
                  <a:pos x="8" y="51"/>
                </a:cxn>
                <a:cxn ang="0">
                  <a:pos x="6" y="51"/>
                </a:cxn>
                <a:cxn ang="0">
                  <a:pos x="1" y="48"/>
                </a:cxn>
                <a:cxn ang="0">
                  <a:pos x="1" y="51"/>
                </a:cxn>
                <a:cxn ang="0">
                  <a:pos x="3" y="54"/>
                </a:cxn>
                <a:cxn ang="0">
                  <a:pos x="8" y="59"/>
                </a:cxn>
                <a:cxn ang="0">
                  <a:pos x="15" y="59"/>
                </a:cxn>
                <a:cxn ang="0">
                  <a:pos x="21" y="58"/>
                </a:cxn>
                <a:cxn ang="0">
                  <a:pos x="26" y="53"/>
                </a:cxn>
                <a:cxn ang="0">
                  <a:pos x="29" y="54"/>
                </a:cxn>
                <a:cxn ang="0">
                  <a:pos x="35" y="56"/>
                </a:cxn>
                <a:cxn ang="0">
                  <a:pos x="41" y="53"/>
                </a:cxn>
                <a:cxn ang="0">
                  <a:pos x="42" y="48"/>
                </a:cxn>
                <a:cxn ang="0">
                  <a:pos x="45" y="44"/>
                </a:cxn>
                <a:cxn ang="0">
                  <a:pos x="45" y="40"/>
                </a:cxn>
                <a:cxn ang="0">
                  <a:pos x="49" y="37"/>
                </a:cxn>
                <a:cxn ang="0">
                  <a:pos x="50" y="28"/>
                </a:cxn>
                <a:cxn ang="0">
                  <a:pos x="59" y="26"/>
                </a:cxn>
                <a:cxn ang="0">
                  <a:pos x="64" y="28"/>
                </a:cxn>
                <a:cxn ang="0">
                  <a:pos x="67" y="26"/>
                </a:cxn>
                <a:cxn ang="0">
                  <a:pos x="70" y="26"/>
                </a:cxn>
                <a:cxn ang="0">
                  <a:pos x="71" y="23"/>
                </a:cxn>
                <a:cxn ang="0">
                  <a:pos x="70" y="20"/>
                </a:cxn>
                <a:cxn ang="0">
                  <a:pos x="73" y="20"/>
                </a:cxn>
                <a:cxn ang="0">
                  <a:pos x="77" y="15"/>
                </a:cxn>
                <a:cxn ang="0">
                  <a:pos x="74" y="15"/>
                </a:cxn>
                <a:cxn ang="0">
                  <a:pos x="73" y="14"/>
                </a:cxn>
                <a:cxn ang="0">
                  <a:pos x="70" y="12"/>
                </a:cxn>
                <a:cxn ang="0">
                  <a:pos x="67" y="12"/>
                </a:cxn>
                <a:cxn ang="0">
                  <a:pos x="68" y="11"/>
                </a:cxn>
                <a:cxn ang="0">
                  <a:pos x="65" y="9"/>
                </a:cxn>
                <a:cxn ang="0">
                  <a:pos x="65" y="4"/>
                </a:cxn>
                <a:cxn ang="0">
                  <a:pos x="64" y="4"/>
                </a:cxn>
                <a:cxn ang="0">
                  <a:pos x="61" y="0"/>
                </a:cxn>
                <a:cxn ang="0">
                  <a:pos x="59" y="4"/>
                </a:cxn>
                <a:cxn ang="0">
                  <a:pos x="58" y="0"/>
                </a:cxn>
                <a:cxn ang="0">
                  <a:pos x="55" y="6"/>
                </a:cxn>
                <a:cxn ang="0">
                  <a:pos x="53" y="9"/>
                </a:cxn>
                <a:cxn ang="0">
                  <a:pos x="52" y="12"/>
                </a:cxn>
                <a:cxn ang="0">
                  <a:pos x="50" y="14"/>
                </a:cxn>
                <a:cxn ang="0">
                  <a:pos x="47" y="15"/>
                </a:cxn>
                <a:cxn ang="0">
                  <a:pos x="49" y="20"/>
                </a:cxn>
                <a:cxn ang="0">
                  <a:pos x="45" y="20"/>
                </a:cxn>
                <a:cxn ang="0">
                  <a:pos x="47" y="25"/>
                </a:cxn>
                <a:cxn ang="0">
                  <a:pos x="45" y="26"/>
                </a:cxn>
                <a:cxn ang="0">
                  <a:pos x="44" y="22"/>
                </a:cxn>
                <a:cxn ang="0">
                  <a:pos x="44" y="20"/>
                </a:cxn>
              </a:cxnLst>
              <a:rect l="0" t="0" r="r" b="b"/>
              <a:pathLst>
                <a:path w="79" h="62">
                  <a:moveTo>
                    <a:pt x="44" y="20"/>
                  </a:moveTo>
                  <a:cubicBezTo>
                    <a:pt x="44" y="22"/>
                    <a:pt x="42" y="22"/>
                    <a:pt x="42" y="22"/>
                  </a:cubicBezTo>
                  <a:cubicBezTo>
                    <a:pt x="42" y="23"/>
                    <a:pt x="42" y="25"/>
                    <a:pt x="42" y="25"/>
                  </a:cubicBezTo>
                  <a:cubicBezTo>
                    <a:pt x="44" y="25"/>
                    <a:pt x="42" y="29"/>
                    <a:pt x="41" y="29"/>
                  </a:cubicBezTo>
                  <a:cubicBezTo>
                    <a:pt x="39" y="29"/>
                    <a:pt x="41" y="26"/>
                    <a:pt x="39" y="26"/>
                  </a:cubicBezTo>
                  <a:cubicBezTo>
                    <a:pt x="38" y="28"/>
                    <a:pt x="39" y="25"/>
                    <a:pt x="36" y="23"/>
                  </a:cubicBezTo>
                  <a:cubicBezTo>
                    <a:pt x="36" y="23"/>
                    <a:pt x="36" y="23"/>
                    <a:pt x="36" y="26"/>
                  </a:cubicBezTo>
                  <a:cubicBezTo>
                    <a:pt x="36" y="29"/>
                    <a:pt x="30" y="31"/>
                    <a:pt x="29" y="37"/>
                  </a:cubicBezTo>
                  <a:cubicBezTo>
                    <a:pt x="29" y="40"/>
                    <a:pt x="18" y="39"/>
                    <a:pt x="17" y="42"/>
                  </a:cubicBezTo>
                  <a:cubicBezTo>
                    <a:pt x="15" y="44"/>
                    <a:pt x="17" y="47"/>
                    <a:pt x="15" y="45"/>
                  </a:cubicBezTo>
                  <a:cubicBezTo>
                    <a:pt x="14" y="44"/>
                    <a:pt x="14" y="47"/>
                    <a:pt x="14" y="48"/>
                  </a:cubicBezTo>
                  <a:cubicBezTo>
                    <a:pt x="15" y="48"/>
                    <a:pt x="14" y="48"/>
                    <a:pt x="14" y="50"/>
                  </a:cubicBezTo>
                  <a:cubicBezTo>
                    <a:pt x="14" y="53"/>
                    <a:pt x="12" y="53"/>
                    <a:pt x="14" y="54"/>
                  </a:cubicBezTo>
                  <a:cubicBezTo>
                    <a:pt x="15" y="56"/>
                    <a:pt x="14" y="54"/>
                    <a:pt x="12" y="54"/>
                  </a:cubicBezTo>
                  <a:cubicBezTo>
                    <a:pt x="11" y="53"/>
                    <a:pt x="8" y="54"/>
                    <a:pt x="9" y="53"/>
                  </a:cubicBezTo>
                  <a:cubicBezTo>
                    <a:pt x="9" y="51"/>
                    <a:pt x="8" y="53"/>
                    <a:pt x="8" y="51"/>
                  </a:cubicBezTo>
                  <a:cubicBezTo>
                    <a:pt x="6" y="50"/>
                    <a:pt x="8" y="51"/>
                    <a:pt x="6" y="51"/>
                  </a:cubicBezTo>
                  <a:cubicBezTo>
                    <a:pt x="5" y="53"/>
                    <a:pt x="1" y="51"/>
                    <a:pt x="1" y="48"/>
                  </a:cubicBezTo>
                  <a:cubicBezTo>
                    <a:pt x="1" y="48"/>
                    <a:pt x="0" y="51"/>
                    <a:pt x="1" y="51"/>
                  </a:cubicBezTo>
                  <a:cubicBezTo>
                    <a:pt x="3" y="53"/>
                    <a:pt x="1" y="54"/>
                    <a:pt x="3" y="54"/>
                  </a:cubicBezTo>
                  <a:cubicBezTo>
                    <a:pt x="5" y="54"/>
                    <a:pt x="6" y="58"/>
                    <a:pt x="8" y="59"/>
                  </a:cubicBezTo>
                  <a:cubicBezTo>
                    <a:pt x="11" y="62"/>
                    <a:pt x="11" y="58"/>
                    <a:pt x="15" y="59"/>
                  </a:cubicBezTo>
                  <a:cubicBezTo>
                    <a:pt x="20" y="61"/>
                    <a:pt x="18" y="58"/>
                    <a:pt x="21" y="58"/>
                  </a:cubicBezTo>
                  <a:cubicBezTo>
                    <a:pt x="23" y="58"/>
                    <a:pt x="20" y="53"/>
                    <a:pt x="26" y="53"/>
                  </a:cubicBezTo>
                  <a:cubicBezTo>
                    <a:pt x="30" y="53"/>
                    <a:pt x="27" y="54"/>
                    <a:pt x="29" y="54"/>
                  </a:cubicBezTo>
                  <a:cubicBezTo>
                    <a:pt x="30" y="56"/>
                    <a:pt x="33" y="58"/>
                    <a:pt x="35" y="56"/>
                  </a:cubicBezTo>
                  <a:cubicBezTo>
                    <a:pt x="36" y="53"/>
                    <a:pt x="41" y="56"/>
                    <a:pt x="41" y="53"/>
                  </a:cubicBezTo>
                  <a:cubicBezTo>
                    <a:pt x="42" y="51"/>
                    <a:pt x="42" y="50"/>
                    <a:pt x="42" y="48"/>
                  </a:cubicBezTo>
                  <a:cubicBezTo>
                    <a:pt x="42" y="45"/>
                    <a:pt x="47" y="45"/>
                    <a:pt x="45" y="44"/>
                  </a:cubicBezTo>
                  <a:cubicBezTo>
                    <a:pt x="44" y="44"/>
                    <a:pt x="44" y="44"/>
                    <a:pt x="45" y="40"/>
                  </a:cubicBezTo>
                  <a:cubicBezTo>
                    <a:pt x="45" y="37"/>
                    <a:pt x="49" y="40"/>
                    <a:pt x="49" y="37"/>
                  </a:cubicBezTo>
                  <a:cubicBezTo>
                    <a:pt x="49" y="34"/>
                    <a:pt x="49" y="31"/>
                    <a:pt x="50" y="28"/>
                  </a:cubicBezTo>
                  <a:cubicBezTo>
                    <a:pt x="52" y="25"/>
                    <a:pt x="55" y="26"/>
                    <a:pt x="59" y="26"/>
                  </a:cubicBezTo>
                  <a:cubicBezTo>
                    <a:pt x="62" y="26"/>
                    <a:pt x="61" y="25"/>
                    <a:pt x="64" y="28"/>
                  </a:cubicBezTo>
                  <a:cubicBezTo>
                    <a:pt x="67" y="28"/>
                    <a:pt x="64" y="23"/>
                    <a:pt x="67" y="26"/>
                  </a:cubicBezTo>
                  <a:cubicBezTo>
                    <a:pt x="68" y="28"/>
                    <a:pt x="68" y="26"/>
                    <a:pt x="70" y="26"/>
                  </a:cubicBezTo>
                  <a:cubicBezTo>
                    <a:pt x="71" y="26"/>
                    <a:pt x="74" y="26"/>
                    <a:pt x="71" y="23"/>
                  </a:cubicBezTo>
                  <a:cubicBezTo>
                    <a:pt x="68" y="22"/>
                    <a:pt x="68" y="20"/>
                    <a:pt x="70" y="20"/>
                  </a:cubicBezTo>
                  <a:cubicBezTo>
                    <a:pt x="71" y="18"/>
                    <a:pt x="70" y="20"/>
                    <a:pt x="73" y="20"/>
                  </a:cubicBezTo>
                  <a:cubicBezTo>
                    <a:pt x="76" y="18"/>
                    <a:pt x="79" y="18"/>
                    <a:pt x="77" y="15"/>
                  </a:cubicBezTo>
                  <a:cubicBezTo>
                    <a:pt x="77" y="14"/>
                    <a:pt x="76" y="17"/>
                    <a:pt x="74" y="15"/>
                  </a:cubicBezTo>
                  <a:cubicBezTo>
                    <a:pt x="74" y="14"/>
                    <a:pt x="73" y="14"/>
                    <a:pt x="73" y="14"/>
                  </a:cubicBezTo>
                  <a:cubicBezTo>
                    <a:pt x="71" y="12"/>
                    <a:pt x="70" y="11"/>
                    <a:pt x="70" y="12"/>
                  </a:cubicBezTo>
                  <a:cubicBezTo>
                    <a:pt x="68" y="12"/>
                    <a:pt x="68" y="14"/>
                    <a:pt x="67" y="12"/>
                  </a:cubicBezTo>
                  <a:cubicBezTo>
                    <a:pt x="67" y="11"/>
                    <a:pt x="68" y="12"/>
                    <a:pt x="68" y="11"/>
                  </a:cubicBezTo>
                  <a:cubicBezTo>
                    <a:pt x="67" y="8"/>
                    <a:pt x="65" y="11"/>
                    <a:pt x="65" y="9"/>
                  </a:cubicBezTo>
                  <a:cubicBezTo>
                    <a:pt x="64" y="8"/>
                    <a:pt x="67" y="6"/>
                    <a:pt x="65" y="4"/>
                  </a:cubicBezTo>
                  <a:cubicBezTo>
                    <a:pt x="64" y="3"/>
                    <a:pt x="64" y="4"/>
                    <a:pt x="64" y="4"/>
                  </a:cubicBezTo>
                  <a:cubicBezTo>
                    <a:pt x="62" y="4"/>
                    <a:pt x="62" y="0"/>
                    <a:pt x="61" y="0"/>
                  </a:cubicBezTo>
                  <a:cubicBezTo>
                    <a:pt x="59" y="0"/>
                    <a:pt x="61" y="3"/>
                    <a:pt x="59" y="4"/>
                  </a:cubicBezTo>
                  <a:cubicBezTo>
                    <a:pt x="58" y="6"/>
                    <a:pt x="59" y="0"/>
                    <a:pt x="58" y="0"/>
                  </a:cubicBezTo>
                  <a:cubicBezTo>
                    <a:pt x="56" y="0"/>
                    <a:pt x="58" y="1"/>
                    <a:pt x="55" y="6"/>
                  </a:cubicBezTo>
                  <a:cubicBezTo>
                    <a:pt x="53" y="9"/>
                    <a:pt x="53" y="8"/>
                    <a:pt x="53" y="9"/>
                  </a:cubicBezTo>
                  <a:cubicBezTo>
                    <a:pt x="52" y="12"/>
                    <a:pt x="52" y="11"/>
                    <a:pt x="52" y="12"/>
                  </a:cubicBezTo>
                  <a:cubicBezTo>
                    <a:pt x="52" y="15"/>
                    <a:pt x="50" y="15"/>
                    <a:pt x="50" y="14"/>
                  </a:cubicBezTo>
                  <a:cubicBezTo>
                    <a:pt x="49" y="14"/>
                    <a:pt x="47" y="15"/>
                    <a:pt x="47" y="15"/>
                  </a:cubicBezTo>
                  <a:cubicBezTo>
                    <a:pt x="47" y="17"/>
                    <a:pt x="50" y="17"/>
                    <a:pt x="49" y="20"/>
                  </a:cubicBezTo>
                  <a:cubicBezTo>
                    <a:pt x="45" y="22"/>
                    <a:pt x="47" y="18"/>
                    <a:pt x="45" y="20"/>
                  </a:cubicBezTo>
                  <a:cubicBezTo>
                    <a:pt x="47" y="23"/>
                    <a:pt x="45" y="22"/>
                    <a:pt x="47" y="25"/>
                  </a:cubicBezTo>
                  <a:cubicBezTo>
                    <a:pt x="47" y="28"/>
                    <a:pt x="47" y="26"/>
                    <a:pt x="45" y="26"/>
                  </a:cubicBezTo>
                  <a:cubicBezTo>
                    <a:pt x="44" y="26"/>
                    <a:pt x="44" y="25"/>
                    <a:pt x="44" y="22"/>
                  </a:cubicBezTo>
                  <a:cubicBezTo>
                    <a:pt x="44" y="20"/>
                    <a:pt x="44" y="20"/>
                    <a:pt x="44" y="2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9" name="Freeform 214"/>
            <p:cNvSpPr>
              <a:spLocks/>
            </p:cNvSpPr>
            <p:nvPr/>
          </p:nvSpPr>
          <p:spPr bwMode="auto">
            <a:xfrm>
              <a:off x="7846422" y="4454152"/>
              <a:ext cx="25009" cy="34749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0" y="5"/>
                </a:cxn>
                <a:cxn ang="0">
                  <a:pos x="4" y="8"/>
                </a:cxn>
                <a:cxn ang="0">
                  <a:pos x="5" y="12"/>
                </a:cxn>
                <a:cxn ang="0">
                  <a:pos x="7" y="7"/>
                </a:cxn>
                <a:cxn ang="0">
                  <a:pos x="7" y="4"/>
                </a:cxn>
                <a:cxn ang="0">
                  <a:pos x="8" y="2"/>
                </a:cxn>
              </a:cxnLst>
              <a:rect l="0" t="0" r="r" b="b"/>
              <a:pathLst>
                <a:path w="10" h="12">
                  <a:moveTo>
                    <a:pt x="8" y="2"/>
                  </a:moveTo>
                  <a:cubicBezTo>
                    <a:pt x="10" y="0"/>
                    <a:pt x="8" y="0"/>
                    <a:pt x="8" y="2"/>
                  </a:cubicBezTo>
                  <a:cubicBezTo>
                    <a:pt x="7" y="2"/>
                    <a:pt x="4" y="5"/>
                    <a:pt x="0" y="5"/>
                  </a:cubicBezTo>
                  <a:cubicBezTo>
                    <a:pt x="4" y="7"/>
                    <a:pt x="2" y="10"/>
                    <a:pt x="4" y="8"/>
                  </a:cubicBezTo>
                  <a:cubicBezTo>
                    <a:pt x="5" y="8"/>
                    <a:pt x="4" y="12"/>
                    <a:pt x="5" y="12"/>
                  </a:cubicBezTo>
                  <a:cubicBezTo>
                    <a:pt x="7" y="12"/>
                    <a:pt x="8" y="7"/>
                    <a:pt x="7" y="7"/>
                  </a:cubicBezTo>
                  <a:cubicBezTo>
                    <a:pt x="7" y="7"/>
                    <a:pt x="7" y="5"/>
                    <a:pt x="7" y="4"/>
                  </a:cubicBezTo>
                  <a:cubicBezTo>
                    <a:pt x="7" y="4"/>
                    <a:pt x="8" y="4"/>
                    <a:pt x="8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0" name="Freeform 215"/>
            <p:cNvSpPr>
              <a:spLocks/>
            </p:cNvSpPr>
            <p:nvPr/>
          </p:nvSpPr>
          <p:spPr bwMode="auto">
            <a:xfrm>
              <a:off x="7867482" y="4459943"/>
              <a:ext cx="6581" cy="231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0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0" y="1"/>
                </a:cxn>
              </a:cxnLst>
              <a:rect l="0" t="0" r="r" b="b"/>
              <a:pathLst>
                <a:path w="3" h="8">
                  <a:moveTo>
                    <a:pt x="0" y="1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3" y="3"/>
                    <a:pt x="2" y="1"/>
                    <a:pt x="3" y="5"/>
                  </a:cubicBezTo>
                  <a:cubicBezTo>
                    <a:pt x="3" y="8"/>
                    <a:pt x="3" y="6"/>
                    <a:pt x="2" y="6"/>
                  </a:cubicBezTo>
                  <a:cubicBezTo>
                    <a:pt x="0" y="6"/>
                    <a:pt x="0" y="5"/>
                    <a:pt x="0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1" name="Freeform 216"/>
            <p:cNvSpPr>
              <a:spLocks noEditPoints="1"/>
            </p:cNvSpPr>
            <p:nvPr/>
          </p:nvSpPr>
          <p:spPr bwMode="auto">
            <a:xfrm>
              <a:off x="8376879" y="4632239"/>
              <a:ext cx="322486" cy="282335"/>
            </a:xfrm>
            <a:custGeom>
              <a:avLst/>
              <a:gdLst/>
              <a:ahLst/>
              <a:cxnLst>
                <a:cxn ang="0">
                  <a:pos x="22" y="20"/>
                </a:cxn>
                <a:cxn ang="0">
                  <a:pos x="45" y="37"/>
                </a:cxn>
                <a:cxn ang="0">
                  <a:pos x="56" y="45"/>
                </a:cxn>
                <a:cxn ang="0">
                  <a:pos x="53" y="54"/>
                </a:cxn>
                <a:cxn ang="0">
                  <a:pos x="70" y="76"/>
                </a:cxn>
                <a:cxn ang="0">
                  <a:pos x="80" y="87"/>
                </a:cxn>
                <a:cxn ang="0">
                  <a:pos x="68" y="87"/>
                </a:cxn>
                <a:cxn ang="0">
                  <a:pos x="41" y="65"/>
                </a:cxn>
                <a:cxn ang="0">
                  <a:pos x="29" y="60"/>
                </a:cxn>
                <a:cxn ang="0">
                  <a:pos x="24" y="70"/>
                </a:cxn>
                <a:cxn ang="0">
                  <a:pos x="17" y="77"/>
                </a:cxn>
                <a:cxn ang="0">
                  <a:pos x="0" y="68"/>
                </a:cxn>
                <a:cxn ang="0">
                  <a:pos x="68" y="46"/>
                </a:cxn>
                <a:cxn ang="0">
                  <a:pos x="90" y="43"/>
                </a:cxn>
                <a:cxn ang="0">
                  <a:pos x="94" y="36"/>
                </a:cxn>
                <a:cxn ang="0">
                  <a:pos x="91" y="28"/>
                </a:cxn>
                <a:cxn ang="0">
                  <a:pos x="82" y="40"/>
                </a:cxn>
                <a:cxn ang="0">
                  <a:pos x="79" y="37"/>
                </a:cxn>
                <a:cxn ang="0">
                  <a:pos x="65" y="42"/>
                </a:cxn>
                <a:cxn ang="0">
                  <a:pos x="55" y="9"/>
                </a:cxn>
                <a:cxn ang="0">
                  <a:pos x="50" y="8"/>
                </a:cxn>
                <a:cxn ang="0">
                  <a:pos x="79" y="11"/>
                </a:cxn>
                <a:cxn ang="0">
                  <a:pos x="79" y="11"/>
                </a:cxn>
                <a:cxn ang="0">
                  <a:pos x="97" y="26"/>
                </a:cxn>
                <a:cxn ang="0">
                  <a:pos x="100" y="25"/>
                </a:cxn>
                <a:cxn ang="0">
                  <a:pos x="85" y="14"/>
                </a:cxn>
                <a:cxn ang="0">
                  <a:pos x="74" y="1"/>
                </a:cxn>
                <a:cxn ang="0">
                  <a:pos x="74" y="1"/>
                </a:cxn>
                <a:cxn ang="0">
                  <a:pos x="117" y="42"/>
                </a:cxn>
                <a:cxn ang="0">
                  <a:pos x="115" y="43"/>
                </a:cxn>
                <a:cxn ang="0">
                  <a:pos x="125" y="54"/>
                </a:cxn>
                <a:cxn ang="0">
                  <a:pos x="61" y="43"/>
                </a:cxn>
                <a:cxn ang="0">
                  <a:pos x="61" y="43"/>
                </a:cxn>
                <a:cxn ang="0">
                  <a:pos x="56" y="40"/>
                </a:cxn>
                <a:cxn ang="0">
                  <a:pos x="47" y="31"/>
                </a:cxn>
                <a:cxn ang="0">
                  <a:pos x="47" y="31"/>
                </a:cxn>
                <a:cxn ang="0">
                  <a:pos x="99" y="76"/>
                </a:cxn>
                <a:cxn ang="0">
                  <a:pos x="102" y="76"/>
                </a:cxn>
                <a:cxn ang="0">
                  <a:pos x="108" y="101"/>
                </a:cxn>
                <a:cxn ang="0">
                  <a:pos x="79" y="79"/>
                </a:cxn>
                <a:cxn ang="0">
                  <a:pos x="79" y="79"/>
                </a:cxn>
                <a:cxn ang="0">
                  <a:pos x="85" y="81"/>
                </a:cxn>
                <a:cxn ang="0">
                  <a:pos x="82" y="82"/>
                </a:cxn>
                <a:cxn ang="0">
                  <a:pos x="88" y="87"/>
                </a:cxn>
                <a:cxn ang="0">
                  <a:pos x="85" y="84"/>
                </a:cxn>
              </a:cxnLst>
              <a:rect l="0" t="0" r="r" b="b"/>
              <a:pathLst>
                <a:path w="126" h="101">
                  <a:moveTo>
                    <a:pt x="0" y="11"/>
                  </a:moveTo>
                  <a:cubicBezTo>
                    <a:pt x="6" y="9"/>
                    <a:pt x="17" y="18"/>
                    <a:pt x="22" y="20"/>
                  </a:cubicBezTo>
                  <a:cubicBezTo>
                    <a:pt x="29" y="21"/>
                    <a:pt x="29" y="25"/>
                    <a:pt x="32" y="25"/>
                  </a:cubicBezTo>
                  <a:cubicBezTo>
                    <a:pt x="35" y="25"/>
                    <a:pt x="45" y="34"/>
                    <a:pt x="45" y="37"/>
                  </a:cubicBezTo>
                  <a:cubicBezTo>
                    <a:pt x="44" y="40"/>
                    <a:pt x="42" y="40"/>
                    <a:pt x="48" y="42"/>
                  </a:cubicBezTo>
                  <a:cubicBezTo>
                    <a:pt x="53" y="43"/>
                    <a:pt x="52" y="46"/>
                    <a:pt x="56" y="45"/>
                  </a:cubicBezTo>
                  <a:cubicBezTo>
                    <a:pt x="59" y="45"/>
                    <a:pt x="62" y="51"/>
                    <a:pt x="61" y="53"/>
                  </a:cubicBezTo>
                  <a:cubicBezTo>
                    <a:pt x="59" y="54"/>
                    <a:pt x="56" y="53"/>
                    <a:pt x="53" y="54"/>
                  </a:cubicBezTo>
                  <a:cubicBezTo>
                    <a:pt x="52" y="54"/>
                    <a:pt x="59" y="64"/>
                    <a:pt x="62" y="65"/>
                  </a:cubicBezTo>
                  <a:cubicBezTo>
                    <a:pt x="65" y="67"/>
                    <a:pt x="64" y="77"/>
                    <a:pt x="70" y="76"/>
                  </a:cubicBezTo>
                  <a:cubicBezTo>
                    <a:pt x="77" y="73"/>
                    <a:pt x="67" y="81"/>
                    <a:pt x="74" y="81"/>
                  </a:cubicBezTo>
                  <a:cubicBezTo>
                    <a:pt x="82" y="81"/>
                    <a:pt x="70" y="84"/>
                    <a:pt x="80" y="87"/>
                  </a:cubicBezTo>
                  <a:cubicBezTo>
                    <a:pt x="87" y="88"/>
                    <a:pt x="84" y="91"/>
                    <a:pt x="80" y="91"/>
                  </a:cubicBezTo>
                  <a:cubicBezTo>
                    <a:pt x="76" y="91"/>
                    <a:pt x="79" y="90"/>
                    <a:pt x="68" y="87"/>
                  </a:cubicBezTo>
                  <a:cubicBezTo>
                    <a:pt x="58" y="85"/>
                    <a:pt x="59" y="85"/>
                    <a:pt x="53" y="77"/>
                  </a:cubicBezTo>
                  <a:cubicBezTo>
                    <a:pt x="47" y="70"/>
                    <a:pt x="48" y="65"/>
                    <a:pt x="41" y="65"/>
                  </a:cubicBezTo>
                  <a:cubicBezTo>
                    <a:pt x="35" y="64"/>
                    <a:pt x="39" y="60"/>
                    <a:pt x="33" y="64"/>
                  </a:cubicBezTo>
                  <a:cubicBezTo>
                    <a:pt x="30" y="64"/>
                    <a:pt x="30" y="64"/>
                    <a:pt x="29" y="60"/>
                  </a:cubicBezTo>
                  <a:cubicBezTo>
                    <a:pt x="30" y="68"/>
                    <a:pt x="27" y="64"/>
                    <a:pt x="27" y="67"/>
                  </a:cubicBezTo>
                  <a:cubicBezTo>
                    <a:pt x="27" y="70"/>
                    <a:pt x="20" y="68"/>
                    <a:pt x="24" y="70"/>
                  </a:cubicBezTo>
                  <a:cubicBezTo>
                    <a:pt x="26" y="71"/>
                    <a:pt x="27" y="76"/>
                    <a:pt x="24" y="76"/>
                  </a:cubicBezTo>
                  <a:cubicBezTo>
                    <a:pt x="22" y="76"/>
                    <a:pt x="21" y="81"/>
                    <a:pt x="17" y="77"/>
                  </a:cubicBezTo>
                  <a:cubicBezTo>
                    <a:pt x="13" y="76"/>
                    <a:pt x="7" y="79"/>
                    <a:pt x="6" y="77"/>
                  </a:cubicBezTo>
                  <a:cubicBezTo>
                    <a:pt x="4" y="74"/>
                    <a:pt x="4" y="71"/>
                    <a:pt x="0" y="68"/>
                  </a:cubicBezTo>
                  <a:cubicBezTo>
                    <a:pt x="0" y="11"/>
                    <a:pt x="0" y="11"/>
                    <a:pt x="0" y="11"/>
                  </a:cubicBezTo>
                  <a:close/>
                  <a:moveTo>
                    <a:pt x="68" y="46"/>
                  </a:moveTo>
                  <a:cubicBezTo>
                    <a:pt x="73" y="49"/>
                    <a:pt x="71" y="45"/>
                    <a:pt x="74" y="48"/>
                  </a:cubicBezTo>
                  <a:cubicBezTo>
                    <a:pt x="77" y="51"/>
                    <a:pt x="88" y="46"/>
                    <a:pt x="90" y="43"/>
                  </a:cubicBezTo>
                  <a:cubicBezTo>
                    <a:pt x="91" y="40"/>
                    <a:pt x="91" y="43"/>
                    <a:pt x="94" y="42"/>
                  </a:cubicBezTo>
                  <a:cubicBezTo>
                    <a:pt x="97" y="39"/>
                    <a:pt x="93" y="36"/>
                    <a:pt x="94" y="36"/>
                  </a:cubicBezTo>
                  <a:cubicBezTo>
                    <a:pt x="97" y="36"/>
                    <a:pt x="99" y="31"/>
                    <a:pt x="97" y="29"/>
                  </a:cubicBezTo>
                  <a:cubicBezTo>
                    <a:pt x="96" y="28"/>
                    <a:pt x="94" y="28"/>
                    <a:pt x="91" y="28"/>
                  </a:cubicBezTo>
                  <a:cubicBezTo>
                    <a:pt x="88" y="28"/>
                    <a:pt x="94" y="37"/>
                    <a:pt x="90" y="36"/>
                  </a:cubicBezTo>
                  <a:cubicBezTo>
                    <a:pt x="87" y="34"/>
                    <a:pt x="87" y="43"/>
                    <a:pt x="82" y="40"/>
                  </a:cubicBezTo>
                  <a:cubicBezTo>
                    <a:pt x="80" y="39"/>
                    <a:pt x="80" y="43"/>
                    <a:pt x="79" y="40"/>
                  </a:cubicBezTo>
                  <a:cubicBezTo>
                    <a:pt x="77" y="37"/>
                    <a:pt x="80" y="37"/>
                    <a:pt x="79" y="37"/>
                  </a:cubicBezTo>
                  <a:cubicBezTo>
                    <a:pt x="79" y="36"/>
                    <a:pt x="77" y="36"/>
                    <a:pt x="77" y="40"/>
                  </a:cubicBezTo>
                  <a:cubicBezTo>
                    <a:pt x="77" y="43"/>
                    <a:pt x="65" y="39"/>
                    <a:pt x="65" y="42"/>
                  </a:cubicBezTo>
                  <a:cubicBezTo>
                    <a:pt x="65" y="45"/>
                    <a:pt x="67" y="43"/>
                    <a:pt x="68" y="46"/>
                  </a:cubicBezTo>
                  <a:close/>
                  <a:moveTo>
                    <a:pt x="55" y="9"/>
                  </a:moveTo>
                  <a:cubicBezTo>
                    <a:pt x="58" y="9"/>
                    <a:pt x="58" y="8"/>
                    <a:pt x="56" y="6"/>
                  </a:cubicBezTo>
                  <a:cubicBezTo>
                    <a:pt x="55" y="6"/>
                    <a:pt x="50" y="6"/>
                    <a:pt x="50" y="8"/>
                  </a:cubicBezTo>
                  <a:cubicBezTo>
                    <a:pt x="50" y="11"/>
                    <a:pt x="52" y="9"/>
                    <a:pt x="55" y="9"/>
                  </a:cubicBezTo>
                  <a:close/>
                  <a:moveTo>
                    <a:pt x="79" y="11"/>
                  </a:moveTo>
                  <a:cubicBezTo>
                    <a:pt x="79" y="9"/>
                    <a:pt x="84" y="12"/>
                    <a:pt x="82" y="12"/>
                  </a:cubicBezTo>
                  <a:cubicBezTo>
                    <a:pt x="80" y="14"/>
                    <a:pt x="77" y="12"/>
                    <a:pt x="79" y="11"/>
                  </a:cubicBezTo>
                  <a:close/>
                  <a:moveTo>
                    <a:pt x="91" y="18"/>
                  </a:moveTo>
                  <a:cubicBezTo>
                    <a:pt x="91" y="20"/>
                    <a:pt x="96" y="21"/>
                    <a:pt x="97" y="26"/>
                  </a:cubicBezTo>
                  <a:cubicBezTo>
                    <a:pt x="100" y="29"/>
                    <a:pt x="99" y="29"/>
                    <a:pt x="100" y="34"/>
                  </a:cubicBezTo>
                  <a:cubicBezTo>
                    <a:pt x="102" y="37"/>
                    <a:pt x="105" y="28"/>
                    <a:pt x="100" y="25"/>
                  </a:cubicBezTo>
                  <a:cubicBezTo>
                    <a:pt x="96" y="23"/>
                    <a:pt x="96" y="20"/>
                    <a:pt x="93" y="18"/>
                  </a:cubicBezTo>
                  <a:cubicBezTo>
                    <a:pt x="87" y="15"/>
                    <a:pt x="85" y="11"/>
                    <a:pt x="85" y="14"/>
                  </a:cubicBezTo>
                  <a:cubicBezTo>
                    <a:pt x="80" y="15"/>
                    <a:pt x="87" y="14"/>
                    <a:pt x="91" y="18"/>
                  </a:cubicBezTo>
                  <a:close/>
                  <a:moveTo>
                    <a:pt x="74" y="1"/>
                  </a:moveTo>
                  <a:cubicBezTo>
                    <a:pt x="76" y="0"/>
                    <a:pt x="77" y="3"/>
                    <a:pt x="76" y="3"/>
                  </a:cubicBezTo>
                  <a:cubicBezTo>
                    <a:pt x="74" y="3"/>
                    <a:pt x="74" y="3"/>
                    <a:pt x="74" y="1"/>
                  </a:cubicBezTo>
                  <a:close/>
                  <a:moveTo>
                    <a:pt x="123" y="48"/>
                  </a:moveTo>
                  <a:cubicBezTo>
                    <a:pt x="120" y="46"/>
                    <a:pt x="120" y="42"/>
                    <a:pt x="117" y="42"/>
                  </a:cubicBezTo>
                  <a:cubicBezTo>
                    <a:pt x="115" y="40"/>
                    <a:pt x="115" y="34"/>
                    <a:pt x="114" y="37"/>
                  </a:cubicBezTo>
                  <a:cubicBezTo>
                    <a:pt x="112" y="39"/>
                    <a:pt x="115" y="39"/>
                    <a:pt x="115" y="43"/>
                  </a:cubicBezTo>
                  <a:cubicBezTo>
                    <a:pt x="114" y="46"/>
                    <a:pt x="119" y="48"/>
                    <a:pt x="120" y="51"/>
                  </a:cubicBezTo>
                  <a:cubicBezTo>
                    <a:pt x="120" y="54"/>
                    <a:pt x="122" y="54"/>
                    <a:pt x="125" y="54"/>
                  </a:cubicBezTo>
                  <a:cubicBezTo>
                    <a:pt x="126" y="53"/>
                    <a:pt x="125" y="48"/>
                    <a:pt x="123" y="48"/>
                  </a:cubicBezTo>
                  <a:close/>
                  <a:moveTo>
                    <a:pt x="61" y="43"/>
                  </a:moveTo>
                  <a:cubicBezTo>
                    <a:pt x="59" y="42"/>
                    <a:pt x="61" y="39"/>
                    <a:pt x="62" y="42"/>
                  </a:cubicBezTo>
                  <a:cubicBezTo>
                    <a:pt x="64" y="43"/>
                    <a:pt x="62" y="45"/>
                    <a:pt x="61" y="43"/>
                  </a:cubicBezTo>
                  <a:close/>
                  <a:moveTo>
                    <a:pt x="55" y="39"/>
                  </a:moveTo>
                  <a:cubicBezTo>
                    <a:pt x="55" y="37"/>
                    <a:pt x="58" y="40"/>
                    <a:pt x="56" y="40"/>
                  </a:cubicBezTo>
                  <a:cubicBezTo>
                    <a:pt x="56" y="42"/>
                    <a:pt x="53" y="40"/>
                    <a:pt x="55" y="39"/>
                  </a:cubicBezTo>
                  <a:close/>
                  <a:moveTo>
                    <a:pt x="47" y="31"/>
                  </a:moveTo>
                  <a:cubicBezTo>
                    <a:pt x="48" y="32"/>
                    <a:pt x="47" y="36"/>
                    <a:pt x="45" y="34"/>
                  </a:cubicBezTo>
                  <a:cubicBezTo>
                    <a:pt x="44" y="32"/>
                    <a:pt x="45" y="31"/>
                    <a:pt x="47" y="31"/>
                  </a:cubicBezTo>
                  <a:close/>
                  <a:moveTo>
                    <a:pt x="102" y="76"/>
                  </a:moveTo>
                  <a:cubicBezTo>
                    <a:pt x="100" y="74"/>
                    <a:pt x="97" y="74"/>
                    <a:pt x="99" y="76"/>
                  </a:cubicBezTo>
                  <a:cubicBezTo>
                    <a:pt x="100" y="76"/>
                    <a:pt x="99" y="77"/>
                    <a:pt x="100" y="77"/>
                  </a:cubicBezTo>
                  <a:cubicBezTo>
                    <a:pt x="102" y="77"/>
                    <a:pt x="103" y="77"/>
                    <a:pt x="102" y="76"/>
                  </a:cubicBezTo>
                  <a:close/>
                  <a:moveTo>
                    <a:pt x="103" y="99"/>
                  </a:moveTo>
                  <a:cubicBezTo>
                    <a:pt x="102" y="96"/>
                    <a:pt x="106" y="99"/>
                    <a:pt x="108" y="101"/>
                  </a:cubicBezTo>
                  <a:cubicBezTo>
                    <a:pt x="103" y="99"/>
                    <a:pt x="103" y="99"/>
                    <a:pt x="103" y="99"/>
                  </a:cubicBezTo>
                  <a:close/>
                  <a:moveTo>
                    <a:pt x="79" y="79"/>
                  </a:moveTo>
                  <a:cubicBezTo>
                    <a:pt x="77" y="77"/>
                    <a:pt x="79" y="76"/>
                    <a:pt x="80" y="77"/>
                  </a:cubicBezTo>
                  <a:cubicBezTo>
                    <a:pt x="82" y="79"/>
                    <a:pt x="80" y="82"/>
                    <a:pt x="79" y="79"/>
                  </a:cubicBezTo>
                  <a:close/>
                  <a:moveTo>
                    <a:pt x="82" y="82"/>
                  </a:moveTo>
                  <a:cubicBezTo>
                    <a:pt x="84" y="82"/>
                    <a:pt x="85" y="82"/>
                    <a:pt x="85" y="81"/>
                  </a:cubicBezTo>
                  <a:cubicBezTo>
                    <a:pt x="85" y="79"/>
                    <a:pt x="82" y="77"/>
                    <a:pt x="82" y="79"/>
                  </a:cubicBezTo>
                  <a:cubicBezTo>
                    <a:pt x="82" y="81"/>
                    <a:pt x="80" y="82"/>
                    <a:pt x="82" y="82"/>
                  </a:cubicBezTo>
                  <a:close/>
                  <a:moveTo>
                    <a:pt x="85" y="84"/>
                  </a:moveTo>
                  <a:cubicBezTo>
                    <a:pt x="85" y="85"/>
                    <a:pt x="87" y="88"/>
                    <a:pt x="88" y="87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7" y="85"/>
                    <a:pt x="85" y="82"/>
                    <a:pt x="85" y="8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2" name="Freeform 220"/>
            <p:cNvSpPr>
              <a:spLocks/>
            </p:cNvSpPr>
            <p:nvPr/>
          </p:nvSpPr>
          <p:spPr bwMode="auto">
            <a:xfrm>
              <a:off x="7568689" y="4406372"/>
              <a:ext cx="84241" cy="160714"/>
            </a:xfrm>
            <a:custGeom>
              <a:avLst/>
              <a:gdLst/>
              <a:ahLst/>
              <a:cxnLst>
                <a:cxn ang="0">
                  <a:pos x="15" y="7"/>
                </a:cxn>
                <a:cxn ang="0">
                  <a:pos x="18" y="8"/>
                </a:cxn>
                <a:cxn ang="0">
                  <a:pos x="26" y="19"/>
                </a:cxn>
                <a:cxn ang="0">
                  <a:pos x="26" y="27"/>
                </a:cxn>
                <a:cxn ang="0">
                  <a:pos x="26" y="32"/>
                </a:cxn>
                <a:cxn ang="0">
                  <a:pos x="27" y="41"/>
                </a:cxn>
                <a:cxn ang="0">
                  <a:pos x="32" y="49"/>
                </a:cxn>
                <a:cxn ang="0">
                  <a:pos x="32" y="54"/>
                </a:cxn>
                <a:cxn ang="0">
                  <a:pos x="30" y="52"/>
                </a:cxn>
                <a:cxn ang="0">
                  <a:pos x="29" y="54"/>
                </a:cxn>
                <a:cxn ang="0">
                  <a:pos x="26" y="54"/>
                </a:cxn>
                <a:cxn ang="0">
                  <a:pos x="17" y="47"/>
                </a:cxn>
                <a:cxn ang="0">
                  <a:pos x="9" y="38"/>
                </a:cxn>
                <a:cxn ang="0">
                  <a:pos x="5" y="28"/>
                </a:cxn>
                <a:cxn ang="0">
                  <a:pos x="3" y="24"/>
                </a:cxn>
                <a:cxn ang="0">
                  <a:pos x="2" y="16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5" y="5"/>
                </a:cxn>
                <a:cxn ang="0">
                  <a:pos x="8" y="7"/>
                </a:cxn>
                <a:cxn ang="0">
                  <a:pos x="8" y="11"/>
                </a:cxn>
                <a:cxn ang="0">
                  <a:pos x="12" y="10"/>
                </a:cxn>
                <a:cxn ang="0">
                  <a:pos x="15" y="7"/>
                </a:cxn>
              </a:cxnLst>
              <a:rect l="0" t="0" r="r" b="b"/>
              <a:pathLst>
                <a:path w="33" h="57">
                  <a:moveTo>
                    <a:pt x="15" y="7"/>
                  </a:moveTo>
                  <a:cubicBezTo>
                    <a:pt x="17" y="7"/>
                    <a:pt x="17" y="5"/>
                    <a:pt x="18" y="8"/>
                  </a:cubicBezTo>
                  <a:cubicBezTo>
                    <a:pt x="18" y="11"/>
                    <a:pt x="24" y="14"/>
                    <a:pt x="26" y="19"/>
                  </a:cubicBezTo>
                  <a:cubicBezTo>
                    <a:pt x="27" y="24"/>
                    <a:pt x="26" y="27"/>
                    <a:pt x="26" y="27"/>
                  </a:cubicBezTo>
                  <a:cubicBezTo>
                    <a:pt x="26" y="28"/>
                    <a:pt x="24" y="30"/>
                    <a:pt x="26" y="32"/>
                  </a:cubicBezTo>
                  <a:cubicBezTo>
                    <a:pt x="27" y="33"/>
                    <a:pt x="23" y="38"/>
                    <a:pt x="27" y="41"/>
                  </a:cubicBezTo>
                  <a:cubicBezTo>
                    <a:pt x="30" y="44"/>
                    <a:pt x="29" y="47"/>
                    <a:pt x="32" y="49"/>
                  </a:cubicBezTo>
                  <a:cubicBezTo>
                    <a:pt x="32" y="50"/>
                    <a:pt x="33" y="55"/>
                    <a:pt x="32" y="54"/>
                  </a:cubicBezTo>
                  <a:cubicBezTo>
                    <a:pt x="30" y="54"/>
                    <a:pt x="32" y="54"/>
                    <a:pt x="30" y="52"/>
                  </a:cubicBezTo>
                  <a:cubicBezTo>
                    <a:pt x="29" y="52"/>
                    <a:pt x="30" y="54"/>
                    <a:pt x="29" y="54"/>
                  </a:cubicBezTo>
                  <a:cubicBezTo>
                    <a:pt x="26" y="52"/>
                    <a:pt x="27" y="57"/>
                    <a:pt x="26" y="54"/>
                  </a:cubicBezTo>
                  <a:cubicBezTo>
                    <a:pt x="24" y="50"/>
                    <a:pt x="23" y="54"/>
                    <a:pt x="17" y="47"/>
                  </a:cubicBezTo>
                  <a:cubicBezTo>
                    <a:pt x="9" y="39"/>
                    <a:pt x="8" y="41"/>
                    <a:pt x="9" y="38"/>
                  </a:cubicBezTo>
                  <a:cubicBezTo>
                    <a:pt x="11" y="35"/>
                    <a:pt x="3" y="30"/>
                    <a:pt x="5" y="28"/>
                  </a:cubicBezTo>
                  <a:cubicBezTo>
                    <a:pt x="5" y="27"/>
                    <a:pt x="3" y="28"/>
                    <a:pt x="3" y="24"/>
                  </a:cubicBezTo>
                  <a:cubicBezTo>
                    <a:pt x="3" y="17"/>
                    <a:pt x="0" y="19"/>
                    <a:pt x="2" y="16"/>
                  </a:cubicBezTo>
                  <a:cubicBezTo>
                    <a:pt x="2" y="14"/>
                    <a:pt x="3" y="8"/>
                    <a:pt x="0" y="3"/>
                  </a:cubicBezTo>
                  <a:cubicBezTo>
                    <a:pt x="0" y="0"/>
                    <a:pt x="0" y="0"/>
                    <a:pt x="2" y="2"/>
                  </a:cubicBezTo>
                  <a:cubicBezTo>
                    <a:pt x="3" y="3"/>
                    <a:pt x="5" y="2"/>
                    <a:pt x="5" y="5"/>
                  </a:cubicBezTo>
                  <a:cubicBezTo>
                    <a:pt x="6" y="7"/>
                    <a:pt x="8" y="3"/>
                    <a:pt x="8" y="7"/>
                  </a:cubicBezTo>
                  <a:cubicBezTo>
                    <a:pt x="8" y="8"/>
                    <a:pt x="6" y="10"/>
                    <a:pt x="8" y="11"/>
                  </a:cubicBezTo>
                  <a:cubicBezTo>
                    <a:pt x="9" y="13"/>
                    <a:pt x="9" y="7"/>
                    <a:pt x="12" y="10"/>
                  </a:cubicBezTo>
                  <a:cubicBezTo>
                    <a:pt x="14" y="11"/>
                    <a:pt x="14" y="11"/>
                    <a:pt x="15" y="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3" name="Freeform 221"/>
            <p:cNvSpPr>
              <a:spLocks/>
            </p:cNvSpPr>
            <p:nvPr/>
          </p:nvSpPr>
          <p:spPr bwMode="auto">
            <a:xfrm>
              <a:off x="7637136" y="4555503"/>
              <a:ext cx="7898" cy="11583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3" y="0"/>
                </a:cxn>
                <a:cxn ang="0">
                  <a:pos x="0" y="2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0"/>
                    <a:pt x="3" y="0"/>
                    <a:pt x="3" y="0"/>
                  </a:cubicBezTo>
                  <a:cubicBezTo>
                    <a:pt x="3" y="2"/>
                    <a:pt x="2" y="4"/>
                    <a:pt x="0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4" name="Freeform 222"/>
            <p:cNvSpPr>
              <a:spLocks noEditPoints="1"/>
            </p:cNvSpPr>
            <p:nvPr/>
          </p:nvSpPr>
          <p:spPr bwMode="auto">
            <a:xfrm>
              <a:off x="7463387" y="4435329"/>
              <a:ext cx="913492" cy="460423"/>
            </a:xfrm>
            <a:custGeom>
              <a:avLst/>
              <a:gdLst/>
              <a:ahLst/>
              <a:cxnLst>
                <a:cxn ang="0">
                  <a:pos x="306" y="91"/>
                </a:cxn>
                <a:cxn ang="0">
                  <a:pos x="288" y="67"/>
                </a:cxn>
                <a:cxn ang="0">
                  <a:pos x="341" y="73"/>
                </a:cxn>
                <a:cxn ang="0">
                  <a:pos x="157" y="37"/>
                </a:cxn>
                <a:cxn ang="0">
                  <a:pos x="115" y="40"/>
                </a:cxn>
                <a:cxn ang="0">
                  <a:pos x="121" y="87"/>
                </a:cxn>
                <a:cxn ang="0">
                  <a:pos x="167" y="87"/>
                </a:cxn>
                <a:cxn ang="0">
                  <a:pos x="179" y="29"/>
                </a:cxn>
                <a:cxn ang="0">
                  <a:pos x="24" y="35"/>
                </a:cxn>
                <a:cxn ang="0">
                  <a:pos x="71" y="112"/>
                </a:cxn>
                <a:cxn ang="0">
                  <a:pos x="77" y="80"/>
                </a:cxn>
                <a:cxn ang="0">
                  <a:pos x="45" y="37"/>
                </a:cxn>
                <a:cxn ang="0">
                  <a:pos x="4" y="1"/>
                </a:cxn>
                <a:cxn ang="0">
                  <a:pos x="138" y="140"/>
                </a:cxn>
                <a:cxn ang="0">
                  <a:pos x="128" y="122"/>
                </a:cxn>
                <a:cxn ang="0">
                  <a:pos x="85" y="121"/>
                </a:cxn>
                <a:cxn ang="0">
                  <a:pos x="347" y="129"/>
                </a:cxn>
                <a:cxn ang="0">
                  <a:pos x="161" y="124"/>
                </a:cxn>
                <a:cxn ang="0">
                  <a:pos x="166" y="143"/>
                </a:cxn>
                <a:cxn ang="0">
                  <a:pos x="189" y="144"/>
                </a:cxn>
                <a:cxn ang="0">
                  <a:pos x="181" y="141"/>
                </a:cxn>
                <a:cxn ang="0">
                  <a:pos x="195" y="140"/>
                </a:cxn>
                <a:cxn ang="0">
                  <a:pos x="208" y="144"/>
                </a:cxn>
                <a:cxn ang="0">
                  <a:pos x="210" y="141"/>
                </a:cxn>
                <a:cxn ang="0">
                  <a:pos x="222" y="141"/>
                </a:cxn>
                <a:cxn ang="0">
                  <a:pos x="228" y="138"/>
                </a:cxn>
                <a:cxn ang="0">
                  <a:pos x="236" y="136"/>
                </a:cxn>
                <a:cxn ang="0">
                  <a:pos x="195" y="149"/>
                </a:cxn>
                <a:cxn ang="0">
                  <a:pos x="240" y="149"/>
                </a:cxn>
                <a:cxn ang="0">
                  <a:pos x="230" y="149"/>
                </a:cxn>
                <a:cxn ang="0">
                  <a:pos x="205" y="88"/>
                </a:cxn>
                <a:cxn ang="0">
                  <a:pos x="221" y="63"/>
                </a:cxn>
                <a:cxn ang="0">
                  <a:pos x="231" y="48"/>
                </a:cxn>
                <a:cxn ang="0">
                  <a:pos x="193" y="73"/>
                </a:cxn>
                <a:cxn ang="0">
                  <a:pos x="246" y="88"/>
                </a:cxn>
                <a:cxn ang="0">
                  <a:pos x="260" y="90"/>
                </a:cxn>
                <a:cxn ang="0">
                  <a:pos x="262" y="71"/>
                </a:cxn>
                <a:cxn ang="0">
                  <a:pos x="285" y="70"/>
                </a:cxn>
                <a:cxn ang="0">
                  <a:pos x="260" y="54"/>
                </a:cxn>
                <a:cxn ang="0">
                  <a:pos x="257" y="48"/>
                </a:cxn>
                <a:cxn ang="0">
                  <a:pos x="213" y="107"/>
                </a:cxn>
                <a:cxn ang="0">
                  <a:pos x="224" y="101"/>
                </a:cxn>
                <a:cxn ang="0">
                  <a:pos x="225" y="70"/>
                </a:cxn>
                <a:cxn ang="0">
                  <a:pos x="312" y="119"/>
                </a:cxn>
                <a:cxn ang="0">
                  <a:pos x="100" y="88"/>
                </a:cxn>
                <a:cxn ang="0">
                  <a:pos x="90" y="82"/>
                </a:cxn>
                <a:cxn ang="0">
                  <a:pos x="12" y="34"/>
                </a:cxn>
                <a:cxn ang="0">
                  <a:pos x="29" y="67"/>
                </a:cxn>
                <a:cxn ang="0">
                  <a:pos x="74" y="60"/>
                </a:cxn>
                <a:cxn ang="0">
                  <a:pos x="67" y="48"/>
                </a:cxn>
                <a:cxn ang="0">
                  <a:pos x="58" y="43"/>
                </a:cxn>
                <a:cxn ang="0">
                  <a:pos x="62" y="48"/>
                </a:cxn>
                <a:cxn ang="0">
                  <a:pos x="326" y="74"/>
                </a:cxn>
                <a:cxn ang="0">
                  <a:pos x="275" y="135"/>
                </a:cxn>
                <a:cxn ang="0">
                  <a:pos x="260" y="138"/>
                </a:cxn>
                <a:cxn ang="0">
                  <a:pos x="312" y="115"/>
                </a:cxn>
                <a:cxn ang="0">
                  <a:pos x="245" y="76"/>
                </a:cxn>
                <a:cxn ang="0">
                  <a:pos x="265" y="91"/>
                </a:cxn>
                <a:cxn ang="0">
                  <a:pos x="74" y="45"/>
                </a:cxn>
              </a:cxnLst>
              <a:rect l="0" t="0" r="r" b="b"/>
              <a:pathLst>
                <a:path w="358" h="164">
                  <a:moveTo>
                    <a:pt x="358" y="138"/>
                  </a:moveTo>
                  <a:cubicBezTo>
                    <a:pt x="353" y="136"/>
                    <a:pt x="352" y="138"/>
                    <a:pt x="350" y="136"/>
                  </a:cubicBezTo>
                  <a:cubicBezTo>
                    <a:pt x="350" y="135"/>
                    <a:pt x="345" y="140"/>
                    <a:pt x="349" y="133"/>
                  </a:cubicBezTo>
                  <a:cubicBezTo>
                    <a:pt x="352" y="129"/>
                    <a:pt x="345" y="130"/>
                    <a:pt x="345" y="125"/>
                  </a:cubicBezTo>
                  <a:cubicBezTo>
                    <a:pt x="344" y="122"/>
                    <a:pt x="349" y="125"/>
                    <a:pt x="345" y="121"/>
                  </a:cubicBezTo>
                  <a:cubicBezTo>
                    <a:pt x="342" y="118"/>
                    <a:pt x="341" y="110"/>
                    <a:pt x="338" y="107"/>
                  </a:cubicBezTo>
                  <a:cubicBezTo>
                    <a:pt x="333" y="104"/>
                    <a:pt x="330" y="105"/>
                    <a:pt x="327" y="102"/>
                  </a:cubicBezTo>
                  <a:cubicBezTo>
                    <a:pt x="321" y="99"/>
                    <a:pt x="320" y="102"/>
                    <a:pt x="313" y="97"/>
                  </a:cubicBezTo>
                  <a:cubicBezTo>
                    <a:pt x="309" y="93"/>
                    <a:pt x="306" y="94"/>
                    <a:pt x="306" y="91"/>
                  </a:cubicBezTo>
                  <a:cubicBezTo>
                    <a:pt x="307" y="85"/>
                    <a:pt x="306" y="85"/>
                    <a:pt x="304" y="93"/>
                  </a:cubicBezTo>
                  <a:cubicBezTo>
                    <a:pt x="304" y="97"/>
                    <a:pt x="300" y="97"/>
                    <a:pt x="298" y="94"/>
                  </a:cubicBezTo>
                  <a:cubicBezTo>
                    <a:pt x="297" y="91"/>
                    <a:pt x="303" y="93"/>
                    <a:pt x="298" y="88"/>
                  </a:cubicBezTo>
                  <a:cubicBezTo>
                    <a:pt x="294" y="85"/>
                    <a:pt x="294" y="87"/>
                    <a:pt x="292" y="85"/>
                  </a:cubicBezTo>
                  <a:cubicBezTo>
                    <a:pt x="292" y="80"/>
                    <a:pt x="300" y="87"/>
                    <a:pt x="301" y="82"/>
                  </a:cubicBezTo>
                  <a:cubicBezTo>
                    <a:pt x="301" y="79"/>
                    <a:pt x="307" y="84"/>
                    <a:pt x="307" y="80"/>
                  </a:cubicBezTo>
                  <a:cubicBezTo>
                    <a:pt x="307" y="76"/>
                    <a:pt x="295" y="82"/>
                    <a:pt x="294" y="77"/>
                  </a:cubicBezTo>
                  <a:cubicBezTo>
                    <a:pt x="291" y="73"/>
                    <a:pt x="291" y="71"/>
                    <a:pt x="288" y="71"/>
                  </a:cubicBezTo>
                  <a:cubicBezTo>
                    <a:pt x="281" y="71"/>
                    <a:pt x="288" y="68"/>
                    <a:pt x="288" y="67"/>
                  </a:cubicBezTo>
                  <a:cubicBezTo>
                    <a:pt x="286" y="63"/>
                    <a:pt x="289" y="65"/>
                    <a:pt x="292" y="63"/>
                  </a:cubicBezTo>
                  <a:cubicBezTo>
                    <a:pt x="294" y="63"/>
                    <a:pt x="294" y="57"/>
                    <a:pt x="301" y="62"/>
                  </a:cubicBezTo>
                  <a:cubicBezTo>
                    <a:pt x="309" y="67"/>
                    <a:pt x="309" y="62"/>
                    <a:pt x="310" y="67"/>
                  </a:cubicBezTo>
                  <a:cubicBezTo>
                    <a:pt x="312" y="73"/>
                    <a:pt x="309" y="73"/>
                    <a:pt x="310" y="80"/>
                  </a:cubicBezTo>
                  <a:cubicBezTo>
                    <a:pt x="313" y="87"/>
                    <a:pt x="312" y="79"/>
                    <a:pt x="313" y="80"/>
                  </a:cubicBezTo>
                  <a:cubicBezTo>
                    <a:pt x="315" y="84"/>
                    <a:pt x="313" y="88"/>
                    <a:pt x="318" y="90"/>
                  </a:cubicBezTo>
                  <a:cubicBezTo>
                    <a:pt x="321" y="91"/>
                    <a:pt x="327" y="77"/>
                    <a:pt x="329" y="79"/>
                  </a:cubicBezTo>
                  <a:cubicBezTo>
                    <a:pt x="330" y="80"/>
                    <a:pt x="335" y="77"/>
                    <a:pt x="335" y="76"/>
                  </a:cubicBezTo>
                  <a:cubicBezTo>
                    <a:pt x="333" y="74"/>
                    <a:pt x="338" y="71"/>
                    <a:pt x="341" y="73"/>
                  </a:cubicBezTo>
                  <a:cubicBezTo>
                    <a:pt x="344" y="74"/>
                    <a:pt x="353" y="80"/>
                    <a:pt x="358" y="80"/>
                  </a:cubicBezTo>
                  <a:cubicBezTo>
                    <a:pt x="358" y="138"/>
                    <a:pt x="358" y="138"/>
                    <a:pt x="358" y="138"/>
                  </a:cubicBezTo>
                  <a:close/>
                  <a:moveTo>
                    <a:pt x="178" y="17"/>
                  </a:moveTo>
                  <a:cubicBezTo>
                    <a:pt x="175" y="14"/>
                    <a:pt x="176" y="15"/>
                    <a:pt x="173" y="15"/>
                  </a:cubicBezTo>
                  <a:cubicBezTo>
                    <a:pt x="169" y="15"/>
                    <a:pt x="166" y="14"/>
                    <a:pt x="164" y="17"/>
                  </a:cubicBezTo>
                  <a:cubicBezTo>
                    <a:pt x="163" y="20"/>
                    <a:pt x="163" y="23"/>
                    <a:pt x="163" y="26"/>
                  </a:cubicBezTo>
                  <a:cubicBezTo>
                    <a:pt x="163" y="29"/>
                    <a:pt x="160" y="26"/>
                    <a:pt x="160" y="29"/>
                  </a:cubicBezTo>
                  <a:cubicBezTo>
                    <a:pt x="158" y="32"/>
                    <a:pt x="158" y="32"/>
                    <a:pt x="160" y="32"/>
                  </a:cubicBezTo>
                  <a:cubicBezTo>
                    <a:pt x="161" y="34"/>
                    <a:pt x="157" y="34"/>
                    <a:pt x="157" y="37"/>
                  </a:cubicBezTo>
                  <a:cubicBezTo>
                    <a:pt x="157" y="39"/>
                    <a:pt x="157" y="40"/>
                    <a:pt x="155" y="42"/>
                  </a:cubicBezTo>
                  <a:cubicBezTo>
                    <a:pt x="155" y="45"/>
                    <a:pt x="150" y="42"/>
                    <a:pt x="149" y="45"/>
                  </a:cubicBezTo>
                  <a:cubicBezTo>
                    <a:pt x="147" y="46"/>
                    <a:pt x="144" y="45"/>
                    <a:pt x="143" y="43"/>
                  </a:cubicBezTo>
                  <a:cubicBezTo>
                    <a:pt x="141" y="43"/>
                    <a:pt x="144" y="42"/>
                    <a:pt x="140" y="42"/>
                  </a:cubicBezTo>
                  <a:cubicBezTo>
                    <a:pt x="134" y="42"/>
                    <a:pt x="137" y="46"/>
                    <a:pt x="135" y="46"/>
                  </a:cubicBezTo>
                  <a:cubicBezTo>
                    <a:pt x="132" y="46"/>
                    <a:pt x="134" y="49"/>
                    <a:pt x="129" y="48"/>
                  </a:cubicBezTo>
                  <a:cubicBezTo>
                    <a:pt x="125" y="46"/>
                    <a:pt x="125" y="51"/>
                    <a:pt x="121" y="48"/>
                  </a:cubicBezTo>
                  <a:cubicBezTo>
                    <a:pt x="120" y="46"/>
                    <a:pt x="118" y="43"/>
                    <a:pt x="117" y="43"/>
                  </a:cubicBezTo>
                  <a:cubicBezTo>
                    <a:pt x="115" y="43"/>
                    <a:pt x="117" y="42"/>
                    <a:pt x="115" y="40"/>
                  </a:cubicBezTo>
                  <a:cubicBezTo>
                    <a:pt x="114" y="40"/>
                    <a:pt x="115" y="37"/>
                    <a:pt x="115" y="37"/>
                  </a:cubicBezTo>
                  <a:cubicBezTo>
                    <a:pt x="112" y="37"/>
                    <a:pt x="112" y="40"/>
                    <a:pt x="112" y="42"/>
                  </a:cubicBezTo>
                  <a:cubicBezTo>
                    <a:pt x="109" y="45"/>
                    <a:pt x="108" y="54"/>
                    <a:pt x="111" y="56"/>
                  </a:cubicBezTo>
                  <a:cubicBezTo>
                    <a:pt x="114" y="57"/>
                    <a:pt x="109" y="59"/>
                    <a:pt x="112" y="62"/>
                  </a:cubicBezTo>
                  <a:cubicBezTo>
                    <a:pt x="115" y="65"/>
                    <a:pt x="111" y="65"/>
                    <a:pt x="114" y="65"/>
                  </a:cubicBezTo>
                  <a:cubicBezTo>
                    <a:pt x="117" y="67"/>
                    <a:pt x="112" y="68"/>
                    <a:pt x="114" y="70"/>
                  </a:cubicBezTo>
                  <a:cubicBezTo>
                    <a:pt x="115" y="71"/>
                    <a:pt x="117" y="67"/>
                    <a:pt x="118" y="70"/>
                  </a:cubicBezTo>
                  <a:cubicBezTo>
                    <a:pt x="120" y="73"/>
                    <a:pt x="117" y="73"/>
                    <a:pt x="118" y="77"/>
                  </a:cubicBezTo>
                  <a:cubicBezTo>
                    <a:pt x="123" y="88"/>
                    <a:pt x="118" y="87"/>
                    <a:pt x="121" y="87"/>
                  </a:cubicBezTo>
                  <a:cubicBezTo>
                    <a:pt x="125" y="87"/>
                    <a:pt x="126" y="88"/>
                    <a:pt x="128" y="87"/>
                  </a:cubicBezTo>
                  <a:cubicBezTo>
                    <a:pt x="129" y="84"/>
                    <a:pt x="134" y="87"/>
                    <a:pt x="132" y="90"/>
                  </a:cubicBezTo>
                  <a:cubicBezTo>
                    <a:pt x="132" y="93"/>
                    <a:pt x="134" y="91"/>
                    <a:pt x="135" y="90"/>
                  </a:cubicBezTo>
                  <a:cubicBezTo>
                    <a:pt x="137" y="88"/>
                    <a:pt x="140" y="91"/>
                    <a:pt x="141" y="88"/>
                  </a:cubicBezTo>
                  <a:cubicBezTo>
                    <a:pt x="143" y="85"/>
                    <a:pt x="144" y="90"/>
                    <a:pt x="146" y="88"/>
                  </a:cubicBezTo>
                  <a:cubicBezTo>
                    <a:pt x="147" y="88"/>
                    <a:pt x="146" y="91"/>
                    <a:pt x="149" y="90"/>
                  </a:cubicBezTo>
                  <a:cubicBezTo>
                    <a:pt x="153" y="88"/>
                    <a:pt x="155" y="93"/>
                    <a:pt x="155" y="96"/>
                  </a:cubicBezTo>
                  <a:cubicBezTo>
                    <a:pt x="153" y="101"/>
                    <a:pt x="161" y="94"/>
                    <a:pt x="164" y="93"/>
                  </a:cubicBezTo>
                  <a:cubicBezTo>
                    <a:pt x="166" y="93"/>
                    <a:pt x="167" y="88"/>
                    <a:pt x="167" y="87"/>
                  </a:cubicBezTo>
                  <a:cubicBezTo>
                    <a:pt x="167" y="85"/>
                    <a:pt x="169" y="87"/>
                    <a:pt x="169" y="84"/>
                  </a:cubicBezTo>
                  <a:cubicBezTo>
                    <a:pt x="169" y="80"/>
                    <a:pt x="172" y="84"/>
                    <a:pt x="170" y="77"/>
                  </a:cubicBezTo>
                  <a:cubicBezTo>
                    <a:pt x="169" y="71"/>
                    <a:pt x="173" y="71"/>
                    <a:pt x="175" y="68"/>
                  </a:cubicBezTo>
                  <a:cubicBezTo>
                    <a:pt x="176" y="65"/>
                    <a:pt x="179" y="68"/>
                    <a:pt x="179" y="62"/>
                  </a:cubicBezTo>
                  <a:cubicBezTo>
                    <a:pt x="178" y="56"/>
                    <a:pt x="179" y="51"/>
                    <a:pt x="181" y="49"/>
                  </a:cubicBezTo>
                  <a:cubicBezTo>
                    <a:pt x="182" y="48"/>
                    <a:pt x="181" y="46"/>
                    <a:pt x="184" y="48"/>
                  </a:cubicBezTo>
                  <a:cubicBezTo>
                    <a:pt x="185" y="51"/>
                    <a:pt x="190" y="49"/>
                    <a:pt x="190" y="48"/>
                  </a:cubicBezTo>
                  <a:cubicBezTo>
                    <a:pt x="190" y="46"/>
                    <a:pt x="179" y="40"/>
                    <a:pt x="181" y="37"/>
                  </a:cubicBezTo>
                  <a:cubicBezTo>
                    <a:pt x="184" y="34"/>
                    <a:pt x="181" y="34"/>
                    <a:pt x="179" y="29"/>
                  </a:cubicBezTo>
                  <a:cubicBezTo>
                    <a:pt x="179" y="26"/>
                    <a:pt x="176" y="28"/>
                    <a:pt x="176" y="25"/>
                  </a:cubicBezTo>
                  <a:cubicBezTo>
                    <a:pt x="178" y="20"/>
                    <a:pt x="181" y="23"/>
                    <a:pt x="181" y="21"/>
                  </a:cubicBezTo>
                  <a:cubicBezTo>
                    <a:pt x="181" y="21"/>
                    <a:pt x="179" y="20"/>
                    <a:pt x="178" y="18"/>
                  </a:cubicBezTo>
                  <a:cubicBezTo>
                    <a:pt x="178" y="17"/>
                    <a:pt x="178" y="18"/>
                    <a:pt x="178" y="17"/>
                  </a:cubicBezTo>
                  <a:close/>
                  <a:moveTo>
                    <a:pt x="4" y="12"/>
                  </a:moveTo>
                  <a:cubicBezTo>
                    <a:pt x="7" y="17"/>
                    <a:pt x="7" y="15"/>
                    <a:pt x="10" y="18"/>
                  </a:cubicBezTo>
                  <a:cubicBezTo>
                    <a:pt x="12" y="23"/>
                    <a:pt x="12" y="18"/>
                    <a:pt x="16" y="23"/>
                  </a:cubicBezTo>
                  <a:cubicBezTo>
                    <a:pt x="19" y="29"/>
                    <a:pt x="15" y="26"/>
                    <a:pt x="19" y="29"/>
                  </a:cubicBezTo>
                  <a:cubicBezTo>
                    <a:pt x="22" y="31"/>
                    <a:pt x="18" y="32"/>
                    <a:pt x="24" y="35"/>
                  </a:cubicBezTo>
                  <a:cubicBezTo>
                    <a:pt x="27" y="37"/>
                    <a:pt x="30" y="40"/>
                    <a:pt x="30" y="42"/>
                  </a:cubicBezTo>
                  <a:cubicBezTo>
                    <a:pt x="29" y="43"/>
                    <a:pt x="29" y="42"/>
                    <a:pt x="32" y="48"/>
                  </a:cubicBezTo>
                  <a:cubicBezTo>
                    <a:pt x="33" y="54"/>
                    <a:pt x="32" y="54"/>
                    <a:pt x="35" y="56"/>
                  </a:cubicBezTo>
                  <a:cubicBezTo>
                    <a:pt x="38" y="57"/>
                    <a:pt x="35" y="57"/>
                    <a:pt x="41" y="63"/>
                  </a:cubicBezTo>
                  <a:cubicBezTo>
                    <a:pt x="44" y="67"/>
                    <a:pt x="41" y="68"/>
                    <a:pt x="42" y="70"/>
                  </a:cubicBezTo>
                  <a:cubicBezTo>
                    <a:pt x="45" y="71"/>
                    <a:pt x="45" y="74"/>
                    <a:pt x="47" y="79"/>
                  </a:cubicBezTo>
                  <a:cubicBezTo>
                    <a:pt x="47" y="82"/>
                    <a:pt x="50" y="87"/>
                    <a:pt x="54" y="91"/>
                  </a:cubicBezTo>
                  <a:cubicBezTo>
                    <a:pt x="58" y="94"/>
                    <a:pt x="56" y="94"/>
                    <a:pt x="62" y="101"/>
                  </a:cubicBezTo>
                  <a:cubicBezTo>
                    <a:pt x="67" y="105"/>
                    <a:pt x="70" y="107"/>
                    <a:pt x="71" y="112"/>
                  </a:cubicBezTo>
                  <a:cubicBezTo>
                    <a:pt x="74" y="115"/>
                    <a:pt x="77" y="119"/>
                    <a:pt x="76" y="113"/>
                  </a:cubicBezTo>
                  <a:cubicBezTo>
                    <a:pt x="74" y="107"/>
                    <a:pt x="80" y="116"/>
                    <a:pt x="80" y="112"/>
                  </a:cubicBezTo>
                  <a:cubicBezTo>
                    <a:pt x="82" y="108"/>
                    <a:pt x="83" y="116"/>
                    <a:pt x="85" y="115"/>
                  </a:cubicBezTo>
                  <a:cubicBezTo>
                    <a:pt x="86" y="113"/>
                    <a:pt x="86" y="110"/>
                    <a:pt x="86" y="104"/>
                  </a:cubicBezTo>
                  <a:cubicBezTo>
                    <a:pt x="86" y="99"/>
                    <a:pt x="85" y="101"/>
                    <a:pt x="86" y="97"/>
                  </a:cubicBezTo>
                  <a:cubicBezTo>
                    <a:pt x="88" y="93"/>
                    <a:pt x="85" y="94"/>
                    <a:pt x="86" y="90"/>
                  </a:cubicBezTo>
                  <a:cubicBezTo>
                    <a:pt x="90" y="87"/>
                    <a:pt x="86" y="87"/>
                    <a:pt x="85" y="84"/>
                  </a:cubicBezTo>
                  <a:cubicBezTo>
                    <a:pt x="83" y="80"/>
                    <a:pt x="83" y="79"/>
                    <a:pt x="80" y="80"/>
                  </a:cubicBezTo>
                  <a:cubicBezTo>
                    <a:pt x="79" y="82"/>
                    <a:pt x="80" y="79"/>
                    <a:pt x="77" y="80"/>
                  </a:cubicBezTo>
                  <a:cubicBezTo>
                    <a:pt x="74" y="84"/>
                    <a:pt x="80" y="77"/>
                    <a:pt x="77" y="77"/>
                  </a:cubicBezTo>
                  <a:cubicBezTo>
                    <a:pt x="74" y="77"/>
                    <a:pt x="76" y="67"/>
                    <a:pt x="73" y="67"/>
                  </a:cubicBezTo>
                  <a:cubicBezTo>
                    <a:pt x="68" y="68"/>
                    <a:pt x="65" y="65"/>
                    <a:pt x="67" y="62"/>
                  </a:cubicBezTo>
                  <a:cubicBezTo>
                    <a:pt x="68" y="60"/>
                    <a:pt x="65" y="59"/>
                    <a:pt x="68" y="59"/>
                  </a:cubicBezTo>
                  <a:cubicBezTo>
                    <a:pt x="71" y="57"/>
                    <a:pt x="68" y="51"/>
                    <a:pt x="65" y="52"/>
                  </a:cubicBezTo>
                  <a:cubicBezTo>
                    <a:pt x="62" y="54"/>
                    <a:pt x="65" y="51"/>
                    <a:pt x="61" y="49"/>
                  </a:cubicBezTo>
                  <a:cubicBezTo>
                    <a:pt x="54" y="49"/>
                    <a:pt x="59" y="42"/>
                    <a:pt x="51" y="40"/>
                  </a:cubicBezTo>
                  <a:cubicBezTo>
                    <a:pt x="48" y="40"/>
                    <a:pt x="50" y="37"/>
                    <a:pt x="48" y="35"/>
                  </a:cubicBezTo>
                  <a:cubicBezTo>
                    <a:pt x="44" y="32"/>
                    <a:pt x="47" y="39"/>
                    <a:pt x="45" y="37"/>
                  </a:cubicBezTo>
                  <a:cubicBezTo>
                    <a:pt x="44" y="35"/>
                    <a:pt x="42" y="37"/>
                    <a:pt x="42" y="32"/>
                  </a:cubicBezTo>
                  <a:cubicBezTo>
                    <a:pt x="41" y="29"/>
                    <a:pt x="41" y="32"/>
                    <a:pt x="39" y="29"/>
                  </a:cubicBezTo>
                  <a:cubicBezTo>
                    <a:pt x="38" y="28"/>
                    <a:pt x="35" y="23"/>
                    <a:pt x="32" y="21"/>
                  </a:cubicBezTo>
                  <a:cubicBezTo>
                    <a:pt x="29" y="21"/>
                    <a:pt x="29" y="18"/>
                    <a:pt x="27" y="17"/>
                  </a:cubicBezTo>
                  <a:cubicBezTo>
                    <a:pt x="24" y="17"/>
                    <a:pt x="27" y="14"/>
                    <a:pt x="24" y="14"/>
                  </a:cubicBezTo>
                  <a:cubicBezTo>
                    <a:pt x="22" y="12"/>
                    <a:pt x="24" y="11"/>
                    <a:pt x="21" y="7"/>
                  </a:cubicBezTo>
                  <a:cubicBezTo>
                    <a:pt x="18" y="3"/>
                    <a:pt x="19" y="7"/>
                    <a:pt x="16" y="6"/>
                  </a:cubicBezTo>
                  <a:cubicBezTo>
                    <a:pt x="15" y="4"/>
                    <a:pt x="15" y="6"/>
                    <a:pt x="10" y="6"/>
                  </a:cubicBezTo>
                  <a:cubicBezTo>
                    <a:pt x="4" y="4"/>
                    <a:pt x="9" y="4"/>
                    <a:pt x="4" y="1"/>
                  </a:cubicBezTo>
                  <a:cubicBezTo>
                    <a:pt x="0" y="0"/>
                    <a:pt x="1" y="6"/>
                    <a:pt x="4" y="12"/>
                  </a:cubicBezTo>
                  <a:close/>
                  <a:moveTo>
                    <a:pt x="82" y="124"/>
                  </a:moveTo>
                  <a:cubicBezTo>
                    <a:pt x="83" y="124"/>
                    <a:pt x="86" y="122"/>
                    <a:pt x="88" y="125"/>
                  </a:cubicBezTo>
                  <a:cubicBezTo>
                    <a:pt x="90" y="127"/>
                    <a:pt x="93" y="124"/>
                    <a:pt x="91" y="127"/>
                  </a:cubicBezTo>
                  <a:cubicBezTo>
                    <a:pt x="90" y="130"/>
                    <a:pt x="91" y="127"/>
                    <a:pt x="102" y="133"/>
                  </a:cubicBezTo>
                  <a:cubicBezTo>
                    <a:pt x="106" y="135"/>
                    <a:pt x="108" y="130"/>
                    <a:pt x="109" y="132"/>
                  </a:cubicBezTo>
                  <a:cubicBezTo>
                    <a:pt x="111" y="133"/>
                    <a:pt x="112" y="132"/>
                    <a:pt x="117" y="133"/>
                  </a:cubicBezTo>
                  <a:cubicBezTo>
                    <a:pt x="121" y="135"/>
                    <a:pt x="118" y="136"/>
                    <a:pt x="129" y="138"/>
                  </a:cubicBezTo>
                  <a:cubicBezTo>
                    <a:pt x="137" y="140"/>
                    <a:pt x="129" y="136"/>
                    <a:pt x="138" y="140"/>
                  </a:cubicBezTo>
                  <a:cubicBezTo>
                    <a:pt x="146" y="141"/>
                    <a:pt x="138" y="135"/>
                    <a:pt x="146" y="140"/>
                  </a:cubicBezTo>
                  <a:cubicBezTo>
                    <a:pt x="150" y="141"/>
                    <a:pt x="150" y="141"/>
                    <a:pt x="153" y="143"/>
                  </a:cubicBezTo>
                  <a:cubicBezTo>
                    <a:pt x="155" y="144"/>
                    <a:pt x="155" y="141"/>
                    <a:pt x="153" y="141"/>
                  </a:cubicBezTo>
                  <a:cubicBezTo>
                    <a:pt x="150" y="140"/>
                    <a:pt x="158" y="132"/>
                    <a:pt x="152" y="132"/>
                  </a:cubicBezTo>
                  <a:cubicBezTo>
                    <a:pt x="147" y="132"/>
                    <a:pt x="147" y="133"/>
                    <a:pt x="143" y="132"/>
                  </a:cubicBezTo>
                  <a:cubicBezTo>
                    <a:pt x="138" y="130"/>
                    <a:pt x="141" y="130"/>
                    <a:pt x="140" y="125"/>
                  </a:cubicBezTo>
                  <a:cubicBezTo>
                    <a:pt x="137" y="121"/>
                    <a:pt x="137" y="127"/>
                    <a:pt x="135" y="124"/>
                  </a:cubicBezTo>
                  <a:cubicBezTo>
                    <a:pt x="134" y="121"/>
                    <a:pt x="134" y="125"/>
                    <a:pt x="132" y="122"/>
                  </a:cubicBezTo>
                  <a:cubicBezTo>
                    <a:pt x="131" y="121"/>
                    <a:pt x="129" y="124"/>
                    <a:pt x="128" y="122"/>
                  </a:cubicBezTo>
                  <a:cubicBezTo>
                    <a:pt x="126" y="119"/>
                    <a:pt x="125" y="118"/>
                    <a:pt x="123" y="122"/>
                  </a:cubicBezTo>
                  <a:cubicBezTo>
                    <a:pt x="121" y="129"/>
                    <a:pt x="121" y="124"/>
                    <a:pt x="117" y="124"/>
                  </a:cubicBezTo>
                  <a:cubicBezTo>
                    <a:pt x="114" y="124"/>
                    <a:pt x="114" y="125"/>
                    <a:pt x="112" y="124"/>
                  </a:cubicBezTo>
                  <a:cubicBezTo>
                    <a:pt x="109" y="122"/>
                    <a:pt x="108" y="125"/>
                    <a:pt x="106" y="119"/>
                  </a:cubicBezTo>
                  <a:cubicBezTo>
                    <a:pt x="105" y="116"/>
                    <a:pt x="105" y="119"/>
                    <a:pt x="102" y="118"/>
                  </a:cubicBezTo>
                  <a:cubicBezTo>
                    <a:pt x="100" y="116"/>
                    <a:pt x="100" y="119"/>
                    <a:pt x="99" y="116"/>
                  </a:cubicBezTo>
                  <a:cubicBezTo>
                    <a:pt x="97" y="115"/>
                    <a:pt x="94" y="113"/>
                    <a:pt x="94" y="116"/>
                  </a:cubicBezTo>
                  <a:cubicBezTo>
                    <a:pt x="94" y="118"/>
                    <a:pt x="93" y="116"/>
                    <a:pt x="88" y="115"/>
                  </a:cubicBezTo>
                  <a:cubicBezTo>
                    <a:pt x="85" y="115"/>
                    <a:pt x="86" y="119"/>
                    <a:pt x="85" y="121"/>
                  </a:cubicBezTo>
                  <a:cubicBezTo>
                    <a:pt x="82" y="121"/>
                    <a:pt x="85" y="122"/>
                    <a:pt x="82" y="122"/>
                  </a:cubicBezTo>
                  <a:cubicBezTo>
                    <a:pt x="80" y="122"/>
                    <a:pt x="80" y="124"/>
                    <a:pt x="82" y="124"/>
                  </a:cubicBezTo>
                  <a:close/>
                  <a:moveTo>
                    <a:pt x="339" y="133"/>
                  </a:moveTo>
                  <a:cubicBezTo>
                    <a:pt x="339" y="135"/>
                    <a:pt x="338" y="138"/>
                    <a:pt x="338" y="140"/>
                  </a:cubicBezTo>
                  <a:cubicBezTo>
                    <a:pt x="338" y="141"/>
                    <a:pt x="339" y="138"/>
                    <a:pt x="342" y="140"/>
                  </a:cubicBezTo>
                  <a:cubicBezTo>
                    <a:pt x="345" y="141"/>
                    <a:pt x="345" y="136"/>
                    <a:pt x="347" y="136"/>
                  </a:cubicBezTo>
                  <a:cubicBezTo>
                    <a:pt x="349" y="136"/>
                    <a:pt x="347" y="135"/>
                    <a:pt x="349" y="133"/>
                  </a:cubicBezTo>
                  <a:cubicBezTo>
                    <a:pt x="349" y="132"/>
                    <a:pt x="350" y="132"/>
                    <a:pt x="349" y="132"/>
                  </a:cubicBezTo>
                  <a:cubicBezTo>
                    <a:pt x="347" y="130"/>
                    <a:pt x="347" y="130"/>
                    <a:pt x="347" y="129"/>
                  </a:cubicBezTo>
                  <a:cubicBezTo>
                    <a:pt x="344" y="129"/>
                    <a:pt x="339" y="132"/>
                    <a:pt x="339" y="133"/>
                  </a:cubicBezTo>
                  <a:close/>
                  <a:moveTo>
                    <a:pt x="147" y="127"/>
                  </a:moveTo>
                  <a:cubicBezTo>
                    <a:pt x="149" y="125"/>
                    <a:pt x="152" y="125"/>
                    <a:pt x="150" y="124"/>
                  </a:cubicBezTo>
                  <a:cubicBezTo>
                    <a:pt x="150" y="124"/>
                    <a:pt x="150" y="124"/>
                    <a:pt x="146" y="124"/>
                  </a:cubicBezTo>
                  <a:cubicBezTo>
                    <a:pt x="143" y="124"/>
                    <a:pt x="140" y="124"/>
                    <a:pt x="140" y="127"/>
                  </a:cubicBezTo>
                  <a:cubicBezTo>
                    <a:pt x="141" y="127"/>
                    <a:pt x="146" y="129"/>
                    <a:pt x="147" y="127"/>
                  </a:cubicBezTo>
                  <a:close/>
                  <a:moveTo>
                    <a:pt x="161" y="125"/>
                  </a:moveTo>
                  <a:cubicBezTo>
                    <a:pt x="161" y="124"/>
                    <a:pt x="163" y="125"/>
                    <a:pt x="163" y="125"/>
                  </a:cubicBezTo>
                  <a:cubicBezTo>
                    <a:pt x="163" y="124"/>
                    <a:pt x="163" y="124"/>
                    <a:pt x="161" y="124"/>
                  </a:cubicBezTo>
                  <a:cubicBezTo>
                    <a:pt x="160" y="124"/>
                    <a:pt x="161" y="125"/>
                    <a:pt x="161" y="125"/>
                  </a:cubicBezTo>
                  <a:close/>
                  <a:moveTo>
                    <a:pt x="158" y="141"/>
                  </a:moveTo>
                  <a:cubicBezTo>
                    <a:pt x="161" y="143"/>
                    <a:pt x="158" y="143"/>
                    <a:pt x="160" y="144"/>
                  </a:cubicBezTo>
                  <a:cubicBezTo>
                    <a:pt x="161" y="144"/>
                    <a:pt x="161" y="141"/>
                    <a:pt x="163" y="140"/>
                  </a:cubicBezTo>
                  <a:cubicBezTo>
                    <a:pt x="166" y="140"/>
                    <a:pt x="163" y="138"/>
                    <a:pt x="161" y="136"/>
                  </a:cubicBezTo>
                  <a:cubicBezTo>
                    <a:pt x="160" y="135"/>
                    <a:pt x="160" y="138"/>
                    <a:pt x="157" y="136"/>
                  </a:cubicBezTo>
                  <a:cubicBezTo>
                    <a:pt x="153" y="135"/>
                    <a:pt x="153" y="136"/>
                    <a:pt x="155" y="138"/>
                  </a:cubicBezTo>
                  <a:cubicBezTo>
                    <a:pt x="155" y="140"/>
                    <a:pt x="157" y="140"/>
                    <a:pt x="158" y="141"/>
                  </a:cubicBezTo>
                  <a:close/>
                  <a:moveTo>
                    <a:pt x="166" y="143"/>
                  </a:moveTo>
                  <a:cubicBezTo>
                    <a:pt x="164" y="143"/>
                    <a:pt x="164" y="144"/>
                    <a:pt x="169" y="144"/>
                  </a:cubicBezTo>
                  <a:cubicBezTo>
                    <a:pt x="172" y="144"/>
                    <a:pt x="170" y="144"/>
                    <a:pt x="172" y="141"/>
                  </a:cubicBezTo>
                  <a:cubicBezTo>
                    <a:pt x="173" y="138"/>
                    <a:pt x="173" y="138"/>
                    <a:pt x="170" y="138"/>
                  </a:cubicBezTo>
                  <a:cubicBezTo>
                    <a:pt x="169" y="136"/>
                    <a:pt x="167" y="140"/>
                    <a:pt x="167" y="140"/>
                  </a:cubicBezTo>
                  <a:cubicBezTo>
                    <a:pt x="167" y="141"/>
                    <a:pt x="167" y="143"/>
                    <a:pt x="166" y="143"/>
                  </a:cubicBezTo>
                  <a:close/>
                  <a:moveTo>
                    <a:pt x="175" y="146"/>
                  </a:moveTo>
                  <a:cubicBezTo>
                    <a:pt x="176" y="146"/>
                    <a:pt x="181" y="144"/>
                    <a:pt x="182" y="144"/>
                  </a:cubicBezTo>
                  <a:cubicBezTo>
                    <a:pt x="184" y="144"/>
                    <a:pt x="185" y="143"/>
                    <a:pt x="185" y="143"/>
                  </a:cubicBezTo>
                  <a:cubicBezTo>
                    <a:pt x="185" y="144"/>
                    <a:pt x="187" y="143"/>
                    <a:pt x="189" y="144"/>
                  </a:cubicBezTo>
                  <a:cubicBezTo>
                    <a:pt x="189" y="144"/>
                    <a:pt x="192" y="144"/>
                    <a:pt x="190" y="143"/>
                  </a:cubicBezTo>
                  <a:cubicBezTo>
                    <a:pt x="189" y="143"/>
                    <a:pt x="187" y="141"/>
                    <a:pt x="189" y="143"/>
                  </a:cubicBezTo>
                  <a:cubicBezTo>
                    <a:pt x="192" y="143"/>
                    <a:pt x="192" y="143"/>
                    <a:pt x="192" y="143"/>
                  </a:cubicBezTo>
                  <a:cubicBezTo>
                    <a:pt x="192" y="141"/>
                    <a:pt x="190" y="136"/>
                    <a:pt x="189" y="138"/>
                  </a:cubicBezTo>
                  <a:cubicBezTo>
                    <a:pt x="187" y="140"/>
                    <a:pt x="187" y="136"/>
                    <a:pt x="185" y="138"/>
                  </a:cubicBezTo>
                  <a:cubicBezTo>
                    <a:pt x="184" y="140"/>
                    <a:pt x="184" y="136"/>
                    <a:pt x="181" y="136"/>
                  </a:cubicBezTo>
                  <a:cubicBezTo>
                    <a:pt x="178" y="136"/>
                    <a:pt x="181" y="140"/>
                    <a:pt x="182" y="140"/>
                  </a:cubicBezTo>
                  <a:cubicBezTo>
                    <a:pt x="182" y="140"/>
                    <a:pt x="185" y="141"/>
                    <a:pt x="184" y="141"/>
                  </a:cubicBezTo>
                  <a:cubicBezTo>
                    <a:pt x="181" y="141"/>
                    <a:pt x="182" y="143"/>
                    <a:pt x="181" y="141"/>
                  </a:cubicBezTo>
                  <a:cubicBezTo>
                    <a:pt x="179" y="141"/>
                    <a:pt x="179" y="140"/>
                    <a:pt x="178" y="140"/>
                  </a:cubicBezTo>
                  <a:cubicBezTo>
                    <a:pt x="176" y="140"/>
                    <a:pt x="175" y="138"/>
                    <a:pt x="175" y="140"/>
                  </a:cubicBezTo>
                  <a:cubicBezTo>
                    <a:pt x="173" y="141"/>
                    <a:pt x="172" y="140"/>
                    <a:pt x="173" y="143"/>
                  </a:cubicBezTo>
                  <a:cubicBezTo>
                    <a:pt x="173" y="144"/>
                    <a:pt x="172" y="146"/>
                    <a:pt x="175" y="146"/>
                  </a:cubicBezTo>
                  <a:close/>
                  <a:moveTo>
                    <a:pt x="178" y="138"/>
                  </a:moveTo>
                  <a:cubicBezTo>
                    <a:pt x="178" y="136"/>
                    <a:pt x="179" y="136"/>
                    <a:pt x="179" y="138"/>
                  </a:cubicBezTo>
                  <a:cubicBezTo>
                    <a:pt x="179" y="138"/>
                    <a:pt x="178" y="140"/>
                    <a:pt x="178" y="138"/>
                  </a:cubicBezTo>
                  <a:close/>
                  <a:moveTo>
                    <a:pt x="195" y="141"/>
                  </a:moveTo>
                  <a:cubicBezTo>
                    <a:pt x="195" y="140"/>
                    <a:pt x="195" y="140"/>
                    <a:pt x="195" y="140"/>
                  </a:cubicBezTo>
                  <a:cubicBezTo>
                    <a:pt x="193" y="140"/>
                    <a:pt x="193" y="140"/>
                    <a:pt x="193" y="140"/>
                  </a:cubicBezTo>
                  <a:cubicBezTo>
                    <a:pt x="193" y="141"/>
                    <a:pt x="193" y="141"/>
                    <a:pt x="193" y="143"/>
                  </a:cubicBezTo>
                  <a:cubicBezTo>
                    <a:pt x="193" y="144"/>
                    <a:pt x="193" y="141"/>
                    <a:pt x="195" y="141"/>
                  </a:cubicBezTo>
                  <a:close/>
                  <a:moveTo>
                    <a:pt x="195" y="143"/>
                  </a:moveTo>
                  <a:cubicBezTo>
                    <a:pt x="195" y="144"/>
                    <a:pt x="195" y="141"/>
                    <a:pt x="196" y="141"/>
                  </a:cubicBezTo>
                  <a:cubicBezTo>
                    <a:pt x="196" y="141"/>
                    <a:pt x="196" y="143"/>
                    <a:pt x="195" y="143"/>
                  </a:cubicBezTo>
                  <a:close/>
                  <a:moveTo>
                    <a:pt x="199" y="143"/>
                  </a:moveTo>
                  <a:cubicBezTo>
                    <a:pt x="201" y="144"/>
                    <a:pt x="204" y="143"/>
                    <a:pt x="205" y="144"/>
                  </a:cubicBezTo>
                  <a:cubicBezTo>
                    <a:pt x="207" y="146"/>
                    <a:pt x="207" y="144"/>
                    <a:pt x="208" y="144"/>
                  </a:cubicBezTo>
                  <a:cubicBezTo>
                    <a:pt x="208" y="144"/>
                    <a:pt x="208" y="143"/>
                    <a:pt x="210" y="144"/>
                  </a:cubicBezTo>
                  <a:cubicBezTo>
                    <a:pt x="213" y="144"/>
                    <a:pt x="214" y="143"/>
                    <a:pt x="214" y="143"/>
                  </a:cubicBezTo>
                  <a:cubicBezTo>
                    <a:pt x="216" y="143"/>
                    <a:pt x="221" y="141"/>
                    <a:pt x="221" y="141"/>
                  </a:cubicBezTo>
                  <a:cubicBezTo>
                    <a:pt x="221" y="140"/>
                    <a:pt x="222" y="140"/>
                    <a:pt x="222" y="136"/>
                  </a:cubicBezTo>
                  <a:cubicBezTo>
                    <a:pt x="221" y="135"/>
                    <a:pt x="219" y="138"/>
                    <a:pt x="221" y="138"/>
                  </a:cubicBezTo>
                  <a:cubicBezTo>
                    <a:pt x="221" y="138"/>
                    <a:pt x="221" y="138"/>
                    <a:pt x="219" y="140"/>
                  </a:cubicBezTo>
                  <a:cubicBezTo>
                    <a:pt x="216" y="140"/>
                    <a:pt x="219" y="141"/>
                    <a:pt x="217" y="141"/>
                  </a:cubicBezTo>
                  <a:cubicBezTo>
                    <a:pt x="214" y="143"/>
                    <a:pt x="214" y="138"/>
                    <a:pt x="213" y="140"/>
                  </a:cubicBezTo>
                  <a:cubicBezTo>
                    <a:pt x="211" y="141"/>
                    <a:pt x="211" y="140"/>
                    <a:pt x="210" y="141"/>
                  </a:cubicBezTo>
                  <a:cubicBezTo>
                    <a:pt x="208" y="141"/>
                    <a:pt x="207" y="140"/>
                    <a:pt x="205" y="138"/>
                  </a:cubicBezTo>
                  <a:cubicBezTo>
                    <a:pt x="204" y="138"/>
                    <a:pt x="201" y="136"/>
                    <a:pt x="199" y="138"/>
                  </a:cubicBezTo>
                  <a:cubicBezTo>
                    <a:pt x="198" y="140"/>
                    <a:pt x="196" y="140"/>
                    <a:pt x="196" y="143"/>
                  </a:cubicBezTo>
                  <a:cubicBezTo>
                    <a:pt x="196" y="146"/>
                    <a:pt x="198" y="143"/>
                    <a:pt x="199" y="143"/>
                  </a:cubicBezTo>
                  <a:close/>
                  <a:moveTo>
                    <a:pt x="202" y="113"/>
                  </a:moveTo>
                  <a:cubicBezTo>
                    <a:pt x="202" y="115"/>
                    <a:pt x="202" y="122"/>
                    <a:pt x="202" y="119"/>
                  </a:cubicBezTo>
                  <a:cubicBezTo>
                    <a:pt x="201" y="118"/>
                    <a:pt x="202" y="113"/>
                    <a:pt x="202" y="113"/>
                  </a:cubicBezTo>
                  <a:close/>
                  <a:moveTo>
                    <a:pt x="222" y="140"/>
                  </a:moveTo>
                  <a:cubicBezTo>
                    <a:pt x="222" y="140"/>
                    <a:pt x="224" y="140"/>
                    <a:pt x="222" y="141"/>
                  </a:cubicBezTo>
                  <a:cubicBezTo>
                    <a:pt x="221" y="141"/>
                    <a:pt x="221" y="141"/>
                    <a:pt x="222" y="140"/>
                  </a:cubicBezTo>
                  <a:close/>
                  <a:moveTo>
                    <a:pt x="224" y="140"/>
                  </a:moveTo>
                  <a:cubicBezTo>
                    <a:pt x="224" y="140"/>
                    <a:pt x="224" y="140"/>
                    <a:pt x="225" y="138"/>
                  </a:cubicBezTo>
                  <a:cubicBezTo>
                    <a:pt x="225" y="138"/>
                    <a:pt x="224" y="138"/>
                    <a:pt x="222" y="138"/>
                  </a:cubicBezTo>
                  <a:cubicBezTo>
                    <a:pt x="222" y="140"/>
                    <a:pt x="222" y="140"/>
                    <a:pt x="224" y="140"/>
                  </a:cubicBezTo>
                  <a:close/>
                  <a:moveTo>
                    <a:pt x="225" y="141"/>
                  </a:moveTo>
                  <a:cubicBezTo>
                    <a:pt x="228" y="141"/>
                    <a:pt x="225" y="140"/>
                    <a:pt x="227" y="140"/>
                  </a:cubicBezTo>
                  <a:cubicBezTo>
                    <a:pt x="228" y="140"/>
                    <a:pt x="227" y="140"/>
                    <a:pt x="228" y="138"/>
                  </a:cubicBezTo>
                  <a:cubicBezTo>
                    <a:pt x="230" y="138"/>
                    <a:pt x="230" y="138"/>
                    <a:pt x="228" y="138"/>
                  </a:cubicBezTo>
                  <a:cubicBezTo>
                    <a:pt x="227" y="138"/>
                    <a:pt x="225" y="138"/>
                    <a:pt x="225" y="138"/>
                  </a:cubicBezTo>
                  <a:cubicBezTo>
                    <a:pt x="225" y="140"/>
                    <a:pt x="225" y="140"/>
                    <a:pt x="224" y="140"/>
                  </a:cubicBezTo>
                  <a:cubicBezTo>
                    <a:pt x="222" y="141"/>
                    <a:pt x="224" y="141"/>
                    <a:pt x="225" y="141"/>
                  </a:cubicBezTo>
                  <a:close/>
                  <a:moveTo>
                    <a:pt x="231" y="140"/>
                  </a:moveTo>
                  <a:cubicBezTo>
                    <a:pt x="233" y="138"/>
                    <a:pt x="233" y="136"/>
                    <a:pt x="231" y="138"/>
                  </a:cubicBezTo>
                  <a:cubicBezTo>
                    <a:pt x="230" y="140"/>
                    <a:pt x="230" y="136"/>
                    <a:pt x="230" y="140"/>
                  </a:cubicBezTo>
                  <a:cubicBezTo>
                    <a:pt x="230" y="140"/>
                    <a:pt x="230" y="141"/>
                    <a:pt x="231" y="140"/>
                  </a:cubicBezTo>
                  <a:close/>
                  <a:moveTo>
                    <a:pt x="237" y="140"/>
                  </a:moveTo>
                  <a:cubicBezTo>
                    <a:pt x="240" y="140"/>
                    <a:pt x="239" y="136"/>
                    <a:pt x="236" y="136"/>
                  </a:cubicBezTo>
                  <a:cubicBezTo>
                    <a:pt x="233" y="138"/>
                    <a:pt x="234" y="135"/>
                    <a:pt x="233" y="138"/>
                  </a:cubicBezTo>
                  <a:cubicBezTo>
                    <a:pt x="231" y="141"/>
                    <a:pt x="234" y="140"/>
                    <a:pt x="237" y="140"/>
                  </a:cubicBezTo>
                  <a:close/>
                  <a:moveTo>
                    <a:pt x="196" y="153"/>
                  </a:moveTo>
                  <a:cubicBezTo>
                    <a:pt x="199" y="155"/>
                    <a:pt x="199" y="158"/>
                    <a:pt x="199" y="157"/>
                  </a:cubicBezTo>
                  <a:cubicBezTo>
                    <a:pt x="201" y="157"/>
                    <a:pt x="201" y="158"/>
                    <a:pt x="202" y="158"/>
                  </a:cubicBezTo>
                  <a:cubicBezTo>
                    <a:pt x="202" y="157"/>
                    <a:pt x="204" y="157"/>
                    <a:pt x="204" y="157"/>
                  </a:cubicBezTo>
                  <a:cubicBezTo>
                    <a:pt x="205" y="155"/>
                    <a:pt x="202" y="152"/>
                    <a:pt x="201" y="152"/>
                  </a:cubicBezTo>
                  <a:cubicBezTo>
                    <a:pt x="199" y="150"/>
                    <a:pt x="201" y="150"/>
                    <a:pt x="199" y="149"/>
                  </a:cubicBezTo>
                  <a:cubicBezTo>
                    <a:pt x="198" y="147"/>
                    <a:pt x="196" y="149"/>
                    <a:pt x="195" y="149"/>
                  </a:cubicBezTo>
                  <a:cubicBezTo>
                    <a:pt x="195" y="149"/>
                    <a:pt x="190" y="147"/>
                    <a:pt x="190" y="150"/>
                  </a:cubicBezTo>
                  <a:cubicBezTo>
                    <a:pt x="190" y="153"/>
                    <a:pt x="193" y="152"/>
                    <a:pt x="196" y="153"/>
                  </a:cubicBezTo>
                  <a:close/>
                  <a:moveTo>
                    <a:pt x="225" y="161"/>
                  </a:moveTo>
                  <a:cubicBezTo>
                    <a:pt x="225" y="161"/>
                    <a:pt x="225" y="158"/>
                    <a:pt x="224" y="161"/>
                  </a:cubicBezTo>
                  <a:cubicBezTo>
                    <a:pt x="222" y="163"/>
                    <a:pt x="221" y="161"/>
                    <a:pt x="221" y="163"/>
                  </a:cubicBezTo>
                  <a:cubicBezTo>
                    <a:pt x="221" y="164"/>
                    <a:pt x="224" y="163"/>
                    <a:pt x="225" y="161"/>
                  </a:cubicBezTo>
                  <a:close/>
                  <a:moveTo>
                    <a:pt x="231" y="157"/>
                  </a:moveTo>
                  <a:cubicBezTo>
                    <a:pt x="233" y="157"/>
                    <a:pt x="233" y="157"/>
                    <a:pt x="236" y="153"/>
                  </a:cubicBezTo>
                  <a:cubicBezTo>
                    <a:pt x="237" y="150"/>
                    <a:pt x="237" y="150"/>
                    <a:pt x="240" y="149"/>
                  </a:cubicBezTo>
                  <a:cubicBezTo>
                    <a:pt x="243" y="146"/>
                    <a:pt x="245" y="147"/>
                    <a:pt x="246" y="146"/>
                  </a:cubicBezTo>
                  <a:cubicBezTo>
                    <a:pt x="246" y="144"/>
                    <a:pt x="248" y="146"/>
                    <a:pt x="249" y="144"/>
                  </a:cubicBezTo>
                  <a:cubicBezTo>
                    <a:pt x="251" y="141"/>
                    <a:pt x="253" y="143"/>
                    <a:pt x="254" y="141"/>
                  </a:cubicBezTo>
                  <a:cubicBezTo>
                    <a:pt x="256" y="140"/>
                    <a:pt x="257" y="140"/>
                    <a:pt x="256" y="138"/>
                  </a:cubicBezTo>
                  <a:cubicBezTo>
                    <a:pt x="253" y="138"/>
                    <a:pt x="251" y="140"/>
                    <a:pt x="249" y="140"/>
                  </a:cubicBezTo>
                  <a:cubicBezTo>
                    <a:pt x="248" y="140"/>
                    <a:pt x="246" y="141"/>
                    <a:pt x="245" y="140"/>
                  </a:cubicBezTo>
                  <a:cubicBezTo>
                    <a:pt x="245" y="140"/>
                    <a:pt x="243" y="140"/>
                    <a:pt x="240" y="141"/>
                  </a:cubicBezTo>
                  <a:cubicBezTo>
                    <a:pt x="237" y="143"/>
                    <a:pt x="239" y="143"/>
                    <a:pt x="236" y="146"/>
                  </a:cubicBezTo>
                  <a:cubicBezTo>
                    <a:pt x="233" y="147"/>
                    <a:pt x="233" y="146"/>
                    <a:pt x="230" y="149"/>
                  </a:cubicBezTo>
                  <a:cubicBezTo>
                    <a:pt x="227" y="150"/>
                    <a:pt x="227" y="152"/>
                    <a:pt x="227" y="153"/>
                  </a:cubicBezTo>
                  <a:cubicBezTo>
                    <a:pt x="225" y="155"/>
                    <a:pt x="228" y="155"/>
                    <a:pt x="227" y="157"/>
                  </a:cubicBezTo>
                  <a:cubicBezTo>
                    <a:pt x="225" y="157"/>
                    <a:pt x="224" y="158"/>
                    <a:pt x="227" y="158"/>
                  </a:cubicBezTo>
                  <a:cubicBezTo>
                    <a:pt x="230" y="160"/>
                    <a:pt x="230" y="157"/>
                    <a:pt x="231" y="157"/>
                  </a:cubicBezTo>
                  <a:close/>
                  <a:moveTo>
                    <a:pt x="201" y="112"/>
                  </a:moveTo>
                  <a:cubicBezTo>
                    <a:pt x="204" y="112"/>
                    <a:pt x="199" y="107"/>
                    <a:pt x="201" y="104"/>
                  </a:cubicBezTo>
                  <a:cubicBezTo>
                    <a:pt x="202" y="102"/>
                    <a:pt x="201" y="97"/>
                    <a:pt x="201" y="91"/>
                  </a:cubicBezTo>
                  <a:cubicBezTo>
                    <a:pt x="202" y="85"/>
                    <a:pt x="198" y="88"/>
                    <a:pt x="202" y="84"/>
                  </a:cubicBezTo>
                  <a:cubicBezTo>
                    <a:pt x="207" y="80"/>
                    <a:pt x="208" y="85"/>
                    <a:pt x="205" y="88"/>
                  </a:cubicBezTo>
                  <a:cubicBezTo>
                    <a:pt x="204" y="93"/>
                    <a:pt x="207" y="93"/>
                    <a:pt x="208" y="96"/>
                  </a:cubicBezTo>
                  <a:cubicBezTo>
                    <a:pt x="211" y="99"/>
                    <a:pt x="207" y="105"/>
                    <a:pt x="213" y="105"/>
                  </a:cubicBezTo>
                  <a:cubicBezTo>
                    <a:pt x="216" y="105"/>
                    <a:pt x="213" y="102"/>
                    <a:pt x="216" y="101"/>
                  </a:cubicBezTo>
                  <a:cubicBezTo>
                    <a:pt x="219" y="99"/>
                    <a:pt x="219" y="102"/>
                    <a:pt x="221" y="99"/>
                  </a:cubicBezTo>
                  <a:cubicBezTo>
                    <a:pt x="222" y="94"/>
                    <a:pt x="214" y="94"/>
                    <a:pt x="216" y="91"/>
                  </a:cubicBezTo>
                  <a:cubicBezTo>
                    <a:pt x="219" y="88"/>
                    <a:pt x="214" y="82"/>
                    <a:pt x="211" y="79"/>
                  </a:cubicBezTo>
                  <a:cubicBezTo>
                    <a:pt x="207" y="74"/>
                    <a:pt x="216" y="74"/>
                    <a:pt x="219" y="68"/>
                  </a:cubicBezTo>
                  <a:cubicBezTo>
                    <a:pt x="222" y="62"/>
                    <a:pt x="224" y="70"/>
                    <a:pt x="225" y="67"/>
                  </a:cubicBezTo>
                  <a:cubicBezTo>
                    <a:pt x="227" y="65"/>
                    <a:pt x="227" y="63"/>
                    <a:pt x="221" y="63"/>
                  </a:cubicBezTo>
                  <a:cubicBezTo>
                    <a:pt x="214" y="63"/>
                    <a:pt x="216" y="67"/>
                    <a:pt x="211" y="67"/>
                  </a:cubicBezTo>
                  <a:cubicBezTo>
                    <a:pt x="207" y="65"/>
                    <a:pt x="208" y="71"/>
                    <a:pt x="204" y="71"/>
                  </a:cubicBezTo>
                  <a:cubicBezTo>
                    <a:pt x="201" y="70"/>
                    <a:pt x="204" y="68"/>
                    <a:pt x="201" y="65"/>
                  </a:cubicBezTo>
                  <a:cubicBezTo>
                    <a:pt x="196" y="63"/>
                    <a:pt x="199" y="49"/>
                    <a:pt x="204" y="52"/>
                  </a:cubicBezTo>
                  <a:cubicBezTo>
                    <a:pt x="207" y="54"/>
                    <a:pt x="210" y="52"/>
                    <a:pt x="211" y="52"/>
                  </a:cubicBezTo>
                  <a:cubicBezTo>
                    <a:pt x="214" y="54"/>
                    <a:pt x="222" y="51"/>
                    <a:pt x="224" y="52"/>
                  </a:cubicBezTo>
                  <a:cubicBezTo>
                    <a:pt x="224" y="54"/>
                    <a:pt x="231" y="56"/>
                    <a:pt x="234" y="51"/>
                  </a:cubicBezTo>
                  <a:cubicBezTo>
                    <a:pt x="237" y="46"/>
                    <a:pt x="240" y="43"/>
                    <a:pt x="239" y="42"/>
                  </a:cubicBezTo>
                  <a:cubicBezTo>
                    <a:pt x="237" y="39"/>
                    <a:pt x="234" y="43"/>
                    <a:pt x="231" y="48"/>
                  </a:cubicBezTo>
                  <a:cubicBezTo>
                    <a:pt x="230" y="51"/>
                    <a:pt x="222" y="46"/>
                    <a:pt x="221" y="48"/>
                  </a:cubicBezTo>
                  <a:cubicBezTo>
                    <a:pt x="221" y="49"/>
                    <a:pt x="217" y="46"/>
                    <a:pt x="213" y="46"/>
                  </a:cubicBezTo>
                  <a:cubicBezTo>
                    <a:pt x="208" y="48"/>
                    <a:pt x="211" y="45"/>
                    <a:pt x="208" y="45"/>
                  </a:cubicBezTo>
                  <a:cubicBezTo>
                    <a:pt x="207" y="45"/>
                    <a:pt x="205" y="43"/>
                    <a:pt x="204" y="45"/>
                  </a:cubicBezTo>
                  <a:cubicBezTo>
                    <a:pt x="204" y="46"/>
                    <a:pt x="202" y="51"/>
                    <a:pt x="201" y="48"/>
                  </a:cubicBezTo>
                  <a:cubicBezTo>
                    <a:pt x="199" y="46"/>
                    <a:pt x="199" y="51"/>
                    <a:pt x="198" y="52"/>
                  </a:cubicBezTo>
                  <a:cubicBezTo>
                    <a:pt x="195" y="56"/>
                    <a:pt x="198" y="57"/>
                    <a:pt x="196" y="57"/>
                  </a:cubicBezTo>
                  <a:cubicBezTo>
                    <a:pt x="193" y="59"/>
                    <a:pt x="196" y="59"/>
                    <a:pt x="196" y="62"/>
                  </a:cubicBezTo>
                  <a:cubicBezTo>
                    <a:pt x="195" y="65"/>
                    <a:pt x="192" y="67"/>
                    <a:pt x="193" y="73"/>
                  </a:cubicBezTo>
                  <a:cubicBezTo>
                    <a:pt x="193" y="79"/>
                    <a:pt x="192" y="74"/>
                    <a:pt x="192" y="79"/>
                  </a:cubicBezTo>
                  <a:cubicBezTo>
                    <a:pt x="192" y="85"/>
                    <a:pt x="187" y="82"/>
                    <a:pt x="189" y="85"/>
                  </a:cubicBezTo>
                  <a:cubicBezTo>
                    <a:pt x="190" y="88"/>
                    <a:pt x="187" y="85"/>
                    <a:pt x="189" y="90"/>
                  </a:cubicBezTo>
                  <a:cubicBezTo>
                    <a:pt x="190" y="94"/>
                    <a:pt x="192" y="88"/>
                    <a:pt x="195" y="93"/>
                  </a:cubicBezTo>
                  <a:cubicBezTo>
                    <a:pt x="198" y="99"/>
                    <a:pt x="192" y="107"/>
                    <a:pt x="195" y="112"/>
                  </a:cubicBezTo>
                  <a:cubicBezTo>
                    <a:pt x="196" y="115"/>
                    <a:pt x="198" y="112"/>
                    <a:pt x="201" y="112"/>
                  </a:cubicBezTo>
                  <a:close/>
                  <a:moveTo>
                    <a:pt x="251" y="94"/>
                  </a:moveTo>
                  <a:cubicBezTo>
                    <a:pt x="253" y="96"/>
                    <a:pt x="257" y="91"/>
                    <a:pt x="254" y="88"/>
                  </a:cubicBezTo>
                  <a:cubicBezTo>
                    <a:pt x="253" y="85"/>
                    <a:pt x="246" y="85"/>
                    <a:pt x="246" y="88"/>
                  </a:cubicBezTo>
                  <a:cubicBezTo>
                    <a:pt x="245" y="90"/>
                    <a:pt x="248" y="93"/>
                    <a:pt x="251" y="94"/>
                  </a:cubicBezTo>
                  <a:close/>
                  <a:moveTo>
                    <a:pt x="263" y="88"/>
                  </a:moveTo>
                  <a:cubicBezTo>
                    <a:pt x="263" y="87"/>
                    <a:pt x="265" y="91"/>
                    <a:pt x="268" y="90"/>
                  </a:cubicBezTo>
                  <a:cubicBezTo>
                    <a:pt x="271" y="87"/>
                    <a:pt x="274" y="91"/>
                    <a:pt x="274" y="90"/>
                  </a:cubicBezTo>
                  <a:cubicBezTo>
                    <a:pt x="274" y="88"/>
                    <a:pt x="278" y="91"/>
                    <a:pt x="281" y="94"/>
                  </a:cubicBezTo>
                  <a:cubicBezTo>
                    <a:pt x="286" y="96"/>
                    <a:pt x="286" y="93"/>
                    <a:pt x="283" y="88"/>
                  </a:cubicBezTo>
                  <a:cubicBezTo>
                    <a:pt x="280" y="84"/>
                    <a:pt x="280" y="88"/>
                    <a:pt x="275" y="85"/>
                  </a:cubicBezTo>
                  <a:cubicBezTo>
                    <a:pt x="272" y="82"/>
                    <a:pt x="274" y="85"/>
                    <a:pt x="269" y="85"/>
                  </a:cubicBezTo>
                  <a:cubicBezTo>
                    <a:pt x="263" y="84"/>
                    <a:pt x="260" y="87"/>
                    <a:pt x="260" y="90"/>
                  </a:cubicBezTo>
                  <a:cubicBezTo>
                    <a:pt x="262" y="94"/>
                    <a:pt x="262" y="88"/>
                    <a:pt x="263" y="88"/>
                  </a:cubicBezTo>
                  <a:close/>
                  <a:moveTo>
                    <a:pt x="233" y="76"/>
                  </a:moveTo>
                  <a:cubicBezTo>
                    <a:pt x="233" y="71"/>
                    <a:pt x="240" y="74"/>
                    <a:pt x="240" y="74"/>
                  </a:cubicBezTo>
                  <a:cubicBezTo>
                    <a:pt x="240" y="76"/>
                    <a:pt x="233" y="77"/>
                    <a:pt x="233" y="76"/>
                  </a:cubicBezTo>
                  <a:close/>
                  <a:moveTo>
                    <a:pt x="240" y="76"/>
                  </a:moveTo>
                  <a:cubicBezTo>
                    <a:pt x="242" y="73"/>
                    <a:pt x="251" y="74"/>
                    <a:pt x="248" y="74"/>
                  </a:cubicBezTo>
                  <a:cubicBezTo>
                    <a:pt x="246" y="76"/>
                    <a:pt x="240" y="77"/>
                    <a:pt x="240" y="76"/>
                  </a:cubicBezTo>
                  <a:close/>
                  <a:moveTo>
                    <a:pt x="259" y="74"/>
                  </a:moveTo>
                  <a:cubicBezTo>
                    <a:pt x="262" y="73"/>
                    <a:pt x="265" y="74"/>
                    <a:pt x="262" y="71"/>
                  </a:cubicBezTo>
                  <a:cubicBezTo>
                    <a:pt x="259" y="70"/>
                    <a:pt x="257" y="70"/>
                    <a:pt x="257" y="73"/>
                  </a:cubicBezTo>
                  <a:cubicBezTo>
                    <a:pt x="257" y="74"/>
                    <a:pt x="257" y="74"/>
                    <a:pt x="259" y="74"/>
                  </a:cubicBezTo>
                  <a:close/>
                  <a:moveTo>
                    <a:pt x="275" y="76"/>
                  </a:moveTo>
                  <a:cubicBezTo>
                    <a:pt x="277" y="77"/>
                    <a:pt x="280" y="79"/>
                    <a:pt x="280" y="76"/>
                  </a:cubicBezTo>
                  <a:cubicBezTo>
                    <a:pt x="281" y="74"/>
                    <a:pt x="280" y="73"/>
                    <a:pt x="277" y="74"/>
                  </a:cubicBezTo>
                  <a:cubicBezTo>
                    <a:pt x="275" y="74"/>
                    <a:pt x="274" y="76"/>
                    <a:pt x="275" y="76"/>
                  </a:cubicBezTo>
                  <a:close/>
                  <a:moveTo>
                    <a:pt x="285" y="67"/>
                  </a:moveTo>
                  <a:cubicBezTo>
                    <a:pt x="285" y="65"/>
                    <a:pt x="281" y="67"/>
                    <a:pt x="281" y="67"/>
                  </a:cubicBezTo>
                  <a:cubicBezTo>
                    <a:pt x="283" y="68"/>
                    <a:pt x="283" y="68"/>
                    <a:pt x="285" y="70"/>
                  </a:cubicBezTo>
                  <a:cubicBezTo>
                    <a:pt x="285" y="71"/>
                    <a:pt x="286" y="67"/>
                    <a:pt x="285" y="67"/>
                  </a:cubicBezTo>
                  <a:close/>
                  <a:moveTo>
                    <a:pt x="285" y="59"/>
                  </a:moveTo>
                  <a:cubicBezTo>
                    <a:pt x="285" y="59"/>
                    <a:pt x="286" y="62"/>
                    <a:pt x="288" y="60"/>
                  </a:cubicBezTo>
                  <a:cubicBezTo>
                    <a:pt x="289" y="60"/>
                    <a:pt x="286" y="57"/>
                    <a:pt x="283" y="57"/>
                  </a:cubicBezTo>
                  <a:cubicBezTo>
                    <a:pt x="280" y="59"/>
                    <a:pt x="278" y="59"/>
                    <a:pt x="280" y="60"/>
                  </a:cubicBezTo>
                  <a:cubicBezTo>
                    <a:pt x="281" y="60"/>
                    <a:pt x="283" y="62"/>
                    <a:pt x="285" y="62"/>
                  </a:cubicBezTo>
                  <a:cubicBezTo>
                    <a:pt x="286" y="60"/>
                    <a:pt x="283" y="59"/>
                    <a:pt x="285" y="59"/>
                  </a:cubicBezTo>
                  <a:close/>
                  <a:moveTo>
                    <a:pt x="263" y="63"/>
                  </a:moveTo>
                  <a:cubicBezTo>
                    <a:pt x="262" y="60"/>
                    <a:pt x="260" y="57"/>
                    <a:pt x="260" y="54"/>
                  </a:cubicBezTo>
                  <a:cubicBezTo>
                    <a:pt x="262" y="52"/>
                    <a:pt x="263" y="52"/>
                    <a:pt x="266" y="54"/>
                  </a:cubicBezTo>
                  <a:cubicBezTo>
                    <a:pt x="269" y="56"/>
                    <a:pt x="268" y="52"/>
                    <a:pt x="265" y="51"/>
                  </a:cubicBezTo>
                  <a:cubicBezTo>
                    <a:pt x="262" y="49"/>
                    <a:pt x="265" y="48"/>
                    <a:pt x="266" y="48"/>
                  </a:cubicBezTo>
                  <a:cubicBezTo>
                    <a:pt x="268" y="46"/>
                    <a:pt x="268" y="42"/>
                    <a:pt x="265" y="42"/>
                  </a:cubicBezTo>
                  <a:cubicBezTo>
                    <a:pt x="262" y="43"/>
                    <a:pt x="260" y="51"/>
                    <a:pt x="260" y="49"/>
                  </a:cubicBezTo>
                  <a:cubicBezTo>
                    <a:pt x="259" y="46"/>
                    <a:pt x="260" y="48"/>
                    <a:pt x="262" y="43"/>
                  </a:cubicBezTo>
                  <a:cubicBezTo>
                    <a:pt x="263" y="40"/>
                    <a:pt x="260" y="40"/>
                    <a:pt x="260" y="39"/>
                  </a:cubicBezTo>
                  <a:cubicBezTo>
                    <a:pt x="262" y="37"/>
                    <a:pt x="263" y="34"/>
                    <a:pt x="260" y="35"/>
                  </a:cubicBezTo>
                  <a:cubicBezTo>
                    <a:pt x="257" y="39"/>
                    <a:pt x="257" y="45"/>
                    <a:pt x="257" y="48"/>
                  </a:cubicBezTo>
                  <a:cubicBezTo>
                    <a:pt x="259" y="49"/>
                    <a:pt x="257" y="51"/>
                    <a:pt x="259" y="52"/>
                  </a:cubicBezTo>
                  <a:cubicBezTo>
                    <a:pt x="260" y="56"/>
                    <a:pt x="257" y="57"/>
                    <a:pt x="260" y="60"/>
                  </a:cubicBezTo>
                  <a:cubicBezTo>
                    <a:pt x="262" y="63"/>
                    <a:pt x="263" y="67"/>
                    <a:pt x="265" y="67"/>
                  </a:cubicBezTo>
                  <a:cubicBezTo>
                    <a:pt x="265" y="65"/>
                    <a:pt x="265" y="65"/>
                    <a:pt x="263" y="63"/>
                  </a:cubicBezTo>
                  <a:close/>
                  <a:moveTo>
                    <a:pt x="263" y="37"/>
                  </a:moveTo>
                  <a:cubicBezTo>
                    <a:pt x="263" y="34"/>
                    <a:pt x="265" y="29"/>
                    <a:pt x="266" y="32"/>
                  </a:cubicBezTo>
                  <a:cubicBezTo>
                    <a:pt x="268" y="34"/>
                    <a:pt x="263" y="40"/>
                    <a:pt x="263" y="37"/>
                  </a:cubicBezTo>
                  <a:close/>
                  <a:moveTo>
                    <a:pt x="213" y="110"/>
                  </a:moveTo>
                  <a:cubicBezTo>
                    <a:pt x="213" y="108"/>
                    <a:pt x="213" y="105"/>
                    <a:pt x="213" y="107"/>
                  </a:cubicBezTo>
                  <a:cubicBezTo>
                    <a:pt x="214" y="110"/>
                    <a:pt x="214" y="112"/>
                    <a:pt x="213" y="110"/>
                  </a:cubicBezTo>
                  <a:close/>
                  <a:moveTo>
                    <a:pt x="219" y="108"/>
                  </a:moveTo>
                  <a:cubicBezTo>
                    <a:pt x="219" y="107"/>
                    <a:pt x="219" y="105"/>
                    <a:pt x="219" y="104"/>
                  </a:cubicBezTo>
                  <a:cubicBezTo>
                    <a:pt x="221" y="101"/>
                    <a:pt x="216" y="102"/>
                    <a:pt x="216" y="105"/>
                  </a:cubicBezTo>
                  <a:cubicBezTo>
                    <a:pt x="217" y="107"/>
                    <a:pt x="214" y="112"/>
                    <a:pt x="217" y="110"/>
                  </a:cubicBezTo>
                  <a:cubicBezTo>
                    <a:pt x="219" y="108"/>
                    <a:pt x="219" y="108"/>
                    <a:pt x="219" y="108"/>
                  </a:cubicBezTo>
                  <a:close/>
                  <a:moveTo>
                    <a:pt x="221" y="112"/>
                  </a:moveTo>
                  <a:cubicBezTo>
                    <a:pt x="222" y="108"/>
                    <a:pt x="225" y="112"/>
                    <a:pt x="222" y="108"/>
                  </a:cubicBezTo>
                  <a:cubicBezTo>
                    <a:pt x="219" y="104"/>
                    <a:pt x="225" y="105"/>
                    <a:pt x="224" y="101"/>
                  </a:cubicBezTo>
                  <a:cubicBezTo>
                    <a:pt x="222" y="97"/>
                    <a:pt x="221" y="102"/>
                    <a:pt x="221" y="107"/>
                  </a:cubicBezTo>
                  <a:cubicBezTo>
                    <a:pt x="221" y="112"/>
                    <a:pt x="216" y="112"/>
                    <a:pt x="219" y="113"/>
                  </a:cubicBezTo>
                  <a:cubicBezTo>
                    <a:pt x="221" y="113"/>
                    <a:pt x="221" y="113"/>
                    <a:pt x="221" y="112"/>
                  </a:cubicBezTo>
                  <a:close/>
                  <a:moveTo>
                    <a:pt x="221" y="73"/>
                  </a:moveTo>
                  <a:cubicBezTo>
                    <a:pt x="221" y="70"/>
                    <a:pt x="221" y="68"/>
                    <a:pt x="222" y="68"/>
                  </a:cubicBezTo>
                  <a:cubicBezTo>
                    <a:pt x="224" y="68"/>
                    <a:pt x="221" y="73"/>
                    <a:pt x="221" y="73"/>
                  </a:cubicBezTo>
                  <a:close/>
                  <a:moveTo>
                    <a:pt x="225" y="70"/>
                  </a:moveTo>
                  <a:cubicBezTo>
                    <a:pt x="227" y="68"/>
                    <a:pt x="227" y="71"/>
                    <a:pt x="225" y="71"/>
                  </a:cubicBezTo>
                  <a:cubicBezTo>
                    <a:pt x="225" y="73"/>
                    <a:pt x="224" y="70"/>
                    <a:pt x="225" y="70"/>
                  </a:cubicBezTo>
                  <a:close/>
                  <a:moveTo>
                    <a:pt x="257" y="63"/>
                  </a:moveTo>
                  <a:cubicBezTo>
                    <a:pt x="257" y="65"/>
                    <a:pt x="259" y="65"/>
                    <a:pt x="259" y="62"/>
                  </a:cubicBezTo>
                  <a:cubicBezTo>
                    <a:pt x="259" y="60"/>
                    <a:pt x="257" y="59"/>
                    <a:pt x="257" y="60"/>
                  </a:cubicBezTo>
                  <a:cubicBezTo>
                    <a:pt x="256" y="62"/>
                    <a:pt x="256" y="62"/>
                    <a:pt x="257" y="63"/>
                  </a:cubicBezTo>
                  <a:close/>
                  <a:moveTo>
                    <a:pt x="288" y="135"/>
                  </a:moveTo>
                  <a:cubicBezTo>
                    <a:pt x="285" y="136"/>
                    <a:pt x="289" y="125"/>
                    <a:pt x="291" y="129"/>
                  </a:cubicBezTo>
                  <a:cubicBezTo>
                    <a:pt x="291" y="130"/>
                    <a:pt x="291" y="133"/>
                    <a:pt x="288" y="135"/>
                  </a:cubicBezTo>
                  <a:close/>
                  <a:moveTo>
                    <a:pt x="310" y="124"/>
                  </a:moveTo>
                  <a:cubicBezTo>
                    <a:pt x="309" y="125"/>
                    <a:pt x="309" y="115"/>
                    <a:pt x="312" y="119"/>
                  </a:cubicBezTo>
                  <a:cubicBezTo>
                    <a:pt x="313" y="122"/>
                    <a:pt x="313" y="124"/>
                    <a:pt x="310" y="124"/>
                  </a:cubicBezTo>
                  <a:close/>
                  <a:moveTo>
                    <a:pt x="245" y="133"/>
                  </a:moveTo>
                  <a:cubicBezTo>
                    <a:pt x="246" y="132"/>
                    <a:pt x="253" y="130"/>
                    <a:pt x="253" y="132"/>
                  </a:cubicBezTo>
                  <a:cubicBezTo>
                    <a:pt x="253" y="133"/>
                    <a:pt x="242" y="135"/>
                    <a:pt x="245" y="133"/>
                  </a:cubicBezTo>
                  <a:close/>
                  <a:moveTo>
                    <a:pt x="169" y="94"/>
                  </a:moveTo>
                  <a:cubicBezTo>
                    <a:pt x="169" y="91"/>
                    <a:pt x="169" y="88"/>
                    <a:pt x="167" y="90"/>
                  </a:cubicBezTo>
                  <a:cubicBezTo>
                    <a:pt x="166" y="91"/>
                    <a:pt x="167" y="93"/>
                    <a:pt x="167" y="96"/>
                  </a:cubicBezTo>
                  <a:cubicBezTo>
                    <a:pt x="166" y="97"/>
                    <a:pt x="167" y="97"/>
                    <a:pt x="169" y="94"/>
                  </a:cubicBezTo>
                  <a:close/>
                  <a:moveTo>
                    <a:pt x="100" y="88"/>
                  </a:moveTo>
                  <a:cubicBezTo>
                    <a:pt x="102" y="87"/>
                    <a:pt x="103" y="90"/>
                    <a:pt x="105" y="87"/>
                  </a:cubicBezTo>
                  <a:cubicBezTo>
                    <a:pt x="106" y="85"/>
                    <a:pt x="105" y="84"/>
                    <a:pt x="102" y="82"/>
                  </a:cubicBezTo>
                  <a:cubicBezTo>
                    <a:pt x="99" y="80"/>
                    <a:pt x="99" y="85"/>
                    <a:pt x="99" y="88"/>
                  </a:cubicBezTo>
                  <a:cubicBezTo>
                    <a:pt x="100" y="88"/>
                    <a:pt x="100" y="90"/>
                    <a:pt x="100" y="88"/>
                  </a:cubicBezTo>
                  <a:close/>
                  <a:moveTo>
                    <a:pt x="83" y="77"/>
                  </a:moveTo>
                  <a:cubicBezTo>
                    <a:pt x="86" y="77"/>
                    <a:pt x="85" y="84"/>
                    <a:pt x="88" y="85"/>
                  </a:cubicBezTo>
                  <a:cubicBezTo>
                    <a:pt x="90" y="87"/>
                    <a:pt x="90" y="88"/>
                    <a:pt x="93" y="87"/>
                  </a:cubicBezTo>
                  <a:cubicBezTo>
                    <a:pt x="94" y="87"/>
                    <a:pt x="91" y="85"/>
                    <a:pt x="91" y="84"/>
                  </a:cubicBezTo>
                  <a:cubicBezTo>
                    <a:pt x="93" y="82"/>
                    <a:pt x="93" y="82"/>
                    <a:pt x="90" y="82"/>
                  </a:cubicBezTo>
                  <a:cubicBezTo>
                    <a:pt x="86" y="80"/>
                    <a:pt x="90" y="71"/>
                    <a:pt x="83" y="71"/>
                  </a:cubicBezTo>
                  <a:cubicBezTo>
                    <a:pt x="80" y="73"/>
                    <a:pt x="82" y="74"/>
                    <a:pt x="80" y="76"/>
                  </a:cubicBezTo>
                  <a:cubicBezTo>
                    <a:pt x="77" y="77"/>
                    <a:pt x="82" y="77"/>
                    <a:pt x="83" y="77"/>
                  </a:cubicBezTo>
                  <a:close/>
                  <a:moveTo>
                    <a:pt x="105" y="15"/>
                  </a:moveTo>
                  <a:cubicBezTo>
                    <a:pt x="105" y="15"/>
                    <a:pt x="102" y="18"/>
                    <a:pt x="103" y="20"/>
                  </a:cubicBezTo>
                  <a:cubicBezTo>
                    <a:pt x="105" y="20"/>
                    <a:pt x="102" y="21"/>
                    <a:pt x="103" y="21"/>
                  </a:cubicBezTo>
                  <a:cubicBezTo>
                    <a:pt x="106" y="23"/>
                    <a:pt x="105" y="17"/>
                    <a:pt x="105" y="15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2" y="34"/>
                  </a:cubicBezTo>
                  <a:cubicBezTo>
                    <a:pt x="10" y="32"/>
                    <a:pt x="7" y="28"/>
                    <a:pt x="6" y="29"/>
                  </a:cubicBezTo>
                  <a:cubicBezTo>
                    <a:pt x="6" y="31"/>
                    <a:pt x="6" y="32"/>
                    <a:pt x="9" y="32"/>
                  </a:cubicBezTo>
                  <a:close/>
                  <a:moveTo>
                    <a:pt x="21" y="51"/>
                  </a:moveTo>
                  <a:cubicBezTo>
                    <a:pt x="22" y="54"/>
                    <a:pt x="24" y="48"/>
                    <a:pt x="22" y="46"/>
                  </a:cubicBezTo>
                  <a:cubicBezTo>
                    <a:pt x="19" y="45"/>
                    <a:pt x="19" y="42"/>
                    <a:pt x="16" y="42"/>
                  </a:cubicBezTo>
                  <a:cubicBezTo>
                    <a:pt x="15" y="43"/>
                    <a:pt x="18" y="46"/>
                    <a:pt x="21" y="51"/>
                  </a:cubicBezTo>
                  <a:close/>
                  <a:moveTo>
                    <a:pt x="29" y="67"/>
                  </a:moveTo>
                  <a:cubicBezTo>
                    <a:pt x="30" y="65"/>
                    <a:pt x="35" y="73"/>
                    <a:pt x="33" y="74"/>
                  </a:cubicBezTo>
                  <a:cubicBezTo>
                    <a:pt x="32" y="74"/>
                    <a:pt x="26" y="68"/>
                    <a:pt x="29" y="67"/>
                  </a:cubicBezTo>
                  <a:close/>
                  <a:moveTo>
                    <a:pt x="36" y="77"/>
                  </a:moveTo>
                  <a:cubicBezTo>
                    <a:pt x="36" y="76"/>
                    <a:pt x="39" y="79"/>
                    <a:pt x="38" y="80"/>
                  </a:cubicBezTo>
                  <a:cubicBezTo>
                    <a:pt x="38" y="80"/>
                    <a:pt x="35" y="79"/>
                    <a:pt x="36" y="77"/>
                  </a:cubicBezTo>
                  <a:close/>
                  <a:moveTo>
                    <a:pt x="39" y="85"/>
                  </a:moveTo>
                  <a:cubicBezTo>
                    <a:pt x="41" y="85"/>
                    <a:pt x="42" y="90"/>
                    <a:pt x="42" y="88"/>
                  </a:cubicBezTo>
                  <a:cubicBezTo>
                    <a:pt x="44" y="87"/>
                    <a:pt x="41" y="80"/>
                    <a:pt x="39" y="82"/>
                  </a:cubicBezTo>
                  <a:cubicBezTo>
                    <a:pt x="38" y="84"/>
                    <a:pt x="39" y="85"/>
                    <a:pt x="39" y="85"/>
                  </a:cubicBezTo>
                  <a:close/>
                  <a:moveTo>
                    <a:pt x="74" y="63"/>
                  </a:moveTo>
                  <a:cubicBezTo>
                    <a:pt x="71" y="65"/>
                    <a:pt x="73" y="60"/>
                    <a:pt x="74" y="60"/>
                  </a:cubicBezTo>
                  <a:cubicBezTo>
                    <a:pt x="76" y="60"/>
                    <a:pt x="76" y="63"/>
                    <a:pt x="74" y="63"/>
                  </a:cubicBezTo>
                  <a:close/>
                  <a:moveTo>
                    <a:pt x="76" y="57"/>
                  </a:moveTo>
                  <a:cubicBezTo>
                    <a:pt x="74" y="56"/>
                    <a:pt x="74" y="57"/>
                    <a:pt x="74" y="59"/>
                  </a:cubicBezTo>
                  <a:cubicBezTo>
                    <a:pt x="74" y="60"/>
                    <a:pt x="79" y="60"/>
                    <a:pt x="79" y="60"/>
                  </a:cubicBezTo>
                  <a:cubicBezTo>
                    <a:pt x="79" y="60"/>
                    <a:pt x="77" y="59"/>
                    <a:pt x="76" y="57"/>
                  </a:cubicBezTo>
                  <a:close/>
                  <a:moveTo>
                    <a:pt x="53" y="35"/>
                  </a:moveTo>
                  <a:cubicBezTo>
                    <a:pt x="54" y="37"/>
                    <a:pt x="53" y="40"/>
                    <a:pt x="51" y="40"/>
                  </a:cubicBezTo>
                  <a:cubicBezTo>
                    <a:pt x="50" y="39"/>
                    <a:pt x="51" y="35"/>
                    <a:pt x="53" y="35"/>
                  </a:cubicBezTo>
                  <a:close/>
                  <a:moveTo>
                    <a:pt x="67" y="48"/>
                  </a:moveTo>
                  <a:cubicBezTo>
                    <a:pt x="67" y="48"/>
                    <a:pt x="68" y="51"/>
                    <a:pt x="67" y="51"/>
                  </a:cubicBezTo>
                  <a:cubicBezTo>
                    <a:pt x="65" y="51"/>
                    <a:pt x="65" y="48"/>
                    <a:pt x="67" y="48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5"/>
                    <a:pt x="59" y="43"/>
                  </a:cubicBezTo>
                  <a:cubicBezTo>
                    <a:pt x="59" y="42"/>
                    <a:pt x="56" y="40"/>
                    <a:pt x="54" y="42"/>
                  </a:cubicBezTo>
                  <a:cubicBezTo>
                    <a:pt x="54" y="42"/>
                    <a:pt x="56" y="42"/>
                    <a:pt x="58" y="43"/>
                  </a:cubicBezTo>
                  <a:close/>
                  <a:moveTo>
                    <a:pt x="58" y="43"/>
                  </a:moveTo>
                  <a:cubicBezTo>
                    <a:pt x="59" y="45"/>
                    <a:pt x="59" y="49"/>
                    <a:pt x="58" y="48"/>
                  </a:cubicBezTo>
                  <a:cubicBezTo>
                    <a:pt x="58" y="46"/>
                    <a:pt x="56" y="42"/>
                    <a:pt x="58" y="43"/>
                  </a:cubicBezTo>
                  <a:close/>
                  <a:moveTo>
                    <a:pt x="64" y="49"/>
                  </a:moveTo>
                  <a:cubicBezTo>
                    <a:pt x="64" y="48"/>
                    <a:pt x="61" y="48"/>
                    <a:pt x="61" y="46"/>
                  </a:cubicBezTo>
                  <a:cubicBezTo>
                    <a:pt x="59" y="45"/>
                    <a:pt x="59" y="46"/>
                    <a:pt x="59" y="48"/>
                  </a:cubicBezTo>
                  <a:cubicBezTo>
                    <a:pt x="59" y="49"/>
                    <a:pt x="59" y="49"/>
                    <a:pt x="61" y="49"/>
                  </a:cubicBezTo>
                  <a:cubicBezTo>
                    <a:pt x="62" y="49"/>
                    <a:pt x="64" y="51"/>
                    <a:pt x="64" y="49"/>
                  </a:cubicBezTo>
                  <a:close/>
                  <a:moveTo>
                    <a:pt x="62" y="48"/>
                  </a:moveTo>
                  <a:cubicBezTo>
                    <a:pt x="64" y="48"/>
                    <a:pt x="64" y="48"/>
                    <a:pt x="64" y="48"/>
                  </a:cubicBezTo>
                  <a:cubicBezTo>
                    <a:pt x="64" y="46"/>
                    <a:pt x="61" y="45"/>
                    <a:pt x="61" y="46"/>
                  </a:cubicBezTo>
                  <a:cubicBezTo>
                    <a:pt x="61" y="46"/>
                    <a:pt x="61" y="46"/>
                    <a:pt x="62" y="48"/>
                  </a:cubicBezTo>
                  <a:close/>
                  <a:moveTo>
                    <a:pt x="65" y="49"/>
                  </a:moveTo>
                  <a:cubicBezTo>
                    <a:pt x="65" y="52"/>
                    <a:pt x="65" y="52"/>
                    <a:pt x="65" y="52"/>
                  </a:cubicBezTo>
                  <a:cubicBezTo>
                    <a:pt x="64" y="52"/>
                    <a:pt x="64" y="49"/>
                    <a:pt x="65" y="49"/>
                  </a:cubicBezTo>
                  <a:close/>
                  <a:moveTo>
                    <a:pt x="26" y="62"/>
                  </a:moveTo>
                  <a:cubicBezTo>
                    <a:pt x="24" y="60"/>
                    <a:pt x="26" y="59"/>
                    <a:pt x="27" y="59"/>
                  </a:cubicBezTo>
                  <a:cubicBezTo>
                    <a:pt x="29" y="60"/>
                    <a:pt x="27" y="63"/>
                    <a:pt x="26" y="62"/>
                  </a:cubicBezTo>
                  <a:close/>
                  <a:moveTo>
                    <a:pt x="330" y="74"/>
                  </a:moveTo>
                  <a:cubicBezTo>
                    <a:pt x="335" y="74"/>
                    <a:pt x="332" y="73"/>
                    <a:pt x="326" y="73"/>
                  </a:cubicBezTo>
                  <a:cubicBezTo>
                    <a:pt x="320" y="73"/>
                    <a:pt x="323" y="73"/>
                    <a:pt x="326" y="74"/>
                  </a:cubicBezTo>
                  <a:cubicBezTo>
                    <a:pt x="326" y="76"/>
                    <a:pt x="326" y="76"/>
                    <a:pt x="330" y="74"/>
                  </a:cubicBezTo>
                  <a:close/>
                  <a:moveTo>
                    <a:pt x="327" y="67"/>
                  </a:moveTo>
                  <a:cubicBezTo>
                    <a:pt x="326" y="65"/>
                    <a:pt x="327" y="63"/>
                    <a:pt x="323" y="63"/>
                  </a:cubicBezTo>
                  <a:cubicBezTo>
                    <a:pt x="318" y="62"/>
                    <a:pt x="321" y="65"/>
                    <a:pt x="323" y="67"/>
                  </a:cubicBezTo>
                  <a:cubicBezTo>
                    <a:pt x="326" y="67"/>
                    <a:pt x="323" y="70"/>
                    <a:pt x="327" y="68"/>
                  </a:cubicBezTo>
                  <a:cubicBezTo>
                    <a:pt x="329" y="68"/>
                    <a:pt x="329" y="68"/>
                    <a:pt x="327" y="67"/>
                  </a:cubicBezTo>
                  <a:close/>
                  <a:moveTo>
                    <a:pt x="275" y="135"/>
                  </a:moveTo>
                  <a:cubicBezTo>
                    <a:pt x="272" y="132"/>
                    <a:pt x="275" y="133"/>
                    <a:pt x="275" y="135"/>
                  </a:cubicBezTo>
                  <a:cubicBezTo>
                    <a:pt x="277" y="135"/>
                    <a:pt x="275" y="136"/>
                    <a:pt x="275" y="135"/>
                  </a:cubicBezTo>
                  <a:close/>
                  <a:moveTo>
                    <a:pt x="298" y="115"/>
                  </a:moveTo>
                  <a:cubicBezTo>
                    <a:pt x="298" y="110"/>
                    <a:pt x="300" y="113"/>
                    <a:pt x="300" y="113"/>
                  </a:cubicBezTo>
                  <a:cubicBezTo>
                    <a:pt x="300" y="115"/>
                    <a:pt x="298" y="116"/>
                    <a:pt x="298" y="115"/>
                  </a:cubicBezTo>
                  <a:close/>
                  <a:moveTo>
                    <a:pt x="300" y="116"/>
                  </a:moveTo>
                  <a:cubicBezTo>
                    <a:pt x="300" y="112"/>
                    <a:pt x="303" y="107"/>
                    <a:pt x="303" y="108"/>
                  </a:cubicBezTo>
                  <a:cubicBezTo>
                    <a:pt x="303" y="110"/>
                    <a:pt x="300" y="116"/>
                    <a:pt x="300" y="116"/>
                  </a:cubicBezTo>
                  <a:close/>
                  <a:moveTo>
                    <a:pt x="260" y="138"/>
                  </a:moveTo>
                  <a:cubicBezTo>
                    <a:pt x="259" y="136"/>
                    <a:pt x="260" y="136"/>
                    <a:pt x="262" y="136"/>
                  </a:cubicBezTo>
                  <a:cubicBezTo>
                    <a:pt x="263" y="138"/>
                    <a:pt x="262" y="138"/>
                    <a:pt x="260" y="138"/>
                  </a:cubicBezTo>
                  <a:close/>
                  <a:moveTo>
                    <a:pt x="312" y="118"/>
                  </a:moveTo>
                  <a:cubicBezTo>
                    <a:pt x="310" y="118"/>
                    <a:pt x="310" y="116"/>
                    <a:pt x="310" y="116"/>
                  </a:cubicBezTo>
                  <a:cubicBezTo>
                    <a:pt x="310" y="118"/>
                    <a:pt x="310" y="118"/>
                    <a:pt x="310" y="118"/>
                  </a:cubicBezTo>
                  <a:cubicBezTo>
                    <a:pt x="312" y="119"/>
                    <a:pt x="312" y="119"/>
                    <a:pt x="313" y="121"/>
                  </a:cubicBezTo>
                  <a:cubicBezTo>
                    <a:pt x="313" y="121"/>
                    <a:pt x="313" y="119"/>
                    <a:pt x="312" y="118"/>
                  </a:cubicBezTo>
                  <a:close/>
                  <a:moveTo>
                    <a:pt x="315" y="115"/>
                  </a:moveTo>
                  <a:cubicBezTo>
                    <a:pt x="315" y="110"/>
                    <a:pt x="313" y="108"/>
                    <a:pt x="312" y="112"/>
                  </a:cubicBezTo>
                  <a:cubicBezTo>
                    <a:pt x="312" y="113"/>
                    <a:pt x="310" y="112"/>
                    <a:pt x="310" y="113"/>
                  </a:cubicBezTo>
                  <a:cubicBezTo>
                    <a:pt x="310" y="113"/>
                    <a:pt x="312" y="113"/>
                    <a:pt x="312" y="115"/>
                  </a:cubicBezTo>
                  <a:cubicBezTo>
                    <a:pt x="310" y="118"/>
                    <a:pt x="312" y="118"/>
                    <a:pt x="313" y="119"/>
                  </a:cubicBezTo>
                  <a:cubicBezTo>
                    <a:pt x="315" y="119"/>
                    <a:pt x="315" y="118"/>
                    <a:pt x="315" y="115"/>
                  </a:cubicBezTo>
                  <a:close/>
                  <a:moveTo>
                    <a:pt x="347" y="140"/>
                  </a:moveTo>
                  <a:cubicBezTo>
                    <a:pt x="349" y="140"/>
                    <a:pt x="347" y="138"/>
                    <a:pt x="347" y="138"/>
                  </a:cubicBezTo>
                  <a:cubicBezTo>
                    <a:pt x="347" y="136"/>
                    <a:pt x="347" y="136"/>
                    <a:pt x="345" y="138"/>
                  </a:cubicBezTo>
                  <a:cubicBezTo>
                    <a:pt x="345" y="140"/>
                    <a:pt x="345" y="140"/>
                    <a:pt x="347" y="140"/>
                  </a:cubicBezTo>
                  <a:close/>
                  <a:moveTo>
                    <a:pt x="245" y="80"/>
                  </a:moveTo>
                  <a:cubicBezTo>
                    <a:pt x="246" y="82"/>
                    <a:pt x="246" y="80"/>
                    <a:pt x="246" y="79"/>
                  </a:cubicBezTo>
                  <a:cubicBezTo>
                    <a:pt x="245" y="77"/>
                    <a:pt x="246" y="76"/>
                    <a:pt x="245" y="76"/>
                  </a:cubicBezTo>
                  <a:cubicBezTo>
                    <a:pt x="245" y="77"/>
                    <a:pt x="245" y="79"/>
                    <a:pt x="245" y="80"/>
                  </a:cubicBezTo>
                  <a:close/>
                  <a:moveTo>
                    <a:pt x="256" y="60"/>
                  </a:moveTo>
                  <a:cubicBezTo>
                    <a:pt x="256" y="59"/>
                    <a:pt x="256" y="62"/>
                    <a:pt x="256" y="62"/>
                  </a:cubicBezTo>
                  <a:cubicBezTo>
                    <a:pt x="254" y="62"/>
                    <a:pt x="254" y="60"/>
                    <a:pt x="256" y="60"/>
                  </a:cubicBezTo>
                  <a:close/>
                  <a:moveTo>
                    <a:pt x="259" y="65"/>
                  </a:moveTo>
                  <a:cubicBezTo>
                    <a:pt x="260" y="63"/>
                    <a:pt x="262" y="63"/>
                    <a:pt x="260" y="65"/>
                  </a:cubicBezTo>
                  <a:cubicBezTo>
                    <a:pt x="260" y="67"/>
                    <a:pt x="259" y="65"/>
                    <a:pt x="259" y="65"/>
                  </a:cubicBezTo>
                  <a:close/>
                  <a:moveTo>
                    <a:pt x="260" y="94"/>
                  </a:moveTo>
                  <a:cubicBezTo>
                    <a:pt x="260" y="93"/>
                    <a:pt x="265" y="90"/>
                    <a:pt x="265" y="91"/>
                  </a:cubicBezTo>
                  <a:cubicBezTo>
                    <a:pt x="263" y="93"/>
                    <a:pt x="262" y="94"/>
                    <a:pt x="260" y="94"/>
                  </a:cubicBezTo>
                  <a:close/>
                  <a:moveTo>
                    <a:pt x="256" y="65"/>
                  </a:moveTo>
                  <a:cubicBezTo>
                    <a:pt x="254" y="65"/>
                    <a:pt x="256" y="63"/>
                    <a:pt x="256" y="63"/>
                  </a:cubicBezTo>
                  <a:cubicBezTo>
                    <a:pt x="257" y="65"/>
                    <a:pt x="257" y="65"/>
                    <a:pt x="256" y="65"/>
                  </a:cubicBezTo>
                  <a:close/>
                  <a:moveTo>
                    <a:pt x="280" y="67"/>
                  </a:moveTo>
                  <a:cubicBezTo>
                    <a:pt x="280" y="65"/>
                    <a:pt x="281" y="65"/>
                    <a:pt x="283" y="65"/>
                  </a:cubicBezTo>
                  <a:cubicBezTo>
                    <a:pt x="285" y="65"/>
                    <a:pt x="280" y="67"/>
                    <a:pt x="280" y="67"/>
                  </a:cubicBezTo>
                  <a:close/>
                  <a:moveTo>
                    <a:pt x="76" y="49"/>
                  </a:moveTo>
                  <a:cubicBezTo>
                    <a:pt x="74" y="48"/>
                    <a:pt x="71" y="46"/>
                    <a:pt x="74" y="45"/>
                  </a:cubicBezTo>
                  <a:cubicBezTo>
                    <a:pt x="77" y="43"/>
                    <a:pt x="76" y="49"/>
                    <a:pt x="76" y="49"/>
                  </a:cubicBezTo>
                  <a:close/>
                  <a:moveTo>
                    <a:pt x="71" y="46"/>
                  </a:moveTo>
                  <a:cubicBezTo>
                    <a:pt x="71" y="45"/>
                    <a:pt x="73" y="46"/>
                    <a:pt x="71" y="48"/>
                  </a:cubicBezTo>
                  <a:cubicBezTo>
                    <a:pt x="71" y="48"/>
                    <a:pt x="70" y="46"/>
                    <a:pt x="71" y="46"/>
                  </a:cubicBezTo>
                  <a:close/>
                  <a:moveTo>
                    <a:pt x="71" y="49"/>
                  </a:moveTo>
                  <a:cubicBezTo>
                    <a:pt x="71" y="48"/>
                    <a:pt x="73" y="48"/>
                    <a:pt x="73" y="49"/>
                  </a:cubicBezTo>
                  <a:cubicBezTo>
                    <a:pt x="73" y="49"/>
                    <a:pt x="73" y="51"/>
                    <a:pt x="71" y="49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5" name="Freeform 223"/>
            <p:cNvSpPr>
              <a:spLocks/>
            </p:cNvSpPr>
            <p:nvPr/>
          </p:nvSpPr>
          <p:spPr bwMode="auto">
            <a:xfrm>
              <a:off x="6564374" y="3861973"/>
              <a:ext cx="18428" cy="47780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3" y="17"/>
                </a:cxn>
                <a:cxn ang="0">
                  <a:pos x="1" y="16"/>
                </a:cxn>
                <a:cxn ang="0">
                  <a:pos x="1" y="5"/>
                </a:cxn>
                <a:cxn ang="0">
                  <a:pos x="4" y="2"/>
                </a:cxn>
                <a:cxn ang="0">
                  <a:pos x="6" y="6"/>
                </a:cxn>
                <a:cxn ang="0">
                  <a:pos x="7" y="11"/>
                </a:cxn>
                <a:cxn ang="0">
                  <a:pos x="4" y="17"/>
                </a:cxn>
                <a:cxn ang="0">
                  <a:pos x="4" y="17"/>
                </a:cxn>
              </a:cxnLst>
              <a:rect l="0" t="0" r="r" b="b"/>
              <a:pathLst>
                <a:path w="7" h="17">
                  <a:moveTo>
                    <a:pt x="4" y="17"/>
                  </a:moveTo>
                  <a:cubicBezTo>
                    <a:pt x="4" y="17"/>
                    <a:pt x="4" y="17"/>
                    <a:pt x="3" y="17"/>
                  </a:cubicBezTo>
                  <a:cubicBezTo>
                    <a:pt x="3" y="17"/>
                    <a:pt x="1" y="17"/>
                    <a:pt x="1" y="16"/>
                  </a:cubicBezTo>
                  <a:cubicBezTo>
                    <a:pt x="1" y="8"/>
                    <a:pt x="0" y="9"/>
                    <a:pt x="1" y="5"/>
                  </a:cubicBezTo>
                  <a:cubicBezTo>
                    <a:pt x="3" y="3"/>
                    <a:pt x="3" y="0"/>
                    <a:pt x="4" y="2"/>
                  </a:cubicBezTo>
                  <a:cubicBezTo>
                    <a:pt x="6" y="3"/>
                    <a:pt x="7" y="5"/>
                    <a:pt x="6" y="6"/>
                  </a:cubicBezTo>
                  <a:cubicBezTo>
                    <a:pt x="6" y="9"/>
                    <a:pt x="7" y="9"/>
                    <a:pt x="7" y="11"/>
                  </a:cubicBezTo>
                  <a:cubicBezTo>
                    <a:pt x="7" y="14"/>
                    <a:pt x="6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6" name="Freeform 224"/>
            <p:cNvSpPr>
              <a:spLocks/>
            </p:cNvSpPr>
            <p:nvPr/>
          </p:nvSpPr>
          <p:spPr bwMode="auto">
            <a:xfrm>
              <a:off x="6674941" y="3859076"/>
              <a:ext cx="9214" cy="20270"/>
            </a:xfrm>
            <a:custGeom>
              <a:avLst/>
              <a:gdLst/>
              <a:ahLst/>
              <a:cxnLst>
                <a:cxn ang="0">
                  <a:pos x="1" y="7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3" y="0"/>
                </a:cxn>
                <a:cxn ang="0">
                  <a:pos x="3" y="4"/>
                </a:cxn>
                <a:cxn ang="0">
                  <a:pos x="1" y="7"/>
                </a:cxn>
              </a:cxnLst>
              <a:rect l="0" t="0" r="r" b="b"/>
              <a:pathLst>
                <a:path w="4" h="7">
                  <a:moveTo>
                    <a:pt x="1" y="7"/>
                  </a:moveTo>
                  <a:cubicBezTo>
                    <a:pt x="0" y="7"/>
                    <a:pt x="1" y="3"/>
                    <a:pt x="0" y="3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3" y="3"/>
                    <a:pt x="1" y="0"/>
                    <a:pt x="3" y="0"/>
                  </a:cubicBezTo>
                  <a:cubicBezTo>
                    <a:pt x="4" y="0"/>
                    <a:pt x="3" y="3"/>
                    <a:pt x="3" y="4"/>
                  </a:cubicBezTo>
                  <a:cubicBezTo>
                    <a:pt x="3" y="4"/>
                    <a:pt x="1" y="6"/>
                    <a:pt x="1" y="7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7" name="Freeform 225"/>
            <p:cNvSpPr>
              <a:spLocks/>
            </p:cNvSpPr>
            <p:nvPr/>
          </p:nvSpPr>
          <p:spPr bwMode="auto">
            <a:xfrm>
              <a:off x="6572272" y="3867763"/>
              <a:ext cx="109251" cy="107143"/>
            </a:xfrm>
            <a:custGeom>
              <a:avLst/>
              <a:gdLst/>
              <a:ahLst/>
              <a:cxnLst>
                <a:cxn ang="0">
                  <a:pos x="41" y="4"/>
                </a:cxn>
                <a:cxn ang="0">
                  <a:pos x="40" y="0"/>
                </a:cxn>
                <a:cxn ang="0">
                  <a:pos x="38" y="4"/>
                </a:cxn>
                <a:cxn ang="0">
                  <a:pos x="34" y="9"/>
                </a:cxn>
                <a:cxn ang="0">
                  <a:pos x="26" y="15"/>
                </a:cxn>
                <a:cxn ang="0">
                  <a:pos x="26" y="18"/>
                </a:cxn>
                <a:cxn ang="0">
                  <a:pos x="11" y="20"/>
                </a:cxn>
                <a:cxn ang="0">
                  <a:pos x="6" y="20"/>
                </a:cxn>
                <a:cxn ang="0">
                  <a:pos x="3" y="18"/>
                </a:cxn>
                <a:cxn ang="0">
                  <a:pos x="3" y="15"/>
                </a:cxn>
                <a:cxn ang="0">
                  <a:pos x="1" y="15"/>
                </a:cxn>
                <a:cxn ang="0">
                  <a:pos x="0" y="15"/>
                </a:cxn>
                <a:cxn ang="0">
                  <a:pos x="3" y="20"/>
                </a:cxn>
                <a:cxn ang="0">
                  <a:pos x="6" y="27"/>
                </a:cxn>
                <a:cxn ang="0">
                  <a:pos x="15" y="32"/>
                </a:cxn>
                <a:cxn ang="0">
                  <a:pos x="34" y="33"/>
                </a:cxn>
                <a:cxn ang="0">
                  <a:pos x="35" y="26"/>
                </a:cxn>
                <a:cxn ang="0">
                  <a:pos x="35" y="21"/>
                </a:cxn>
                <a:cxn ang="0">
                  <a:pos x="38" y="20"/>
                </a:cxn>
                <a:cxn ang="0">
                  <a:pos x="38" y="18"/>
                </a:cxn>
                <a:cxn ang="0">
                  <a:pos x="38" y="15"/>
                </a:cxn>
                <a:cxn ang="0">
                  <a:pos x="40" y="12"/>
                </a:cxn>
                <a:cxn ang="0">
                  <a:pos x="43" y="10"/>
                </a:cxn>
                <a:cxn ang="0">
                  <a:pos x="41" y="4"/>
                </a:cxn>
              </a:cxnLst>
              <a:rect l="0" t="0" r="r" b="b"/>
              <a:pathLst>
                <a:path w="43" h="38">
                  <a:moveTo>
                    <a:pt x="41" y="4"/>
                  </a:moveTo>
                  <a:cubicBezTo>
                    <a:pt x="40" y="4"/>
                    <a:pt x="41" y="0"/>
                    <a:pt x="40" y="0"/>
                  </a:cubicBezTo>
                  <a:cubicBezTo>
                    <a:pt x="38" y="6"/>
                    <a:pt x="40" y="0"/>
                    <a:pt x="38" y="4"/>
                  </a:cubicBezTo>
                  <a:cubicBezTo>
                    <a:pt x="37" y="6"/>
                    <a:pt x="35" y="6"/>
                    <a:pt x="34" y="9"/>
                  </a:cubicBezTo>
                  <a:cubicBezTo>
                    <a:pt x="31" y="12"/>
                    <a:pt x="28" y="15"/>
                    <a:pt x="26" y="15"/>
                  </a:cubicBezTo>
                  <a:cubicBezTo>
                    <a:pt x="26" y="16"/>
                    <a:pt x="29" y="15"/>
                    <a:pt x="26" y="18"/>
                  </a:cubicBezTo>
                  <a:cubicBezTo>
                    <a:pt x="23" y="23"/>
                    <a:pt x="17" y="18"/>
                    <a:pt x="11" y="20"/>
                  </a:cubicBezTo>
                  <a:cubicBezTo>
                    <a:pt x="6" y="21"/>
                    <a:pt x="6" y="21"/>
                    <a:pt x="6" y="20"/>
                  </a:cubicBezTo>
                  <a:cubicBezTo>
                    <a:pt x="6" y="16"/>
                    <a:pt x="5" y="18"/>
                    <a:pt x="3" y="18"/>
                  </a:cubicBezTo>
                  <a:cubicBezTo>
                    <a:pt x="0" y="18"/>
                    <a:pt x="3" y="15"/>
                    <a:pt x="3" y="15"/>
                  </a:cubicBezTo>
                  <a:cubicBezTo>
                    <a:pt x="3" y="13"/>
                    <a:pt x="1" y="15"/>
                    <a:pt x="1" y="15"/>
                  </a:cubicBezTo>
                  <a:cubicBezTo>
                    <a:pt x="1" y="15"/>
                    <a:pt x="1" y="15"/>
                    <a:pt x="0" y="15"/>
                  </a:cubicBezTo>
                  <a:cubicBezTo>
                    <a:pt x="0" y="18"/>
                    <a:pt x="0" y="18"/>
                    <a:pt x="3" y="20"/>
                  </a:cubicBezTo>
                  <a:cubicBezTo>
                    <a:pt x="6" y="23"/>
                    <a:pt x="6" y="23"/>
                    <a:pt x="6" y="27"/>
                  </a:cubicBezTo>
                  <a:cubicBezTo>
                    <a:pt x="8" y="30"/>
                    <a:pt x="6" y="30"/>
                    <a:pt x="15" y="32"/>
                  </a:cubicBezTo>
                  <a:cubicBezTo>
                    <a:pt x="24" y="33"/>
                    <a:pt x="32" y="38"/>
                    <a:pt x="34" y="33"/>
                  </a:cubicBezTo>
                  <a:cubicBezTo>
                    <a:pt x="34" y="32"/>
                    <a:pt x="32" y="30"/>
                    <a:pt x="35" y="26"/>
                  </a:cubicBezTo>
                  <a:cubicBezTo>
                    <a:pt x="37" y="21"/>
                    <a:pt x="37" y="23"/>
                    <a:pt x="35" y="21"/>
                  </a:cubicBezTo>
                  <a:cubicBezTo>
                    <a:pt x="35" y="21"/>
                    <a:pt x="37" y="21"/>
                    <a:pt x="38" y="20"/>
                  </a:cubicBezTo>
                  <a:cubicBezTo>
                    <a:pt x="41" y="20"/>
                    <a:pt x="40" y="18"/>
                    <a:pt x="38" y="18"/>
                  </a:cubicBezTo>
                  <a:cubicBezTo>
                    <a:pt x="37" y="18"/>
                    <a:pt x="38" y="18"/>
                    <a:pt x="38" y="15"/>
                  </a:cubicBezTo>
                  <a:cubicBezTo>
                    <a:pt x="38" y="12"/>
                    <a:pt x="38" y="9"/>
                    <a:pt x="40" y="12"/>
                  </a:cubicBezTo>
                  <a:cubicBezTo>
                    <a:pt x="41" y="15"/>
                    <a:pt x="40" y="12"/>
                    <a:pt x="43" y="10"/>
                  </a:cubicBezTo>
                  <a:cubicBezTo>
                    <a:pt x="43" y="7"/>
                    <a:pt x="43" y="6"/>
                    <a:pt x="41" y="4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8" name="Freeform 226"/>
            <p:cNvSpPr>
              <a:spLocks/>
            </p:cNvSpPr>
            <p:nvPr/>
          </p:nvSpPr>
          <p:spPr bwMode="auto">
            <a:xfrm>
              <a:off x="6656514" y="3837359"/>
              <a:ext cx="25009" cy="1592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5" y="3"/>
                </a:cxn>
                <a:cxn ang="0">
                  <a:pos x="8" y="1"/>
                </a:cxn>
                <a:cxn ang="0">
                  <a:pos x="2" y="6"/>
                </a:cxn>
              </a:cxnLst>
              <a:rect l="0" t="0" r="r" b="b"/>
              <a:pathLst>
                <a:path w="10" h="6">
                  <a:moveTo>
                    <a:pt x="2" y="6"/>
                  </a:moveTo>
                  <a:cubicBezTo>
                    <a:pt x="0" y="4"/>
                    <a:pt x="5" y="4"/>
                    <a:pt x="5" y="3"/>
                  </a:cubicBezTo>
                  <a:cubicBezTo>
                    <a:pt x="5" y="1"/>
                    <a:pt x="10" y="0"/>
                    <a:pt x="8" y="1"/>
                  </a:cubicBezTo>
                  <a:cubicBezTo>
                    <a:pt x="7" y="4"/>
                    <a:pt x="2" y="6"/>
                    <a:pt x="2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9" name="Freeform 227"/>
            <p:cNvSpPr>
              <a:spLocks/>
            </p:cNvSpPr>
            <p:nvPr/>
          </p:nvSpPr>
          <p:spPr bwMode="auto">
            <a:xfrm>
              <a:off x="6513040" y="3751934"/>
              <a:ext cx="5265" cy="14479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0" y="2"/>
                </a:cxn>
                <a:cxn ang="0">
                  <a:pos x="2" y="5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0" y="5"/>
                    <a:pt x="0" y="2"/>
                    <a:pt x="0" y="2"/>
                  </a:cubicBezTo>
                  <a:cubicBezTo>
                    <a:pt x="0" y="0"/>
                    <a:pt x="2" y="3"/>
                    <a:pt x="2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0" name="Freeform 228"/>
            <p:cNvSpPr>
              <a:spLocks/>
            </p:cNvSpPr>
            <p:nvPr/>
          </p:nvSpPr>
          <p:spPr bwMode="auto">
            <a:xfrm>
              <a:off x="6245838" y="3673749"/>
              <a:ext cx="14479" cy="41988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11"/>
                </a:cxn>
                <a:cxn ang="0">
                  <a:pos x="0" y="15"/>
                </a:cxn>
                <a:cxn ang="0">
                  <a:pos x="0" y="13"/>
                </a:cxn>
                <a:cxn ang="0">
                  <a:pos x="1" y="8"/>
                </a:cxn>
                <a:cxn ang="0">
                  <a:pos x="0" y="8"/>
                </a:cxn>
                <a:cxn ang="0">
                  <a:pos x="1" y="8"/>
                </a:cxn>
                <a:cxn ang="0">
                  <a:pos x="1" y="2"/>
                </a:cxn>
                <a:cxn ang="0">
                  <a:pos x="4" y="3"/>
                </a:cxn>
              </a:cxnLst>
              <a:rect l="0" t="0" r="r" b="b"/>
              <a:pathLst>
                <a:path w="6" h="15">
                  <a:moveTo>
                    <a:pt x="4" y="3"/>
                  </a:moveTo>
                  <a:cubicBezTo>
                    <a:pt x="4" y="5"/>
                    <a:pt x="6" y="10"/>
                    <a:pt x="4" y="11"/>
                  </a:cubicBezTo>
                  <a:cubicBezTo>
                    <a:pt x="3" y="13"/>
                    <a:pt x="3" y="15"/>
                    <a:pt x="0" y="15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1"/>
                    <a:pt x="3" y="10"/>
                    <a:pt x="1" y="8"/>
                  </a:cubicBezTo>
                  <a:cubicBezTo>
                    <a:pt x="1" y="8"/>
                    <a:pt x="0" y="10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6"/>
                    <a:pt x="0" y="3"/>
                    <a:pt x="1" y="2"/>
                  </a:cubicBezTo>
                  <a:cubicBezTo>
                    <a:pt x="3" y="0"/>
                    <a:pt x="4" y="3"/>
                    <a:pt x="4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1" name="Freeform 229"/>
            <p:cNvSpPr>
              <a:spLocks/>
            </p:cNvSpPr>
            <p:nvPr/>
          </p:nvSpPr>
          <p:spPr bwMode="auto">
            <a:xfrm>
              <a:off x="6235307" y="3652031"/>
              <a:ext cx="25009" cy="114381"/>
            </a:xfrm>
            <a:custGeom>
              <a:avLst/>
              <a:gdLst/>
              <a:ahLst/>
              <a:cxnLst>
                <a:cxn ang="0">
                  <a:pos x="9" y="11"/>
                </a:cxn>
                <a:cxn ang="0">
                  <a:pos x="9" y="10"/>
                </a:cxn>
                <a:cxn ang="0">
                  <a:pos x="10" y="7"/>
                </a:cxn>
                <a:cxn ang="0">
                  <a:pos x="10" y="5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6" y="4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0" y="24"/>
                </a:cxn>
                <a:cxn ang="0">
                  <a:pos x="4" y="41"/>
                </a:cxn>
                <a:cxn ang="0">
                  <a:pos x="4" y="41"/>
                </a:cxn>
                <a:cxn ang="0">
                  <a:pos x="6" y="34"/>
                </a:cxn>
                <a:cxn ang="0">
                  <a:pos x="9" y="24"/>
                </a:cxn>
                <a:cxn ang="0">
                  <a:pos x="9" y="19"/>
                </a:cxn>
                <a:cxn ang="0">
                  <a:pos x="4" y="22"/>
                </a:cxn>
                <a:cxn ang="0">
                  <a:pos x="4" y="21"/>
                </a:cxn>
                <a:cxn ang="0">
                  <a:pos x="6" y="16"/>
                </a:cxn>
                <a:cxn ang="0">
                  <a:pos x="4" y="16"/>
                </a:cxn>
                <a:cxn ang="0">
                  <a:pos x="6" y="16"/>
                </a:cxn>
                <a:cxn ang="0">
                  <a:pos x="6" y="10"/>
                </a:cxn>
                <a:cxn ang="0">
                  <a:pos x="9" y="11"/>
                </a:cxn>
              </a:cxnLst>
              <a:rect l="0" t="0" r="r" b="b"/>
              <a:pathLst>
                <a:path w="10" h="41">
                  <a:moveTo>
                    <a:pt x="9" y="11"/>
                  </a:moveTo>
                  <a:cubicBezTo>
                    <a:pt x="9" y="10"/>
                    <a:pt x="9" y="10"/>
                    <a:pt x="9" y="10"/>
                  </a:cubicBezTo>
                  <a:cubicBezTo>
                    <a:pt x="9" y="8"/>
                    <a:pt x="9" y="7"/>
                    <a:pt x="10" y="7"/>
                  </a:cubicBezTo>
                  <a:cubicBezTo>
                    <a:pt x="10" y="7"/>
                    <a:pt x="10" y="7"/>
                    <a:pt x="10" y="5"/>
                  </a:cubicBezTo>
                  <a:cubicBezTo>
                    <a:pt x="10" y="5"/>
                    <a:pt x="10" y="4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0"/>
                    <a:pt x="9" y="2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7" y="4"/>
                    <a:pt x="6" y="4"/>
                  </a:cubicBezTo>
                  <a:cubicBezTo>
                    <a:pt x="4" y="7"/>
                    <a:pt x="3" y="17"/>
                    <a:pt x="1" y="19"/>
                  </a:cubicBezTo>
                  <a:cubicBezTo>
                    <a:pt x="3" y="19"/>
                    <a:pt x="0" y="22"/>
                    <a:pt x="0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8"/>
                    <a:pt x="3" y="34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6" y="36"/>
                    <a:pt x="6" y="34"/>
                  </a:cubicBezTo>
                  <a:cubicBezTo>
                    <a:pt x="6" y="30"/>
                    <a:pt x="9" y="25"/>
                    <a:pt x="9" y="24"/>
                  </a:cubicBezTo>
                  <a:cubicBezTo>
                    <a:pt x="9" y="22"/>
                    <a:pt x="9" y="21"/>
                    <a:pt x="9" y="19"/>
                  </a:cubicBezTo>
                  <a:cubicBezTo>
                    <a:pt x="7" y="21"/>
                    <a:pt x="7" y="22"/>
                    <a:pt x="4" y="22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19"/>
                    <a:pt x="7" y="17"/>
                    <a:pt x="6" y="16"/>
                  </a:cubicBezTo>
                  <a:cubicBezTo>
                    <a:pt x="6" y="16"/>
                    <a:pt x="4" y="17"/>
                    <a:pt x="4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4"/>
                    <a:pt x="4" y="11"/>
                    <a:pt x="6" y="10"/>
                  </a:cubicBezTo>
                  <a:cubicBezTo>
                    <a:pt x="7" y="8"/>
                    <a:pt x="9" y="11"/>
                    <a:pt x="9" y="1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2" name="Freeform 230"/>
            <p:cNvSpPr>
              <a:spLocks/>
            </p:cNvSpPr>
            <p:nvPr/>
          </p:nvSpPr>
          <p:spPr bwMode="auto">
            <a:xfrm>
              <a:off x="6230042" y="3705602"/>
              <a:ext cx="10530" cy="1303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"/>
                </a:cxn>
                <a:cxn ang="0">
                  <a:pos x="1" y="5"/>
                </a:cxn>
                <a:cxn ang="0">
                  <a:pos x="1" y="3"/>
                </a:cxn>
                <a:cxn ang="0">
                  <a:pos x="3" y="0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cubicBezTo>
                    <a:pt x="1" y="1"/>
                    <a:pt x="1" y="1"/>
                    <a:pt x="0" y="3"/>
                  </a:cubicBezTo>
                  <a:cubicBezTo>
                    <a:pt x="0" y="3"/>
                    <a:pt x="0" y="5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4" y="0"/>
                    <a:pt x="3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3" name="Freeform 231"/>
            <p:cNvSpPr>
              <a:spLocks noEditPoints="1"/>
            </p:cNvSpPr>
            <p:nvPr/>
          </p:nvSpPr>
          <p:spPr bwMode="auto">
            <a:xfrm>
              <a:off x="5936514" y="3389967"/>
              <a:ext cx="173748" cy="220077"/>
            </a:xfrm>
            <a:custGeom>
              <a:avLst/>
              <a:gdLst/>
              <a:ahLst/>
              <a:cxnLst>
                <a:cxn ang="0">
                  <a:pos x="32" y="6"/>
                </a:cxn>
                <a:cxn ang="0">
                  <a:pos x="44" y="6"/>
                </a:cxn>
                <a:cxn ang="0">
                  <a:pos x="54" y="8"/>
                </a:cxn>
                <a:cxn ang="0">
                  <a:pos x="41" y="11"/>
                </a:cxn>
                <a:cxn ang="0">
                  <a:pos x="36" y="19"/>
                </a:cxn>
                <a:cxn ang="0">
                  <a:pos x="32" y="20"/>
                </a:cxn>
                <a:cxn ang="0">
                  <a:pos x="25" y="15"/>
                </a:cxn>
                <a:cxn ang="0">
                  <a:pos x="27" y="28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30" y="50"/>
                </a:cxn>
                <a:cxn ang="0">
                  <a:pos x="29" y="60"/>
                </a:cxn>
                <a:cxn ang="0">
                  <a:pos x="19" y="56"/>
                </a:cxn>
                <a:cxn ang="0">
                  <a:pos x="12" y="45"/>
                </a:cxn>
                <a:cxn ang="0">
                  <a:pos x="21" y="40"/>
                </a:cxn>
                <a:cxn ang="0">
                  <a:pos x="22" y="39"/>
                </a:cxn>
                <a:cxn ang="0">
                  <a:pos x="9" y="36"/>
                </a:cxn>
                <a:cxn ang="0">
                  <a:pos x="4" y="25"/>
                </a:cxn>
                <a:cxn ang="0">
                  <a:pos x="9" y="19"/>
                </a:cxn>
                <a:cxn ang="0">
                  <a:pos x="21" y="8"/>
                </a:cxn>
                <a:cxn ang="0">
                  <a:pos x="7" y="43"/>
                </a:cxn>
                <a:cxn ang="0">
                  <a:pos x="7" y="39"/>
                </a:cxn>
                <a:cxn ang="0">
                  <a:pos x="27" y="60"/>
                </a:cxn>
                <a:cxn ang="0">
                  <a:pos x="41" y="74"/>
                </a:cxn>
                <a:cxn ang="0">
                  <a:pos x="47" y="73"/>
                </a:cxn>
                <a:cxn ang="0">
                  <a:pos x="33" y="68"/>
                </a:cxn>
                <a:cxn ang="0">
                  <a:pos x="68" y="60"/>
                </a:cxn>
                <a:cxn ang="0">
                  <a:pos x="68" y="60"/>
                </a:cxn>
                <a:cxn ang="0">
                  <a:pos x="50" y="39"/>
                </a:cxn>
                <a:cxn ang="0">
                  <a:pos x="53" y="28"/>
                </a:cxn>
                <a:cxn ang="0">
                  <a:pos x="54" y="31"/>
                </a:cxn>
                <a:cxn ang="0">
                  <a:pos x="41" y="12"/>
                </a:cxn>
                <a:cxn ang="0">
                  <a:pos x="38" y="43"/>
                </a:cxn>
                <a:cxn ang="0">
                  <a:pos x="30" y="33"/>
                </a:cxn>
                <a:cxn ang="0">
                  <a:pos x="47" y="53"/>
                </a:cxn>
                <a:cxn ang="0">
                  <a:pos x="60" y="71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45" y="22"/>
                </a:cxn>
                <a:cxn ang="0">
                  <a:pos x="48" y="20"/>
                </a:cxn>
                <a:cxn ang="0">
                  <a:pos x="44" y="54"/>
                </a:cxn>
                <a:cxn ang="0">
                  <a:pos x="38" y="57"/>
                </a:cxn>
                <a:cxn ang="0">
                  <a:pos x="38" y="48"/>
                </a:cxn>
                <a:cxn ang="0">
                  <a:pos x="38" y="51"/>
                </a:cxn>
                <a:cxn ang="0">
                  <a:pos x="50" y="48"/>
                </a:cxn>
                <a:cxn ang="0">
                  <a:pos x="7" y="37"/>
                </a:cxn>
                <a:cxn ang="0">
                  <a:pos x="41" y="34"/>
                </a:cxn>
                <a:cxn ang="0">
                  <a:pos x="42" y="48"/>
                </a:cxn>
                <a:cxn ang="0">
                  <a:pos x="42" y="48"/>
                </a:cxn>
              </a:cxnLst>
              <a:rect l="0" t="0" r="r" b="b"/>
              <a:pathLst>
                <a:path w="68" h="78">
                  <a:moveTo>
                    <a:pt x="21" y="8"/>
                  </a:moveTo>
                  <a:cubicBezTo>
                    <a:pt x="25" y="11"/>
                    <a:pt x="24" y="6"/>
                    <a:pt x="27" y="6"/>
                  </a:cubicBezTo>
                  <a:cubicBezTo>
                    <a:pt x="29" y="8"/>
                    <a:pt x="27" y="5"/>
                    <a:pt x="32" y="6"/>
                  </a:cubicBezTo>
                  <a:cubicBezTo>
                    <a:pt x="35" y="6"/>
                    <a:pt x="36" y="3"/>
                    <a:pt x="38" y="5"/>
                  </a:cubicBezTo>
                  <a:cubicBezTo>
                    <a:pt x="39" y="5"/>
                    <a:pt x="38" y="2"/>
                    <a:pt x="41" y="5"/>
                  </a:cubicBezTo>
                  <a:cubicBezTo>
                    <a:pt x="42" y="8"/>
                    <a:pt x="42" y="3"/>
                    <a:pt x="44" y="6"/>
                  </a:cubicBezTo>
                  <a:cubicBezTo>
                    <a:pt x="45" y="9"/>
                    <a:pt x="47" y="6"/>
                    <a:pt x="50" y="6"/>
                  </a:cubicBezTo>
                  <a:cubicBezTo>
                    <a:pt x="54" y="6"/>
                    <a:pt x="48" y="0"/>
                    <a:pt x="53" y="2"/>
                  </a:cubicBezTo>
                  <a:cubicBezTo>
                    <a:pt x="56" y="5"/>
                    <a:pt x="56" y="6"/>
                    <a:pt x="54" y="8"/>
                  </a:cubicBezTo>
                  <a:cubicBezTo>
                    <a:pt x="53" y="8"/>
                    <a:pt x="54" y="11"/>
                    <a:pt x="51" y="12"/>
                  </a:cubicBezTo>
                  <a:cubicBezTo>
                    <a:pt x="51" y="11"/>
                    <a:pt x="48" y="12"/>
                    <a:pt x="45" y="11"/>
                  </a:cubicBezTo>
                  <a:cubicBezTo>
                    <a:pt x="42" y="9"/>
                    <a:pt x="44" y="12"/>
                    <a:pt x="41" y="11"/>
                  </a:cubicBezTo>
                  <a:cubicBezTo>
                    <a:pt x="38" y="9"/>
                    <a:pt x="38" y="12"/>
                    <a:pt x="35" y="14"/>
                  </a:cubicBezTo>
                  <a:cubicBezTo>
                    <a:pt x="32" y="14"/>
                    <a:pt x="35" y="14"/>
                    <a:pt x="33" y="15"/>
                  </a:cubicBezTo>
                  <a:cubicBezTo>
                    <a:pt x="33" y="17"/>
                    <a:pt x="35" y="15"/>
                    <a:pt x="36" y="19"/>
                  </a:cubicBezTo>
                  <a:cubicBezTo>
                    <a:pt x="39" y="20"/>
                    <a:pt x="38" y="20"/>
                    <a:pt x="36" y="19"/>
                  </a:cubicBezTo>
                  <a:cubicBezTo>
                    <a:pt x="33" y="17"/>
                    <a:pt x="32" y="17"/>
                    <a:pt x="35" y="19"/>
                  </a:cubicBezTo>
                  <a:cubicBezTo>
                    <a:pt x="36" y="22"/>
                    <a:pt x="35" y="22"/>
                    <a:pt x="32" y="20"/>
                  </a:cubicBezTo>
                  <a:cubicBezTo>
                    <a:pt x="30" y="17"/>
                    <a:pt x="30" y="19"/>
                    <a:pt x="32" y="20"/>
                  </a:cubicBezTo>
                  <a:cubicBezTo>
                    <a:pt x="33" y="23"/>
                    <a:pt x="30" y="23"/>
                    <a:pt x="29" y="20"/>
                  </a:cubicBezTo>
                  <a:cubicBezTo>
                    <a:pt x="29" y="15"/>
                    <a:pt x="25" y="19"/>
                    <a:pt x="25" y="15"/>
                  </a:cubicBezTo>
                  <a:cubicBezTo>
                    <a:pt x="27" y="12"/>
                    <a:pt x="24" y="15"/>
                    <a:pt x="24" y="17"/>
                  </a:cubicBezTo>
                  <a:cubicBezTo>
                    <a:pt x="21" y="22"/>
                    <a:pt x="32" y="28"/>
                    <a:pt x="29" y="31"/>
                  </a:cubicBezTo>
                  <a:cubicBezTo>
                    <a:pt x="27" y="33"/>
                    <a:pt x="29" y="28"/>
                    <a:pt x="27" y="28"/>
                  </a:cubicBezTo>
                  <a:cubicBezTo>
                    <a:pt x="24" y="28"/>
                    <a:pt x="30" y="33"/>
                    <a:pt x="24" y="33"/>
                  </a:cubicBezTo>
                  <a:cubicBezTo>
                    <a:pt x="21" y="34"/>
                    <a:pt x="29" y="34"/>
                    <a:pt x="29" y="36"/>
                  </a:cubicBezTo>
                  <a:cubicBezTo>
                    <a:pt x="30" y="39"/>
                    <a:pt x="30" y="37"/>
                    <a:pt x="32" y="39"/>
                  </a:cubicBezTo>
                  <a:cubicBezTo>
                    <a:pt x="32" y="40"/>
                    <a:pt x="36" y="40"/>
                    <a:pt x="35" y="42"/>
                  </a:cubicBezTo>
                  <a:cubicBezTo>
                    <a:pt x="35" y="43"/>
                    <a:pt x="36" y="46"/>
                    <a:pt x="35" y="46"/>
                  </a:cubicBezTo>
                  <a:cubicBezTo>
                    <a:pt x="35" y="46"/>
                    <a:pt x="33" y="45"/>
                    <a:pt x="32" y="43"/>
                  </a:cubicBezTo>
                  <a:cubicBezTo>
                    <a:pt x="30" y="42"/>
                    <a:pt x="27" y="43"/>
                    <a:pt x="27" y="45"/>
                  </a:cubicBezTo>
                  <a:cubicBezTo>
                    <a:pt x="29" y="46"/>
                    <a:pt x="27" y="46"/>
                    <a:pt x="29" y="46"/>
                  </a:cubicBezTo>
                  <a:cubicBezTo>
                    <a:pt x="30" y="48"/>
                    <a:pt x="32" y="50"/>
                    <a:pt x="30" y="50"/>
                  </a:cubicBezTo>
                  <a:cubicBezTo>
                    <a:pt x="29" y="50"/>
                    <a:pt x="29" y="51"/>
                    <a:pt x="27" y="50"/>
                  </a:cubicBezTo>
                  <a:cubicBezTo>
                    <a:pt x="27" y="48"/>
                    <a:pt x="27" y="48"/>
                    <a:pt x="25" y="48"/>
                  </a:cubicBezTo>
                  <a:cubicBezTo>
                    <a:pt x="22" y="48"/>
                    <a:pt x="30" y="59"/>
                    <a:pt x="29" y="60"/>
                  </a:cubicBezTo>
                  <a:cubicBezTo>
                    <a:pt x="25" y="60"/>
                    <a:pt x="24" y="53"/>
                    <a:pt x="24" y="57"/>
                  </a:cubicBezTo>
                  <a:cubicBezTo>
                    <a:pt x="22" y="60"/>
                    <a:pt x="21" y="62"/>
                    <a:pt x="21" y="59"/>
                  </a:cubicBezTo>
                  <a:cubicBezTo>
                    <a:pt x="21" y="56"/>
                    <a:pt x="19" y="51"/>
                    <a:pt x="19" y="56"/>
                  </a:cubicBezTo>
                  <a:cubicBezTo>
                    <a:pt x="18" y="59"/>
                    <a:pt x="15" y="53"/>
                    <a:pt x="15" y="51"/>
                  </a:cubicBezTo>
                  <a:cubicBezTo>
                    <a:pt x="16" y="50"/>
                    <a:pt x="16" y="48"/>
                    <a:pt x="15" y="48"/>
                  </a:cubicBezTo>
                  <a:cubicBezTo>
                    <a:pt x="12" y="48"/>
                    <a:pt x="13" y="46"/>
                    <a:pt x="12" y="45"/>
                  </a:cubicBezTo>
                  <a:cubicBezTo>
                    <a:pt x="10" y="43"/>
                    <a:pt x="13" y="45"/>
                    <a:pt x="13" y="42"/>
                  </a:cubicBezTo>
                  <a:cubicBezTo>
                    <a:pt x="13" y="40"/>
                    <a:pt x="15" y="42"/>
                    <a:pt x="16" y="40"/>
                  </a:cubicBezTo>
                  <a:cubicBezTo>
                    <a:pt x="18" y="39"/>
                    <a:pt x="18" y="39"/>
                    <a:pt x="21" y="40"/>
                  </a:cubicBezTo>
                  <a:cubicBezTo>
                    <a:pt x="24" y="42"/>
                    <a:pt x="24" y="43"/>
                    <a:pt x="27" y="42"/>
                  </a:cubicBezTo>
                  <a:cubicBezTo>
                    <a:pt x="30" y="42"/>
                    <a:pt x="29" y="40"/>
                    <a:pt x="27" y="40"/>
                  </a:cubicBezTo>
                  <a:cubicBezTo>
                    <a:pt x="25" y="40"/>
                    <a:pt x="24" y="39"/>
                    <a:pt x="22" y="39"/>
                  </a:cubicBezTo>
                  <a:cubicBezTo>
                    <a:pt x="19" y="40"/>
                    <a:pt x="21" y="39"/>
                    <a:pt x="18" y="39"/>
                  </a:cubicBezTo>
                  <a:cubicBezTo>
                    <a:pt x="13" y="40"/>
                    <a:pt x="15" y="37"/>
                    <a:pt x="13" y="39"/>
                  </a:cubicBezTo>
                  <a:cubicBezTo>
                    <a:pt x="12" y="42"/>
                    <a:pt x="12" y="37"/>
                    <a:pt x="9" y="36"/>
                  </a:cubicBezTo>
                  <a:cubicBezTo>
                    <a:pt x="7" y="33"/>
                    <a:pt x="13" y="34"/>
                    <a:pt x="12" y="33"/>
                  </a:cubicBezTo>
                  <a:cubicBezTo>
                    <a:pt x="9" y="29"/>
                    <a:pt x="10" y="34"/>
                    <a:pt x="9" y="31"/>
                  </a:cubicBezTo>
                  <a:cubicBezTo>
                    <a:pt x="7" y="29"/>
                    <a:pt x="6" y="31"/>
                    <a:pt x="4" y="25"/>
                  </a:cubicBezTo>
                  <a:cubicBezTo>
                    <a:pt x="4" y="25"/>
                    <a:pt x="6" y="25"/>
                    <a:pt x="6" y="23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0"/>
                    <a:pt x="9" y="22"/>
                    <a:pt x="9" y="19"/>
                  </a:cubicBezTo>
                  <a:cubicBezTo>
                    <a:pt x="9" y="14"/>
                    <a:pt x="10" y="17"/>
                    <a:pt x="12" y="15"/>
                  </a:cubicBezTo>
                  <a:cubicBezTo>
                    <a:pt x="12" y="12"/>
                    <a:pt x="10" y="12"/>
                    <a:pt x="10" y="12"/>
                  </a:cubicBezTo>
                  <a:cubicBezTo>
                    <a:pt x="22" y="11"/>
                    <a:pt x="16" y="6"/>
                    <a:pt x="21" y="8"/>
                  </a:cubicBezTo>
                  <a:close/>
                  <a:moveTo>
                    <a:pt x="7" y="43"/>
                  </a:moveTo>
                  <a:cubicBezTo>
                    <a:pt x="9" y="43"/>
                    <a:pt x="12" y="46"/>
                    <a:pt x="10" y="46"/>
                  </a:cubicBezTo>
                  <a:cubicBezTo>
                    <a:pt x="9" y="46"/>
                    <a:pt x="7" y="45"/>
                    <a:pt x="7" y="43"/>
                  </a:cubicBezTo>
                  <a:close/>
                  <a:moveTo>
                    <a:pt x="9" y="42"/>
                  </a:moveTo>
                  <a:cubicBezTo>
                    <a:pt x="10" y="43"/>
                    <a:pt x="10" y="42"/>
                    <a:pt x="9" y="40"/>
                  </a:cubicBezTo>
                  <a:cubicBezTo>
                    <a:pt x="7" y="40"/>
                    <a:pt x="7" y="37"/>
                    <a:pt x="7" y="39"/>
                  </a:cubicBezTo>
                  <a:cubicBezTo>
                    <a:pt x="7" y="40"/>
                    <a:pt x="6" y="39"/>
                    <a:pt x="6" y="40"/>
                  </a:cubicBezTo>
                  <a:cubicBezTo>
                    <a:pt x="6" y="42"/>
                    <a:pt x="7" y="42"/>
                    <a:pt x="9" y="42"/>
                  </a:cubicBezTo>
                  <a:close/>
                  <a:moveTo>
                    <a:pt x="27" y="60"/>
                  </a:moveTo>
                  <a:cubicBezTo>
                    <a:pt x="29" y="62"/>
                    <a:pt x="27" y="65"/>
                    <a:pt x="27" y="64"/>
                  </a:cubicBezTo>
                  <a:cubicBezTo>
                    <a:pt x="25" y="62"/>
                    <a:pt x="25" y="60"/>
                    <a:pt x="27" y="60"/>
                  </a:cubicBezTo>
                  <a:close/>
                  <a:moveTo>
                    <a:pt x="41" y="74"/>
                  </a:moveTo>
                  <a:cubicBezTo>
                    <a:pt x="42" y="78"/>
                    <a:pt x="45" y="76"/>
                    <a:pt x="50" y="76"/>
                  </a:cubicBezTo>
                  <a:cubicBezTo>
                    <a:pt x="54" y="76"/>
                    <a:pt x="54" y="71"/>
                    <a:pt x="50" y="73"/>
                  </a:cubicBezTo>
                  <a:cubicBezTo>
                    <a:pt x="47" y="76"/>
                    <a:pt x="50" y="71"/>
                    <a:pt x="47" y="73"/>
                  </a:cubicBezTo>
                  <a:cubicBezTo>
                    <a:pt x="44" y="73"/>
                    <a:pt x="44" y="70"/>
                    <a:pt x="39" y="71"/>
                  </a:cubicBezTo>
                  <a:cubicBezTo>
                    <a:pt x="36" y="73"/>
                    <a:pt x="36" y="68"/>
                    <a:pt x="35" y="70"/>
                  </a:cubicBezTo>
                  <a:cubicBezTo>
                    <a:pt x="33" y="70"/>
                    <a:pt x="33" y="68"/>
                    <a:pt x="33" y="68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4"/>
                    <a:pt x="36" y="71"/>
                    <a:pt x="41" y="74"/>
                  </a:cubicBezTo>
                  <a:close/>
                  <a:moveTo>
                    <a:pt x="68" y="60"/>
                  </a:moveTo>
                  <a:cubicBezTo>
                    <a:pt x="68" y="59"/>
                    <a:pt x="63" y="62"/>
                    <a:pt x="63" y="64"/>
                  </a:cubicBezTo>
                  <a:cubicBezTo>
                    <a:pt x="65" y="64"/>
                    <a:pt x="63" y="65"/>
                    <a:pt x="65" y="67"/>
                  </a:cubicBezTo>
                  <a:cubicBezTo>
                    <a:pt x="67" y="67"/>
                    <a:pt x="68" y="60"/>
                    <a:pt x="68" y="60"/>
                  </a:cubicBezTo>
                  <a:close/>
                  <a:moveTo>
                    <a:pt x="50" y="37"/>
                  </a:moveTo>
                  <a:cubicBezTo>
                    <a:pt x="51" y="36"/>
                    <a:pt x="53" y="40"/>
                    <a:pt x="50" y="42"/>
                  </a:cubicBezTo>
                  <a:cubicBezTo>
                    <a:pt x="48" y="42"/>
                    <a:pt x="51" y="39"/>
                    <a:pt x="50" y="39"/>
                  </a:cubicBezTo>
                  <a:cubicBezTo>
                    <a:pt x="50" y="37"/>
                    <a:pt x="48" y="37"/>
                    <a:pt x="50" y="37"/>
                  </a:cubicBezTo>
                  <a:close/>
                  <a:moveTo>
                    <a:pt x="54" y="31"/>
                  </a:moveTo>
                  <a:cubicBezTo>
                    <a:pt x="53" y="28"/>
                    <a:pt x="54" y="29"/>
                    <a:pt x="53" y="28"/>
                  </a:cubicBezTo>
                  <a:cubicBezTo>
                    <a:pt x="53" y="28"/>
                    <a:pt x="51" y="28"/>
                    <a:pt x="50" y="29"/>
                  </a:cubicBezTo>
                  <a:cubicBezTo>
                    <a:pt x="48" y="29"/>
                    <a:pt x="50" y="31"/>
                    <a:pt x="53" y="33"/>
                  </a:cubicBezTo>
                  <a:cubicBezTo>
                    <a:pt x="54" y="33"/>
                    <a:pt x="56" y="33"/>
                    <a:pt x="54" y="3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5"/>
                    <a:pt x="39" y="14"/>
                  </a:cubicBezTo>
                  <a:cubicBezTo>
                    <a:pt x="38" y="14"/>
                    <a:pt x="39" y="12"/>
                    <a:pt x="41" y="12"/>
                  </a:cubicBezTo>
                  <a:close/>
                  <a:moveTo>
                    <a:pt x="30" y="36"/>
                  </a:moveTo>
                  <a:cubicBezTo>
                    <a:pt x="33" y="37"/>
                    <a:pt x="32" y="39"/>
                    <a:pt x="33" y="39"/>
                  </a:cubicBezTo>
                  <a:cubicBezTo>
                    <a:pt x="36" y="39"/>
                    <a:pt x="36" y="43"/>
                    <a:pt x="38" y="43"/>
                  </a:cubicBezTo>
                  <a:cubicBezTo>
                    <a:pt x="39" y="45"/>
                    <a:pt x="39" y="42"/>
                    <a:pt x="38" y="42"/>
                  </a:cubicBezTo>
                  <a:cubicBezTo>
                    <a:pt x="36" y="40"/>
                    <a:pt x="36" y="39"/>
                    <a:pt x="36" y="37"/>
                  </a:cubicBezTo>
                  <a:cubicBezTo>
                    <a:pt x="36" y="34"/>
                    <a:pt x="35" y="37"/>
                    <a:pt x="30" y="33"/>
                  </a:cubicBezTo>
                  <a:cubicBezTo>
                    <a:pt x="29" y="31"/>
                    <a:pt x="25" y="33"/>
                    <a:pt x="25" y="34"/>
                  </a:cubicBezTo>
                  <a:cubicBezTo>
                    <a:pt x="27" y="34"/>
                    <a:pt x="29" y="34"/>
                    <a:pt x="30" y="36"/>
                  </a:cubicBezTo>
                  <a:close/>
                  <a:moveTo>
                    <a:pt x="47" y="53"/>
                  </a:moveTo>
                  <a:cubicBezTo>
                    <a:pt x="48" y="51"/>
                    <a:pt x="48" y="56"/>
                    <a:pt x="47" y="54"/>
                  </a:cubicBezTo>
                  <a:cubicBezTo>
                    <a:pt x="45" y="54"/>
                    <a:pt x="45" y="53"/>
                    <a:pt x="47" y="53"/>
                  </a:cubicBezTo>
                  <a:close/>
                  <a:moveTo>
                    <a:pt x="60" y="71"/>
                  </a:moveTo>
                  <a:cubicBezTo>
                    <a:pt x="59" y="71"/>
                    <a:pt x="59" y="67"/>
                    <a:pt x="60" y="68"/>
                  </a:cubicBezTo>
                  <a:cubicBezTo>
                    <a:pt x="60" y="70"/>
                    <a:pt x="60" y="71"/>
                    <a:pt x="60" y="71"/>
                  </a:cubicBezTo>
                  <a:close/>
                  <a:moveTo>
                    <a:pt x="4" y="28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3" y="23"/>
                    <a:pt x="1" y="23"/>
                    <a:pt x="0" y="23"/>
                  </a:cubicBezTo>
                  <a:cubicBezTo>
                    <a:pt x="0" y="25"/>
                    <a:pt x="1" y="28"/>
                    <a:pt x="4" y="28"/>
                  </a:cubicBezTo>
                  <a:close/>
                  <a:moveTo>
                    <a:pt x="44" y="23"/>
                  </a:moveTo>
                  <a:cubicBezTo>
                    <a:pt x="45" y="22"/>
                    <a:pt x="45" y="25"/>
                    <a:pt x="45" y="23"/>
                  </a:cubicBezTo>
                  <a:cubicBezTo>
                    <a:pt x="45" y="22"/>
                    <a:pt x="47" y="20"/>
                    <a:pt x="45" y="22"/>
                  </a:cubicBezTo>
                  <a:cubicBezTo>
                    <a:pt x="45" y="22"/>
                    <a:pt x="42" y="20"/>
                    <a:pt x="42" y="22"/>
                  </a:cubicBezTo>
                  <a:cubicBezTo>
                    <a:pt x="42" y="23"/>
                    <a:pt x="44" y="23"/>
                    <a:pt x="44" y="23"/>
                  </a:cubicBezTo>
                  <a:close/>
                  <a:moveTo>
                    <a:pt x="48" y="20"/>
                  </a:moveTo>
                  <a:cubicBezTo>
                    <a:pt x="48" y="17"/>
                    <a:pt x="51" y="19"/>
                    <a:pt x="50" y="20"/>
                  </a:cubicBezTo>
                  <a:cubicBezTo>
                    <a:pt x="48" y="20"/>
                    <a:pt x="48" y="20"/>
                    <a:pt x="48" y="20"/>
                  </a:cubicBezTo>
                  <a:close/>
                  <a:moveTo>
                    <a:pt x="44" y="54"/>
                  </a:moveTo>
                  <a:cubicBezTo>
                    <a:pt x="42" y="53"/>
                    <a:pt x="44" y="51"/>
                    <a:pt x="45" y="53"/>
                  </a:cubicBezTo>
                  <a:cubicBezTo>
                    <a:pt x="44" y="54"/>
                    <a:pt x="44" y="54"/>
                    <a:pt x="44" y="54"/>
                  </a:cubicBezTo>
                  <a:close/>
                  <a:moveTo>
                    <a:pt x="38" y="57"/>
                  </a:moveTo>
                  <a:cubicBezTo>
                    <a:pt x="36" y="57"/>
                    <a:pt x="38" y="59"/>
                    <a:pt x="39" y="57"/>
                  </a:cubicBezTo>
                  <a:cubicBezTo>
                    <a:pt x="39" y="56"/>
                    <a:pt x="39" y="56"/>
                    <a:pt x="38" y="57"/>
                  </a:cubicBezTo>
                  <a:close/>
                  <a:moveTo>
                    <a:pt x="38" y="48"/>
                  </a:moveTo>
                  <a:cubicBezTo>
                    <a:pt x="36" y="48"/>
                    <a:pt x="38" y="46"/>
                    <a:pt x="38" y="46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8" y="51"/>
                  </a:moveTo>
                  <a:cubicBezTo>
                    <a:pt x="36" y="51"/>
                    <a:pt x="38" y="48"/>
                    <a:pt x="38" y="50"/>
                  </a:cubicBezTo>
                  <a:cubicBezTo>
                    <a:pt x="39" y="50"/>
                    <a:pt x="39" y="51"/>
                    <a:pt x="38" y="51"/>
                  </a:cubicBezTo>
                  <a:close/>
                  <a:moveTo>
                    <a:pt x="50" y="48"/>
                  </a:moveTo>
                  <a:cubicBezTo>
                    <a:pt x="50" y="46"/>
                    <a:pt x="53" y="46"/>
                    <a:pt x="53" y="46"/>
                  </a:cubicBezTo>
                  <a:cubicBezTo>
                    <a:pt x="53" y="46"/>
                    <a:pt x="50" y="50"/>
                    <a:pt x="50" y="48"/>
                  </a:cubicBezTo>
                  <a:close/>
                  <a:moveTo>
                    <a:pt x="7" y="37"/>
                  </a:moveTo>
                  <a:cubicBezTo>
                    <a:pt x="6" y="37"/>
                    <a:pt x="7" y="34"/>
                    <a:pt x="9" y="34"/>
                  </a:cubicBezTo>
                  <a:cubicBezTo>
                    <a:pt x="9" y="36"/>
                    <a:pt x="9" y="37"/>
                    <a:pt x="7" y="37"/>
                  </a:cubicBezTo>
                  <a:close/>
                  <a:moveTo>
                    <a:pt x="41" y="34"/>
                  </a:moveTo>
                  <a:cubicBezTo>
                    <a:pt x="39" y="34"/>
                    <a:pt x="39" y="33"/>
                    <a:pt x="39" y="33"/>
                  </a:cubicBezTo>
                  <a:cubicBezTo>
                    <a:pt x="39" y="31"/>
                    <a:pt x="41" y="34"/>
                    <a:pt x="41" y="34"/>
                  </a:cubicBezTo>
                  <a:close/>
                  <a:moveTo>
                    <a:pt x="42" y="48"/>
                  </a:moveTo>
                  <a:cubicBezTo>
                    <a:pt x="44" y="50"/>
                    <a:pt x="45" y="48"/>
                    <a:pt x="44" y="46"/>
                  </a:cubicBezTo>
                  <a:cubicBezTo>
                    <a:pt x="42" y="46"/>
                    <a:pt x="41" y="42"/>
                    <a:pt x="41" y="43"/>
                  </a:cubicBezTo>
                  <a:cubicBezTo>
                    <a:pt x="39" y="45"/>
                    <a:pt x="42" y="45"/>
                    <a:pt x="42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4" name="Freeform 236"/>
            <p:cNvSpPr>
              <a:spLocks noEditPoints="1"/>
            </p:cNvSpPr>
            <p:nvPr/>
          </p:nvSpPr>
          <p:spPr bwMode="auto">
            <a:xfrm>
              <a:off x="8045178" y="3272688"/>
              <a:ext cx="447532" cy="648646"/>
            </a:xfrm>
            <a:custGeom>
              <a:avLst/>
              <a:gdLst/>
              <a:ahLst/>
              <a:cxnLst>
                <a:cxn ang="0">
                  <a:pos x="53" y="168"/>
                </a:cxn>
                <a:cxn ang="0">
                  <a:pos x="39" y="142"/>
                </a:cxn>
                <a:cxn ang="0">
                  <a:pos x="49" y="146"/>
                </a:cxn>
                <a:cxn ang="0">
                  <a:pos x="102" y="123"/>
                </a:cxn>
                <a:cxn ang="0">
                  <a:pos x="111" y="122"/>
                </a:cxn>
                <a:cxn ang="0">
                  <a:pos x="122" y="118"/>
                </a:cxn>
                <a:cxn ang="0">
                  <a:pos x="128" y="112"/>
                </a:cxn>
                <a:cxn ang="0">
                  <a:pos x="134" y="107"/>
                </a:cxn>
                <a:cxn ang="0">
                  <a:pos x="142" y="75"/>
                </a:cxn>
                <a:cxn ang="0">
                  <a:pos x="137" y="47"/>
                </a:cxn>
                <a:cxn ang="0">
                  <a:pos x="134" y="53"/>
                </a:cxn>
                <a:cxn ang="0">
                  <a:pos x="126" y="64"/>
                </a:cxn>
                <a:cxn ang="0">
                  <a:pos x="107" y="98"/>
                </a:cxn>
                <a:cxn ang="0">
                  <a:pos x="102" y="95"/>
                </a:cxn>
                <a:cxn ang="0">
                  <a:pos x="90" y="109"/>
                </a:cxn>
                <a:cxn ang="0">
                  <a:pos x="61" y="123"/>
                </a:cxn>
                <a:cxn ang="0">
                  <a:pos x="67" y="125"/>
                </a:cxn>
                <a:cxn ang="0">
                  <a:pos x="87" y="122"/>
                </a:cxn>
                <a:cxn ang="0">
                  <a:pos x="90" y="131"/>
                </a:cxn>
                <a:cxn ang="0">
                  <a:pos x="52" y="140"/>
                </a:cxn>
                <a:cxn ang="0">
                  <a:pos x="52" y="154"/>
                </a:cxn>
                <a:cxn ang="0">
                  <a:pos x="58" y="156"/>
                </a:cxn>
                <a:cxn ang="0">
                  <a:pos x="62" y="137"/>
                </a:cxn>
                <a:cxn ang="0">
                  <a:pos x="53" y="131"/>
                </a:cxn>
                <a:cxn ang="0">
                  <a:pos x="46" y="137"/>
                </a:cxn>
                <a:cxn ang="0">
                  <a:pos x="52" y="143"/>
                </a:cxn>
                <a:cxn ang="0">
                  <a:pos x="82" y="136"/>
                </a:cxn>
                <a:cxn ang="0">
                  <a:pos x="79" y="126"/>
                </a:cxn>
                <a:cxn ang="0">
                  <a:pos x="70" y="131"/>
                </a:cxn>
                <a:cxn ang="0">
                  <a:pos x="71" y="142"/>
                </a:cxn>
                <a:cxn ang="0">
                  <a:pos x="117" y="86"/>
                </a:cxn>
                <a:cxn ang="0">
                  <a:pos x="137" y="44"/>
                </a:cxn>
                <a:cxn ang="0">
                  <a:pos x="152" y="40"/>
                </a:cxn>
                <a:cxn ang="0">
                  <a:pos x="175" y="25"/>
                </a:cxn>
                <a:cxn ang="0">
                  <a:pos x="164" y="19"/>
                </a:cxn>
                <a:cxn ang="0">
                  <a:pos x="142" y="6"/>
                </a:cxn>
                <a:cxn ang="0">
                  <a:pos x="135" y="28"/>
                </a:cxn>
                <a:cxn ang="0">
                  <a:pos x="129" y="48"/>
                </a:cxn>
                <a:cxn ang="0">
                  <a:pos x="90" y="123"/>
                </a:cxn>
                <a:cxn ang="0">
                  <a:pos x="76" y="103"/>
                </a:cxn>
                <a:cxn ang="0">
                  <a:pos x="35" y="206"/>
                </a:cxn>
                <a:cxn ang="0">
                  <a:pos x="32" y="210"/>
                </a:cxn>
                <a:cxn ang="0">
                  <a:pos x="41" y="195"/>
                </a:cxn>
                <a:cxn ang="0">
                  <a:pos x="44" y="190"/>
                </a:cxn>
                <a:cxn ang="0">
                  <a:pos x="0" y="229"/>
                </a:cxn>
                <a:cxn ang="0">
                  <a:pos x="3" y="229"/>
                </a:cxn>
                <a:cxn ang="0">
                  <a:pos x="12" y="226"/>
                </a:cxn>
              </a:cxnLst>
              <a:rect l="0" t="0" r="r" b="b"/>
              <a:pathLst>
                <a:path w="175" h="231">
                  <a:moveTo>
                    <a:pt x="53" y="168"/>
                  </a:moveTo>
                  <a:cubicBezTo>
                    <a:pt x="52" y="168"/>
                    <a:pt x="53" y="165"/>
                    <a:pt x="53" y="167"/>
                  </a:cubicBezTo>
                  <a:cubicBezTo>
                    <a:pt x="55" y="167"/>
                    <a:pt x="55" y="168"/>
                    <a:pt x="53" y="168"/>
                  </a:cubicBezTo>
                  <a:close/>
                  <a:moveTo>
                    <a:pt x="39" y="142"/>
                  </a:moveTo>
                  <a:cubicBezTo>
                    <a:pt x="41" y="142"/>
                    <a:pt x="41" y="143"/>
                    <a:pt x="39" y="143"/>
                  </a:cubicBezTo>
                  <a:cubicBezTo>
                    <a:pt x="38" y="143"/>
                    <a:pt x="39" y="142"/>
                    <a:pt x="39" y="142"/>
                  </a:cubicBezTo>
                  <a:close/>
                  <a:moveTo>
                    <a:pt x="49" y="146"/>
                  </a:moveTo>
                  <a:cubicBezTo>
                    <a:pt x="49" y="145"/>
                    <a:pt x="52" y="143"/>
                    <a:pt x="52" y="145"/>
                  </a:cubicBezTo>
                  <a:cubicBezTo>
                    <a:pt x="52" y="146"/>
                    <a:pt x="50" y="148"/>
                    <a:pt x="49" y="146"/>
                  </a:cubicBezTo>
                  <a:close/>
                  <a:moveTo>
                    <a:pt x="93" y="134"/>
                  </a:moveTo>
                  <a:cubicBezTo>
                    <a:pt x="96" y="137"/>
                    <a:pt x="97" y="131"/>
                    <a:pt x="99" y="128"/>
                  </a:cubicBezTo>
                  <a:cubicBezTo>
                    <a:pt x="102" y="125"/>
                    <a:pt x="107" y="126"/>
                    <a:pt x="102" y="123"/>
                  </a:cubicBezTo>
                  <a:cubicBezTo>
                    <a:pt x="99" y="122"/>
                    <a:pt x="103" y="115"/>
                    <a:pt x="103" y="118"/>
                  </a:cubicBezTo>
                  <a:cubicBezTo>
                    <a:pt x="103" y="123"/>
                    <a:pt x="108" y="118"/>
                    <a:pt x="105" y="122"/>
                  </a:cubicBezTo>
                  <a:cubicBezTo>
                    <a:pt x="103" y="125"/>
                    <a:pt x="108" y="122"/>
                    <a:pt x="111" y="122"/>
                  </a:cubicBezTo>
                  <a:cubicBezTo>
                    <a:pt x="114" y="123"/>
                    <a:pt x="113" y="123"/>
                    <a:pt x="116" y="120"/>
                  </a:cubicBezTo>
                  <a:cubicBezTo>
                    <a:pt x="117" y="117"/>
                    <a:pt x="119" y="115"/>
                    <a:pt x="119" y="120"/>
                  </a:cubicBezTo>
                  <a:cubicBezTo>
                    <a:pt x="117" y="125"/>
                    <a:pt x="120" y="123"/>
                    <a:pt x="122" y="118"/>
                  </a:cubicBezTo>
                  <a:cubicBezTo>
                    <a:pt x="122" y="115"/>
                    <a:pt x="122" y="114"/>
                    <a:pt x="125" y="115"/>
                  </a:cubicBezTo>
                  <a:cubicBezTo>
                    <a:pt x="126" y="118"/>
                    <a:pt x="125" y="115"/>
                    <a:pt x="126" y="112"/>
                  </a:cubicBezTo>
                  <a:cubicBezTo>
                    <a:pt x="128" y="111"/>
                    <a:pt x="129" y="111"/>
                    <a:pt x="128" y="112"/>
                  </a:cubicBezTo>
                  <a:cubicBezTo>
                    <a:pt x="128" y="115"/>
                    <a:pt x="126" y="122"/>
                    <a:pt x="128" y="118"/>
                  </a:cubicBezTo>
                  <a:cubicBezTo>
                    <a:pt x="129" y="115"/>
                    <a:pt x="131" y="118"/>
                    <a:pt x="132" y="114"/>
                  </a:cubicBezTo>
                  <a:cubicBezTo>
                    <a:pt x="132" y="107"/>
                    <a:pt x="139" y="115"/>
                    <a:pt x="134" y="107"/>
                  </a:cubicBezTo>
                  <a:cubicBezTo>
                    <a:pt x="129" y="101"/>
                    <a:pt x="139" y="97"/>
                    <a:pt x="135" y="89"/>
                  </a:cubicBezTo>
                  <a:cubicBezTo>
                    <a:pt x="135" y="84"/>
                    <a:pt x="137" y="79"/>
                    <a:pt x="140" y="83"/>
                  </a:cubicBezTo>
                  <a:cubicBezTo>
                    <a:pt x="143" y="84"/>
                    <a:pt x="139" y="79"/>
                    <a:pt x="142" y="75"/>
                  </a:cubicBezTo>
                  <a:cubicBezTo>
                    <a:pt x="145" y="70"/>
                    <a:pt x="146" y="64"/>
                    <a:pt x="142" y="61"/>
                  </a:cubicBezTo>
                  <a:cubicBezTo>
                    <a:pt x="139" y="56"/>
                    <a:pt x="139" y="51"/>
                    <a:pt x="140" y="50"/>
                  </a:cubicBezTo>
                  <a:cubicBezTo>
                    <a:pt x="140" y="47"/>
                    <a:pt x="139" y="48"/>
                    <a:pt x="137" y="47"/>
                  </a:cubicBezTo>
                  <a:cubicBezTo>
                    <a:pt x="135" y="45"/>
                    <a:pt x="134" y="51"/>
                    <a:pt x="137" y="50"/>
                  </a:cubicBezTo>
                  <a:cubicBezTo>
                    <a:pt x="140" y="48"/>
                    <a:pt x="139" y="54"/>
                    <a:pt x="137" y="53"/>
                  </a:cubicBezTo>
                  <a:cubicBezTo>
                    <a:pt x="135" y="51"/>
                    <a:pt x="134" y="56"/>
                    <a:pt x="134" y="53"/>
                  </a:cubicBezTo>
                  <a:cubicBezTo>
                    <a:pt x="134" y="48"/>
                    <a:pt x="131" y="48"/>
                    <a:pt x="131" y="53"/>
                  </a:cubicBezTo>
                  <a:cubicBezTo>
                    <a:pt x="131" y="58"/>
                    <a:pt x="126" y="53"/>
                    <a:pt x="128" y="58"/>
                  </a:cubicBezTo>
                  <a:cubicBezTo>
                    <a:pt x="129" y="64"/>
                    <a:pt x="126" y="62"/>
                    <a:pt x="126" y="64"/>
                  </a:cubicBezTo>
                  <a:cubicBezTo>
                    <a:pt x="126" y="65"/>
                    <a:pt x="131" y="62"/>
                    <a:pt x="126" y="75"/>
                  </a:cubicBezTo>
                  <a:cubicBezTo>
                    <a:pt x="125" y="84"/>
                    <a:pt x="122" y="84"/>
                    <a:pt x="119" y="90"/>
                  </a:cubicBezTo>
                  <a:cubicBezTo>
                    <a:pt x="114" y="97"/>
                    <a:pt x="111" y="95"/>
                    <a:pt x="107" y="98"/>
                  </a:cubicBezTo>
                  <a:cubicBezTo>
                    <a:pt x="103" y="101"/>
                    <a:pt x="107" y="97"/>
                    <a:pt x="105" y="95"/>
                  </a:cubicBezTo>
                  <a:cubicBezTo>
                    <a:pt x="103" y="95"/>
                    <a:pt x="110" y="94"/>
                    <a:pt x="108" y="90"/>
                  </a:cubicBezTo>
                  <a:cubicBezTo>
                    <a:pt x="107" y="89"/>
                    <a:pt x="102" y="92"/>
                    <a:pt x="102" y="95"/>
                  </a:cubicBezTo>
                  <a:cubicBezTo>
                    <a:pt x="103" y="100"/>
                    <a:pt x="96" y="106"/>
                    <a:pt x="96" y="107"/>
                  </a:cubicBezTo>
                  <a:cubicBezTo>
                    <a:pt x="97" y="109"/>
                    <a:pt x="97" y="112"/>
                    <a:pt x="93" y="112"/>
                  </a:cubicBezTo>
                  <a:cubicBezTo>
                    <a:pt x="88" y="114"/>
                    <a:pt x="93" y="111"/>
                    <a:pt x="90" y="109"/>
                  </a:cubicBezTo>
                  <a:cubicBezTo>
                    <a:pt x="88" y="109"/>
                    <a:pt x="76" y="115"/>
                    <a:pt x="75" y="112"/>
                  </a:cubicBezTo>
                  <a:cubicBezTo>
                    <a:pt x="73" y="109"/>
                    <a:pt x="71" y="112"/>
                    <a:pt x="67" y="117"/>
                  </a:cubicBezTo>
                  <a:cubicBezTo>
                    <a:pt x="62" y="123"/>
                    <a:pt x="62" y="118"/>
                    <a:pt x="61" y="123"/>
                  </a:cubicBezTo>
                  <a:cubicBezTo>
                    <a:pt x="59" y="126"/>
                    <a:pt x="56" y="123"/>
                    <a:pt x="56" y="126"/>
                  </a:cubicBezTo>
                  <a:cubicBezTo>
                    <a:pt x="56" y="131"/>
                    <a:pt x="61" y="128"/>
                    <a:pt x="64" y="129"/>
                  </a:cubicBezTo>
                  <a:cubicBezTo>
                    <a:pt x="68" y="131"/>
                    <a:pt x="65" y="126"/>
                    <a:pt x="67" y="125"/>
                  </a:cubicBezTo>
                  <a:cubicBezTo>
                    <a:pt x="70" y="125"/>
                    <a:pt x="68" y="126"/>
                    <a:pt x="71" y="126"/>
                  </a:cubicBezTo>
                  <a:cubicBezTo>
                    <a:pt x="75" y="125"/>
                    <a:pt x="78" y="125"/>
                    <a:pt x="81" y="123"/>
                  </a:cubicBezTo>
                  <a:cubicBezTo>
                    <a:pt x="85" y="122"/>
                    <a:pt x="81" y="120"/>
                    <a:pt x="87" y="122"/>
                  </a:cubicBezTo>
                  <a:cubicBezTo>
                    <a:pt x="91" y="123"/>
                    <a:pt x="91" y="120"/>
                    <a:pt x="93" y="122"/>
                  </a:cubicBezTo>
                  <a:cubicBezTo>
                    <a:pt x="93" y="125"/>
                    <a:pt x="90" y="125"/>
                    <a:pt x="90" y="126"/>
                  </a:cubicBezTo>
                  <a:cubicBezTo>
                    <a:pt x="90" y="128"/>
                    <a:pt x="88" y="129"/>
                    <a:pt x="90" y="131"/>
                  </a:cubicBezTo>
                  <a:cubicBezTo>
                    <a:pt x="93" y="132"/>
                    <a:pt x="90" y="132"/>
                    <a:pt x="94" y="134"/>
                  </a:cubicBezTo>
                  <a:cubicBezTo>
                    <a:pt x="93" y="134"/>
                    <a:pt x="93" y="134"/>
                    <a:pt x="93" y="134"/>
                  </a:cubicBezTo>
                  <a:close/>
                  <a:moveTo>
                    <a:pt x="52" y="140"/>
                  </a:moveTo>
                  <a:cubicBezTo>
                    <a:pt x="50" y="140"/>
                    <a:pt x="50" y="136"/>
                    <a:pt x="52" y="139"/>
                  </a:cubicBezTo>
                  <a:cubicBezTo>
                    <a:pt x="53" y="142"/>
                    <a:pt x="55" y="145"/>
                    <a:pt x="52" y="148"/>
                  </a:cubicBezTo>
                  <a:cubicBezTo>
                    <a:pt x="50" y="151"/>
                    <a:pt x="50" y="150"/>
                    <a:pt x="52" y="154"/>
                  </a:cubicBezTo>
                  <a:cubicBezTo>
                    <a:pt x="52" y="157"/>
                    <a:pt x="49" y="156"/>
                    <a:pt x="53" y="157"/>
                  </a:cubicBezTo>
                  <a:cubicBezTo>
                    <a:pt x="56" y="159"/>
                    <a:pt x="53" y="162"/>
                    <a:pt x="56" y="159"/>
                  </a:cubicBezTo>
                  <a:cubicBezTo>
                    <a:pt x="59" y="157"/>
                    <a:pt x="56" y="157"/>
                    <a:pt x="58" y="156"/>
                  </a:cubicBezTo>
                  <a:cubicBezTo>
                    <a:pt x="59" y="154"/>
                    <a:pt x="58" y="157"/>
                    <a:pt x="59" y="156"/>
                  </a:cubicBezTo>
                  <a:cubicBezTo>
                    <a:pt x="61" y="156"/>
                    <a:pt x="61" y="142"/>
                    <a:pt x="64" y="142"/>
                  </a:cubicBezTo>
                  <a:cubicBezTo>
                    <a:pt x="67" y="140"/>
                    <a:pt x="65" y="137"/>
                    <a:pt x="62" y="137"/>
                  </a:cubicBezTo>
                  <a:cubicBezTo>
                    <a:pt x="59" y="137"/>
                    <a:pt x="64" y="134"/>
                    <a:pt x="62" y="132"/>
                  </a:cubicBezTo>
                  <a:cubicBezTo>
                    <a:pt x="61" y="131"/>
                    <a:pt x="58" y="136"/>
                    <a:pt x="58" y="131"/>
                  </a:cubicBezTo>
                  <a:cubicBezTo>
                    <a:pt x="56" y="129"/>
                    <a:pt x="53" y="128"/>
                    <a:pt x="53" y="131"/>
                  </a:cubicBezTo>
                  <a:cubicBezTo>
                    <a:pt x="52" y="134"/>
                    <a:pt x="52" y="131"/>
                    <a:pt x="50" y="134"/>
                  </a:cubicBezTo>
                  <a:cubicBezTo>
                    <a:pt x="49" y="137"/>
                    <a:pt x="49" y="131"/>
                    <a:pt x="47" y="134"/>
                  </a:cubicBezTo>
                  <a:cubicBezTo>
                    <a:pt x="47" y="137"/>
                    <a:pt x="44" y="134"/>
                    <a:pt x="46" y="137"/>
                  </a:cubicBezTo>
                  <a:cubicBezTo>
                    <a:pt x="47" y="140"/>
                    <a:pt x="46" y="139"/>
                    <a:pt x="47" y="140"/>
                  </a:cubicBezTo>
                  <a:cubicBezTo>
                    <a:pt x="49" y="143"/>
                    <a:pt x="46" y="145"/>
                    <a:pt x="49" y="143"/>
                  </a:cubicBezTo>
                  <a:cubicBezTo>
                    <a:pt x="52" y="140"/>
                    <a:pt x="49" y="145"/>
                    <a:pt x="52" y="143"/>
                  </a:cubicBezTo>
                  <a:cubicBezTo>
                    <a:pt x="53" y="142"/>
                    <a:pt x="53" y="142"/>
                    <a:pt x="52" y="140"/>
                  </a:cubicBezTo>
                  <a:close/>
                  <a:moveTo>
                    <a:pt x="78" y="134"/>
                  </a:moveTo>
                  <a:cubicBezTo>
                    <a:pt x="81" y="132"/>
                    <a:pt x="82" y="139"/>
                    <a:pt x="82" y="136"/>
                  </a:cubicBezTo>
                  <a:cubicBezTo>
                    <a:pt x="84" y="131"/>
                    <a:pt x="87" y="132"/>
                    <a:pt x="87" y="129"/>
                  </a:cubicBezTo>
                  <a:cubicBezTo>
                    <a:pt x="85" y="128"/>
                    <a:pt x="87" y="128"/>
                    <a:pt x="85" y="126"/>
                  </a:cubicBezTo>
                  <a:cubicBezTo>
                    <a:pt x="84" y="125"/>
                    <a:pt x="82" y="125"/>
                    <a:pt x="79" y="126"/>
                  </a:cubicBezTo>
                  <a:cubicBezTo>
                    <a:pt x="76" y="128"/>
                    <a:pt x="78" y="129"/>
                    <a:pt x="76" y="129"/>
                  </a:cubicBezTo>
                  <a:cubicBezTo>
                    <a:pt x="75" y="128"/>
                    <a:pt x="73" y="131"/>
                    <a:pt x="73" y="129"/>
                  </a:cubicBezTo>
                  <a:cubicBezTo>
                    <a:pt x="73" y="126"/>
                    <a:pt x="73" y="126"/>
                    <a:pt x="70" y="131"/>
                  </a:cubicBezTo>
                  <a:cubicBezTo>
                    <a:pt x="68" y="134"/>
                    <a:pt x="64" y="136"/>
                    <a:pt x="67" y="136"/>
                  </a:cubicBezTo>
                  <a:cubicBezTo>
                    <a:pt x="70" y="136"/>
                    <a:pt x="67" y="137"/>
                    <a:pt x="70" y="140"/>
                  </a:cubicBezTo>
                  <a:cubicBezTo>
                    <a:pt x="71" y="142"/>
                    <a:pt x="67" y="142"/>
                    <a:pt x="71" y="142"/>
                  </a:cubicBezTo>
                  <a:cubicBezTo>
                    <a:pt x="75" y="143"/>
                    <a:pt x="73" y="136"/>
                    <a:pt x="78" y="134"/>
                  </a:cubicBezTo>
                  <a:close/>
                  <a:moveTo>
                    <a:pt x="116" y="84"/>
                  </a:moveTo>
                  <a:cubicBezTo>
                    <a:pt x="117" y="81"/>
                    <a:pt x="117" y="84"/>
                    <a:pt x="117" y="86"/>
                  </a:cubicBezTo>
                  <a:cubicBezTo>
                    <a:pt x="116" y="87"/>
                    <a:pt x="114" y="86"/>
                    <a:pt x="116" y="84"/>
                  </a:cubicBezTo>
                  <a:close/>
                  <a:moveTo>
                    <a:pt x="132" y="45"/>
                  </a:moveTo>
                  <a:cubicBezTo>
                    <a:pt x="134" y="40"/>
                    <a:pt x="134" y="45"/>
                    <a:pt x="137" y="44"/>
                  </a:cubicBezTo>
                  <a:cubicBezTo>
                    <a:pt x="142" y="42"/>
                    <a:pt x="129" y="40"/>
                    <a:pt x="131" y="36"/>
                  </a:cubicBezTo>
                  <a:cubicBezTo>
                    <a:pt x="134" y="31"/>
                    <a:pt x="134" y="39"/>
                    <a:pt x="139" y="36"/>
                  </a:cubicBezTo>
                  <a:cubicBezTo>
                    <a:pt x="142" y="33"/>
                    <a:pt x="143" y="34"/>
                    <a:pt x="152" y="40"/>
                  </a:cubicBezTo>
                  <a:cubicBezTo>
                    <a:pt x="157" y="44"/>
                    <a:pt x="155" y="33"/>
                    <a:pt x="160" y="31"/>
                  </a:cubicBezTo>
                  <a:cubicBezTo>
                    <a:pt x="163" y="30"/>
                    <a:pt x="166" y="31"/>
                    <a:pt x="169" y="30"/>
                  </a:cubicBezTo>
                  <a:cubicBezTo>
                    <a:pt x="174" y="26"/>
                    <a:pt x="175" y="26"/>
                    <a:pt x="175" y="25"/>
                  </a:cubicBezTo>
                  <a:cubicBezTo>
                    <a:pt x="174" y="23"/>
                    <a:pt x="172" y="28"/>
                    <a:pt x="169" y="23"/>
                  </a:cubicBezTo>
                  <a:cubicBezTo>
                    <a:pt x="168" y="19"/>
                    <a:pt x="172" y="14"/>
                    <a:pt x="171" y="14"/>
                  </a:cubicBezTo>
                  <a:cubicBezTo>
                    <a:pt x="169" y="16"/>
                    <a:pt x="168" y="20"/>
                    <a:pt x="164" y="19"/>
                  </a:cubicBezTo>
                  <a:cubicBezTo>
                    <a:pt x="161" y="19"/>
                    <a:pt x="164" y="17"/>
                    <a:pt x="160" y="17"/>
                  </a:cubicBezTo>
                  <a:cubicBezTo>
                    <a:pt x="155" y="16"/>
                    <a:pt x="149" y="8"/>
                    <a:pt x="146" y="5"/>
                  </a:cubicBezTo>
                  <a:cubicBezTo>
                    <a:pt x="143" y="0"/>
                    <a:pt x="139" y="2"/>
                    <a:pt x="142" y="6"/>
                  </a:cubicBezTo>
                  <a:cubicBezTo>
                    <a:pt x="145" y="12"/>
                    <a:pt x="140" y="12"/>
                    <a:pt x="142" y="16"/>
                  </a:cubicBezTo>
                  <a:cubicBezTo>
                    <a:pt x="143" y="19"/>
                    <a:pt x="139" y="20"/>
                    <a:pt x="139" y="23"/>
                  </a:cubicBezTo>
                  <a:cubicBezTo>
                    <a:pt x="140" y="25"/>
                    <a:pt x="140" y="30"/>
                    <a:pt x="135" y="28"/>
                  </a:cubicBezTo>
                  <a:cubicBezTo>
                    <a:pt x="132" y="25"/>
                    <a:pt x="129" y="25"/>
                    <a:pt x="132" y="28"/>
                  </a:cubicBezTo>
                  <a:cubicBezTo>
                    <a:pt x="134" y="31"/>
                    <a:pt x="123" y="36"/>
                    <a:pt x="128" y="39"/>
                  </a:cubicBezTo>
                  <a:cubicBezTo>
                    <a:pt x="132" y="42"/>
                    <a:pt x="126" y="45"/>
                    <a:pt x="129" y="48"/>
                  </a:cubicBezTo>
                  <a:cubicBezTo>
                    <a:pt x="129" y="48"/>
                    <a:pt x="129" y="50"/>
                    <a:pt x="132" y="45"/>
                  </a:cubicBezTo>
                  <a:close/>
                  <a:moveTo>
                    <a:pt x="87" y="126"/>
                  </a:moveTo>
                  <a:cubicBezTo>
                    <a:pt x="87" y="125"/>
                    <a:pt x="90" y="122"/>
                    <a:pt x="90" y="123"/>
                  </a:cubicBezTo>
                  <a:cubicBezTo>
                    <a:pt x="90" y="125"/>
                    <a:pt x="88" y="128"/>
                    <a:pt x="87" y="126"/>
                  </a:cubicBezTo>
                  <a:close/>
                  <a:moveTo>
                    <a:pt x="76" y="106"/>
                  </a:moveTo>
                  <a:cubicBezTo>
                    <a:pt x="76" y="103"/>
                    <a:pt x="76" y="103"/>
                    <a:pt x="76" y="103"/>
                  </a:cubicBezTo>
                  <a:cubicBezTo>
                    <a:pt x="75" y="104"/>
                    <a:pt x="75" y="106"/>
                    <a:pt x="76" y="106"/>
                  </a:cubicBezTo>
                  <a:close/>
                  <a:moveTo>
                    <a:pt x="32" y="210"/>
                  </a:moveTo>
                  <a:cubicBezTo>
                    <a:pt x="32" y="209"/>
                    <a:pt x="32" y="209"/>
                    <a:pt x="35" y="206"/>
                  </a:cubicBezTo>
                  <a:cubicBezTo>
                    <a:pt x="38" y="204"/>
                    <a:pt x="36" y="203"/>
                    <a:pt x="35" y="204"/>
                  </a:cubicBezTo>
                  <a:cubicBezTo>
                    <a:pt x="33" y="207"/>
                    <a:pt x="32" y="207"/>
                    <a:pt x="30" y="210"/>
                  </a:cubicBezTo>
                  <a:cubicBezTo>
                    <a:pt x="30" y="212"/>
                    <a:pt x="32" y="212"/>
                    <a:pt x="32" y="210"/>
                  </a:cubicBezTo>
                  <a:close/>
                  <a:moveTo>
                    <a:pt x="41" y="195"/>
                  </a:moveTo>
                  <a:cubicBezTo>
                    <a:pt x="39" y="193"/>
                    <a:pt x="41" y="192"/>
                    <a:pt x="41" y="193"/>
                  </a:cubicBezTo>
                  <a:cubicBezTo>
                    <a:pt x="43" y="195"/>
                    <a:pt x="41" y="196"/>
                    <a:pt x="41" y="195"/>
                  </a:cubicBezTo>
                  <a:close/>
                  <a:moveTo>
                    <a:pt x="44" y="190"/>
                  </a:moveTo>
                  <a:cubicBezTo>
                    <a:pt x="44" y="187"/>
                    <a:pt x="47" y="185"/>
                    <a:pt x="47" y="187"/>
                  </a:cubicBezTo>
                  <a:cubicBezTo>
                    <a:pt x="47" y="187"/>
                    <a:pt x="44" y="192"/>
                    <a:pt x="44" y="190"/>
                  </a:cubicBezTo>
                  <a:close/>
                  <a:moveTo>
                    <a:pt x="0" y="229"/>
                  </a:moveTo>
                  <a:cubicBezTo>
                    <a:pt x="0" y="228"/>
                    <a:pt x="1" y="229"/>
                    <a:pt x="1" y="231"/>
                  </a:cubicBezTo>
                  <a:cubicBezTo>
                    <a:pt x="1" y="231"/>
                    <a:pt x="0" y="231"/>
                    <a:pt x="0" y="229"/>
                  </a:cubicBezTo>
                  <a:close/>
                  <a:moveTo>
                    <a:pt x="3" y="229"/>
                  </a:moveTo>
                  <a:cubicBezTo>
                    <a:pt x="1" y="229"/>
                    <a:pt x="4" y="226"/>
                    <a:pt x="4" y="228"/>
                  </a:cubicBezTo>
                  <a:cubicBezTo>
                    <a:pt x="4" y="229"/>
                    <a:pt x="4" y="231"/>
                    <a:pt x="3" y="229"/>
                  </a:cubicBezTo>
                  <a:close/>
                  <a:moveTo>
                    <a:pt x="12" y="226"/>
                  </a:moveTo>
                  <a:cubicBezTo>
                    <a:pt x="11" y="224"/>
                    <a:pt x="12" y="224"/>
                    <a:pt x="14" y="224"/>
                  </a:cubicBezTo>
                  <a:cubicBezTo>
                    <a:pt x="14" y="226"/>
                    <a:pt x="12" y="226"/>
                    <a:pt x="12" y="22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5" name="Freeform 237"/>
            <p:cNvSpPr>
              <a:spLocks noEditPoints="1"/>
            </p:cNvSpPr>
            <p:nvPr/>
          </p:nvSpPr>
          <p:spPr bwMode="auto">
            <a:xfrm>
              <a:off x="5933881" y="1862462"/>
              <a:ext cx="3469689" cy="1553566"/>
            </a:xfrm>
            <a:custGeom>
              <a:avLst/>
              <a:gdLst/>
              <a:ahLst/>
              <a:cxnLst>
                <a:cxn ang="0">
                  <a:pos x="404" y="136"/>
                </a:cxn>
                <a:cxn ang="0">
                  <a:pos x="273" y="177"/>
                </a:cxn>
                <a:cxn ang="0">
                  <a:pos x="361" y="90"/>
                </a:cxn>
                <a:cxn ang="0">
                  <a:pos x="278" y="138"/>
                </a:cxn>
                <a:cxn ang="0">
                  <a:pos x="227" y="31"/>
                </a:cxn>
                <a:cxn ang="0">
                  <a:pos x="217" y="29"/>
                </a:cxn>
                <a:cxn ang="0">
                  <a:pos x="343" y="18"/>
                </a:cxn>
                <a:cxn ang="0">
                  <a:pos x="328" y="25"/>
                </a:cxn>
                <a:cxn ang="0">
                  <a:pos x="297" y="32"/>
                </a:cxn>
                <a:cxn ang="0">
                  <a:pos x="314" y="31"/>
                </a:cxn>
                <a:cxn ang="0">
                  <a:pos x="285" y="12"/>
                </a:cxn>
                <a:cxn ang="0">
                  <a:pos x="291" y="14"/>
                </a:cxn>
                <a:cxn ang="0">
                  <a:pos x="288" y="20"/>
                </a:cxn>
                <a:cxn ang="0">
                  <a:pos x="276" y="23"/>
                </a:cxn>
                <a:cxn ang="0">
                  <a:pos x="1351" y="247"/>
                </a:cxn>
                <a:cxn ang="0">
                  <a:pos x="1184" y="200"/>
                </a:cxn>
                <a:cxn ang="0">
                  <a:pos x="902" y="164"/>
                </a:cxn>
                <a:cxn ang="0">
                  <a:pos x="734" y="116"/>
                </a:cxn>
                <a:cxn ang="0">
                  <a:pos x="570" y="104"/>
                </a:cxn>
                <a:cxn ang="0">
                  <a:pos x="474" y="154"/>
                </a:cxn>
                <a:cxn ang="0">
                  <a:pos x="457" y="217"/>
                </a:cxn>
                <a:cxn ang="0">
                  <a:pos x="381" y="169"/>
                </a:cxn>
                <a:cxn ang="0">
                  <a:pos x="214" y="233"/>
                </a:cxn>
                <a:cxn ang="0">
                  <a:pos x="144" y="275"/>
                </a:cxn>
                <a:cxn ang="0">
                  <a:pos x="90" y="191"/>
                </a:cxn>
                <a:cxn ang="0">
                  <a:pos x="84" y="250"/>
                </a:cxn>
                <a:cxn ang="0">
                  <a:pos x="80" y="306"/>
                </a:cxn>
                <a:cxn ang="0">
                  <a:pos x="67" y="332"/>
                </a:cxn>
                <a:cxn ang="0">
                  <a:pos x="87" y="380"/>
                </a:cxn>
                <a:cxn ang="0">
                  <a:pos x="109" y="422"/>
                </a:cxn>
                <a:cxn ang="0">
                  <a:pos x="163" y="455"/>
                </a:cxn>
                <a:cxn ang="0">
                  <a:pos x="148" y="492"/>
                </a:cxn>
                <a:cxn ang="0">
                  <a:pos x="172" y="528"/>
                </a:cxn>
                <a:cxn ang="0">
                  <a:pos x="220" y="548"/>
                </a:cxn>
                <a:cxn ang="0">
                  <a:pos x="217" y="469"/>
                </a:cxn>
                <a:cxn ang="0">
                  <a:pos x="329" y="432"/>
                </a:cxn>
                <a:cxn ang="0">
                  <a:pos x="472" y="425"/>
                </a:cxn>
                <a:cxn ang="0">
                  <a:pos x="623" y="433"/>
                </a:cxn>
                <a:cxn ang="0">
                  <a:pos x="798" y="419"/>
                </a:cxn>
                <a:cxn ang="0">
                  <a:pos x="899" y="508"/>
                </a:cxn>
                <a:cxn ang="0">
                  <a:pos x="900" y="534"/>
                </a:cxn>
                <a:cxn ang="0">
                  <a:pos x="957" y="401"/>
                </a:cxn>
                <a:cxn ang="0">
                  <a:pos x="1013" y="334"/>
                </a:cxn>
                <a:cxn ang="0">
                  <a:pos x="1121" y="329"/>
                </a:cxn>
                <a:cxn ang="0">
                  <a:pos x="1146" y="326"/>
                </a:cxn>
                <a:cxn ang="0">
                  <a:pos x="1273" y="256"/>
                </a:cxn>
                <a:cxn ang="0">
                  <a:pos x="978" y="489"/>
                </a:cxn>
                <a:cxn ang="0">
                  <a:pos x="984" y="441"/>
                </a:cxn>
                <a:cxn ang="0">
                  <a:pos x="975" y="407"/>
                </a:cxn>
                <a:cxn ang="0">
                  <a:pos x="1025" y="503"/>
                </a:cxn>
                <a:cxn ang="0">
                  <a:pos x="1066" y="464"/>
                </a:cxn>
                <a:cxn ang="0">
                  <a:pos x="1080" y="446"/>
                </a:cxn>
                <a:cxn ang="0">
                  <a:pos x="25" y="390"/>
                </a:cxn>
                <a:cxn ang="0">
                  <a:pos x="937" y="393"/>
                </a:cxn>
                <a:cxn ang="0">
                  <a:pos x="1274" y="175"/>
                </a:cxn>
                <a:cxn ang="0">
                  <a:pos x="1018" y="107"/>
                </a:cxn>
                <a:cxn ang="0">
                  <a:pos x="946" y="118"/>
                </a:cxn>
                <a:cxn ang="0">
                  <a:pos x="870" y="149"/>
                </a:cxn>
                <a:cxn ang="0">
                  <a:pos x="739" y="121"/>
                </a:cxn>
                <a:cxn ang="0">
                  <a:pos x="638" y="35"/>
                </a:cxn>
                <a:cxn ang="0">
                  <a:pos x="600" y="29"/>
                </a:cxn>
                <a:cxn ang="0">
                  <a:pos x="571" y="14"/>
                </a:cxn>
              </a:cxnLst>
              <a:rect l="0" t="0" r="r" b="b"/>
              <a:pathLst>
                <a:path w="1359" h="553">
                  <a:moveTo>
                    <a:pt x="314" y="189"/>
                  </a:moveTo>
                  <a:cubicBezTo>
                    <a:pt x="314" y="189"/>
                    <a:pt x="319" y="189"/>
                    <a:pt x="317" y="192"/>
                  </a:cubicBezTo>
                  <a:cubicBezTo>
                    <a:pt x="317" y="194"/>
                    <a:pt x="325" y="192"/>
                    <a:pt x="325" y="191"/>
                  </a:cubicBezTo>
                  <a:cubicBezTo>
                    <a:pt x="326" y="189"/>
                    <a:pt x="320" y="188"/>
                    <a:pt x="316" y="183"/>
                  </a:cubicBezTo>
                  <a:cubicBezTo>
                    <a:pt x="313" y="180"/>
                    <a:pt x="313" y="182"/>
                    <a:pt x="311" y="183"/>
                  </a:cubicBezTo>
                  <a:cubicBezTo>
                    <a:pt x="308" y="183"/>
                    <a:pt x="313" y="186"/>
                    <a:pt x="309" y="185"/>
                  </a:cubicBezTo>
                  <a:cubicBezTo>
                    <a:pt x="308" y="185"/>
                    <a:pt x="308" y="186"/>
                    <a:pt x="311" y="189"/>
                  </a:cubicBezTo>
                  <a:cubicBezTo>
                    <a:pt x="313" y="191"/>
                    <a:pt x="314" y="191"/>
                    <a:pt x="314" y="189"/>
                  </a:cubicBezTo>
                  <a:close/>
                  <a:moveTo>
                    <a:pt x="404" y="136"/>
                  </a:moveTo>
                  <a:cubicBezTo>
                    <a:pt x="398" y="138"/>
                    <a:pt x="396" y="144"/>
                    <a:pt x="409" y="143"/>
                  </a:cubicBezTo>
                  <a:cubicBezTo>
                    <a:pt x="419" y="141"/>
                    <a:pt x="410" y="133"/>
                    <a:pt x="404" y="136"/>
                  </a:cubicBezTo>
                  <a:close/>
                  <a:moveTo>
                    <a:pt x="290" y="168"/>
                  </a:moveTo>
                  <a:cubicBezTo>
                    <a:pt x="287" y="163"/>
                    <a:pt x="282" y="164"/>
                    <a:pt x="285" y="154"/>
                  </a:cubicBezTo>
                  <a:cubicBezTo>
                    <a:pt x="287" y="144"/>
                    <a:pt x="297" y="144"/>
                    <a:pt x="290" y="139"/>
                  </a:cubicBezTo>
                  <a:cubicBezTo>
                    <a:pt x="282" y="136"/>
                    <a:pt x="288" y="138"/>
                    <a:pt x="274" y="139"/>
                  </a:cubicBezTo>
                  <a:cubicBezTo>
                    <a:pt x="261" y="141"/>
                    <a:pt x="271" y="143"/>
                    <a:pt x="264" y="146"/>
                  </a:cubicBezTo>
                  <a:cubicBezTo>
                    <a:pt x="258" y="149"/>
                    <a:pt x="265" y="147"/>
                    <a:pt x="262" y="154"/>
                  </a:cubicBezTo>
                  <a:cubicBezTo>
                    <a:pt x="259" y="160"/>
                    <a:pt x="256" y="152"/>
                    <a:pt x="255" y="158"/>
                  </a:cubicBezTo>
                  <a:cubicBezTo>
                    <a:pt x="252" y="164"/>
                    <a:pt x="252" y="166"/>
                    <a:pt x="259" y="166"/>
                  </a:cubicBezTo>
                  <a:cubicBezTo>
                    <a:pt x="268" y="166"/>
                    <a:pt x="255" y="168"/>
                    <a:pt x="264" y="172"/>
                  </a:cubicBezTo>
                  <a:cubicBezTo>
                    <a:pt x="271" y="177"/>
                    <a:pt x="265" y="163"/>
                    <a:pt x="270" y="169"/>
                  </a:cubicBezTo>
                  <a:cubicBezTo>
                    <a:pt x="274" y="175"/>
                    <a:pt x="262" y="175"/>
                    <a:pt x="273" y="177"/>
                  </a:cubicBezTo>
                  <a:cubicBezTo>
                    <a:pt x="282" y="178"/>
                    <a:pt x="276" y="180"/>
                    <a:pt x="285" y="180"/>
                  </a:cubicBezTo>
                  <a:cubicBezTo>
                    <a:pt x="293" y="180"/>
                    <a:pt x="294" y="183"/>
                    <a:pt x="302" y="178"/>
                  </a:cubicBezTo>
                  <a:cubicBezTo>
                    <a:pt x="305" y="177"/>
                    <a:pt x="291" y="174"/>
                    <a:pt x="290" y="168"/>
                  </a:cubicBezTo>
                  <a:close/>
                  <a:moveTo>
                    <a:pt x="299" y="136"/>
                  </a:moveTo>
                  <a:cubicBezTo>
                    <a:pt x="299" y="133"/>
                    <a:pt x="303" y="136"/>
                    <a:pt x="305" y="130"/>
                  </a:cubicBezTo>
                  <a:cubicBezTo>
                    <a:pt x="306" y="126"/>
                    <a:pt x="311" y="127"/>
                    <a:pt x="311" y="124"/>
                  </a:cubicBezTo>
                  <a:cubicBezTo>
                    <a:pt x="311" y="121"/>
                    <a:pt x="311" y="121"/>
                    <a:pt x="322" y="118"/>
                  </a:cubicBezTo>
                  <a:cubicBezTo>
                    <a:pt x="331" y="115"/>
                    <a:pt x="320" y="115"/>
                    <a:pt x="335" y="107"/>
                  </a:cubicBezTo>
                  <a:cubicBezTo>
                    <a:pt x="351" y="101"/>
                    <a:pt x="376" y="98"/>
                    <a:pt x="389" y="91"/>
                  </a:cubicBezTo>
                  <a:cubicBezTo>
                    <a:pt x="401" y="85"/>
                    <a:pt x="387" y="79"/>
                    <a:pt x="375" y="84"/>
                  </a:cubicBezTo>
                  <a:cubicBezTo>
                    <a:pt x="363" y="87"/>
                    <a:pt x="370" y="87"/>
                    <a:pt x="361" y="90"/>
                  </a:cubicBezTo>
                  <a:cubicBezTo>
                    <a:pt x="352" y="93"/>
                    <a:pt x="358" y="88"/>
                    <a:pt x="348" y="93"/>
                  </a:cubicBezTo>
                  <a:cubicBezTo>
                    <a:pt x="337" y="98"/>
                    <a:pt x="343" y="91"/>
                    <a:pt x="332" y="93"/>
                  </a:cubicBezTo>
                  <a:cubicBezTo>
                    <a:pt x="323" y="93"/>
                    <a:pt x="332" y="96"/>
                    <a:pt x="326" y="96"/>
                  </a:cubicBezTo>
                  <a:cubicBezTo>
                    <a:pt x="320" y="96"/>
                    <a:pt x="306" y="101"/>
                    <a:pt x="303" y="107"/>
                  </a:cubicBezTo>
                  <a:cubicBezTo>
                    <a:pt x="299" y="112"/>
                    <a:pt x="300" y="105"/>
                    <a:pt x="296" y="109"/>
                  </a:cubicBezTo>
                  <a:cubicBezTo>
                    <a:pt x="291" y="113"/>
                    <a:pt x="293" y="107"/>
                    <a:pt x="290" y="110"/>
                  </a:cubicBezTo>
                  <a:cubicBezTo>
                    <a:pt x="285" y="113"/>
                    <a:pt x="293" y="113"/>
                    <a:pt x="290" y="115"/>
                  </a:cubicBezTo>
                  <a:cubicBezTo>
                    <a:pt x="285" y="116"/>
                    <a:pt x="294" y="118"/>
                    <a:pt x="288" y="118"/>
                  </a:cubicBezTo>
                  <a:cubicBezTo>
                    <a:pt x="282" y="119"/>
                    <a:pt x="285" y="126"/>
                    <a:pt x="278" y="129"/>
                  </a:cubicBezTo>
                  <a:cubicBezTo>
                    <a:pt x="270" y="132"/>
                    <a:pt x="268" y="135"/>
                    <a:pt x="274" y="135"/>
                  </a:cubicBezTo>
                  <a:cubicBezTo>
                    <a:pt x="281" y="133"/>
                    <a:pt x="270" y="139"/>
                    <a:pt x="278" y="138"/>
                  </a:cubicBezTo>
                  <a:cubicBezTo>
                    <a:pt x="285" y="135"/>
                    <a:pt x="285" y="135"/>
                    <a:pt x="291" y="139"/>
                  </a:cubicBezTo>
                  <a:cubicBezTo>
                    <a:pt x="293" y="141"/>
                    <a:pt x="299" y="141"/>
                    <a:pt x="299" y="136"/>
                  </a:cubicBezTo>
                  <a:close/>
                  <a:moveTo>
                    <a:pt x="207" y="23"/>
                  </a:moveTo>
                  <a:cubicBezTo>
                    <a:pt x="211" y="23"/>
                    <a:pt x="211" y="26"/>
                    <a:pt x="215" y="25"/>
                  </a:cubicBezTo>
                  <a:cubicBezTo>
                    <a:pt x="221" y="21"/>
                    <a:pt x="221" y="20"/>
                    <a:pt x="227" y="21"/>
                  </a:cubicBezTo>
                  <a:cubicBezTo>
                    <a:pt x="232" y="23"/>
                    <a:pt x="235" y="21"/>
                    <a:pt x="226" y="18"/>
                  </a:cubicBezTo>
                  <a:cubicBezTo>
                    <a:pt x="215" y="17"/>
                    <a:pt x="223" y="20"/>
                    <a:pt x="215" y="20"/>
                  </a:cubicBezTo>
                  <a:cubicBezTo>
                    <a:pt x="206" y="21"/>
                    <a:pt x="198" y="23"/>
                    <a:pt x="204" y="25"/>
                  </a:cubicBezTo>
                  <a:cubicBezTo>
                    <a:pt x="207" y="25"/>
                    <a:pt x="206" y="25"/>
                    <a:pt x="207" y="23"/>
                  </a:cubicBezTo>
                  <a:close/>
                  <a:moveTo>
                    <a:pt x="223" y="29"/>
                  </a:moveTo>
                  <a:cubicBezTo>
                    <a:pt x="227" y="28"/>
                    <a:pt x="221" y="32"/>
                    <a:pt x="227" y="31"/>
                  </a:cubicBezTo>
                  <a:cubicBezTo>
                    <a:pt x="233" y="29"/>
                    <a:pt x="232" y="32"/>
                    <a:pt x="235" y="29"/>
                  </a:cubicBezTo>
                  <a:cubicBezTo>
                    <a:pt x="236" y="28"/>
                    <a:pt x="230" y="29"/>
                    <a:pt x="232" y="28"/>
                  </a:cubicBezTo>
                  <a:cubicBezTo>
                    <a:pt x="235" y="26"/>
                    <a:pt x="238" y="28"/>
                    <a:pt x="239" y="25"/>
                  </a:cubicBezTo>
                  <a:cubicBezTo>
                    <a:pt x="242" y="23"/>
                    <a:pt x="244" y="25"/>
                    <a:pt x="252" y="23"/>
                  </a:cubicBezTo>
                  <a:cubicBezTo>
                    <a:pt x="259" y="21"/>
                    <a:pt x="255" y="18"/>
                    <a:pt x="249" y="20"/>
                  </a:cubicBezTo>
                  <a:cubicBezTo>
                    <a:pt x="242" y="21"/>
                    <a:pt x="252" y="18"/>
                    <a:pt x="246" y="18"/>
                  </a:cubicBezTo>
                  <a:cubicBezTo>
                    <a:pt x="239" y="17"/>
                    <a:pt x="233" y="20"/>
                    <a:pt x="235" y="20"/>
                  </a:cubicBezTo>
                  <a:cubicBezTo>
                    <a:pt x="238" y="21"/>
                    <a:pt x="239" y="25"/>
                    <a:pt x="230" y="25"/>
                  </a:cubicBezTo>
                  <a:cubicBezTo>
                    <a:pt x="223" y="25"/>
                    <a:pt x="220" y="25"/>
                    <a:pt x="223" y="26"/>
                  </a:cubicBezTo>
                  <a:cubicBezTo>
                    <a:pt x="227" y="28"/>
                    <a:pt x="223" y="28"/>
                    <a:pt x="220" y="28"/>
                  </a:cubicBezTo>
                  <a:cubicBezTo>
                    <a:pt x="217" y="26"/>
                    <a:pt x="212" y="26"/>
                    <a:pt x="217" y="29"/>
                  </a:cubicBezTo>
                  <a:cubicBezTo>
                    <a:pt x="220" y="31"/>
                    <a:pt x="220" y="29"/>
                    <a:pt x="223" y="29"/>
                  </a:cubicBezTo>
                  <a:close/>
                  <a:moveTo>
                    <a:pt x="271" y="28"/>
                  </a:moveTo>
                  <a:cubicBezTo>
                    <a:pt x="268" y="25"/>
                    <a:pt x="267" y="25"/>
                    <a:pt x="261" y="28"/>
                  </a:cubicBezTo>
                  <a:cubicBezTo>
                    <a:pt x="256" y="29"/>
                    <a:pt x="276" y="32"/>
                    <a:pt x="271" y="28"/>
                  </a:cubicBezTo>
                  <a:close/>
                  <a:moveTo>
                    <a:pt x="246" y="14"/>
                  </a:moveTo>
                  <a:cubicBezTo>
                    <a:pt x="249" y="11"/>
                    <a:pt x="253" y="12"/>
                    <a:pt x="249" y="14"/>
                  </a:cubicBezTo>
                  <a:cubicBezTo>
                    <a:pt x="246" y="15"/>
                    <a:pt x="241" y="17"/>
                    <a:pt x="246" y="14"/>
                  </a:cubicBezTo>
                  <a:close/>
                  <a:moveTo>
                    <a:pt x="352" y="20"/>
                  </a:moveTo>
                  <a:cubicBezTo>
                    <a:pt x="360" y="18"/>
                    <a:pt x="364" y="20"/>
                    <a:pt x="364" y="15"/>
                  </a:cubicBezTo>
                  <a:cubicBezTo>
                    <a:pt x="364" y="12"/>
                    <a:pt x="357" y="11"/>
                    <a:pt x="354" y="14"/>
                  </a:cubicBezTo>
                  <a:cubicBezTo>
                    <a:pt x="352" y="17"/>
                    <a:pt x="349" y="14"/>
                    <a:pt x="343" y="18"/>
                  </a:cubicBezTo>
                  <a:cubicBezTo>
                    <a:pt x="338" y="20"/>
                    <a:pt x="344" y="21"/>
                    <a:pt x="352" y="20"/>
                  </a:cubicBezTo>
                  <a:close/>
                  <a:moveTo>
                    <a:pt x="338" y="4"/>
                  </a:moveTo>
                  <a:cubicBezTo>
                    <a:pt x="343" y="3"/>
                    <a:pt x="354" y="3"/>
                    <a:pt x="352" y="4"/>
                  </a:cubicBezTo>
                  <a:cubicBezTo>
                    <a:pt x="349" y="7"/>
                    <a:pt x="337" y="4"/>
                    <a:pt x="338" y="4"/>
                  </a:cubicBezTo>
                  <a:close/>
                  <a:moveTo>
                    <a:pt x="305" y="3"/>
                  </a:moveTo>
                  <a:cubicBezTo>
                    <a:pt x="306" y="0"/>
                    <a:pt x="317" y="0"/>
                    <a:pt x="317" y="3"/>
                  </a:cubicBezTo>
                  <a:cubicBezTo>
                    <a:pt x="316" y="4"/>
                    <a:pt x="303" y="6"/>
                    <a:pt x="305" y="3"/>
                  </a:cubicBezTo>
                  <a:close/>
                  <a:moveTo>
                    <a:pt x="329" y="17"/>
                  </a:moveTo>
                  <a:cubicBezTo>
                    <a:pt x="334" y="17"/>
                    <a:pt x="341" y="11"/>
                    <a:pt x="328" y="14"/>
                  </a:cubicBezTo>
                  <a:cubicBezTo>
                    <a:pt x="317" y="17"/>
                    <a:pt x="325" y="18"/>
                    <a:pt x="329" y="17"/>
                  </a:cubicBezTo>
                  <a:close/>
                  <a:moveTo>
                    <a:pt x="328" y="25"/>
                  </a:moveTo>
                  <a:cubicBezTo>
                    <a:pt x="334" y="26"/>
                    <a:pt x="332" y="23"/>
                    <a:pt x="337" y="23"/>
                  </a:cubicBezTo>
                  <a:cubicBezTo>
                    <a:pt x="341" y="23"/>
                    <a:pt x="340" y="14"/>
                    <a:pt x="331" y="18"/>
                  </a:cubicBezTo>
                  <a:cubicBezTo>
                    <a:pt x="322" y="21"/>
                    <a:pt x="319" y="14"/>
                    <a:pt x="316" y="21"/>
                  </a:cubicBezTo>
                  <a:cubicBezTo>
                    <a:pt x="313" y="29"/>
                    <a:pt x="322" y="23"/>
                    <a:pt x="328" y="25"/>
                  </a:cubicBezTo>
                  <a:close/>
                  <a:moveTo>
                    <a:pt x="241" y="29"/>
                  </a:moveTo>
                  <a:cubicBezTo>
                    <a:pt x="246" y="28"/>
                    <a:pt x="246" y="29"/>
                    <a:pt x="242" y="31"/>
                  </a:cubicBezTo>
                  <a:cubicBezTo>
                    <a:pt x="239" y="34"/>
                    <a:pt x="236" y="29"/>
                    <a:pt x="241" y="29"/>
                  </a:cubicBezTo>
                  <a:close/>
                  <a:moveTo>
                    <a:pt x="246" y="32"/>
                  </a:moveTo>
                  <a:cubicBezTo>
                    <a:pt x="250" y="29"/>
                    <a:pt x="258" y="34"/>
                    <a:pt x="252" y="34"/>
                  </a:cubicBezTo>
                  <a:cubicBezTo>
                    <a:pt x="246" y="34"/>
                    <a:pt x="239" y="34"/>
                    <a:pt x="246" y="32"/>
                  </a:cubicBezTo>
                  <a:close/>
                  <a:moveTo>
                    <a:pt x="297" y="32"/>
                  </a:moveTo>
                  <a:cubicBezTo>
                    <a:pt x="302" y="32"/>
                    <a:pt x="299" y="26"/>
                    <a:pt x="296" y="28"/>
                  </a:cubicBezTo>
                  <a:cubicBezTo>
                    <a:pt x="293" y="28"/>
                    <a:pt x="288" y="26"/>
                    <a:pt x="288" y="29"/>
                  </a:cubicBezTo>
                  <a:cubicBezTo>
                    <a:pt x="287" y="34"/>
                    <a:pt x="291" y="31"/>
                    <a:pt x="297" y="32"/>
                  </a:cubicBezTo>
                  <a:close/>
                  <a:moveTo>
                    <a:pt x="305" y="31"/>
                  </a:moveTo>
                  <a:cubicBezTo>
                    <a:pt x="309" y="32"/>
                    <a:pt x="303" y="28"/>
                    <a:pt x="311" y="28"/>
                  </a:cubicBezTo>
                  <a:cubicBezTo>
                    <a:pt x="317" y="28"/>
                    <a:pt x="317" y="26"/>
                    <a:pt x="309" y="25"/>
                  </a:cubicBezTo>
                  <a:cubicBezTo>
                    <a:pt x="303" y="25"/>
                    <a:pt x="296" y="25"/>
                    <a:pt x="299" y="28"/>
                  </a:cubicBezTo>
                  <a:cubicBezTo>
                    <a:pt x="300" y="29"/>
                    <a:pt x="300" y="29"/>
                    <a:pt x="305" y="31"/>
                  </a:cubicBezTo>
                  <a:close/>
                  <a:moveTo>
                    <a:pt x="313" y="31"/>
                  </a:moveTo>
                  <a:cubicBezTo>
                    <a:pt x="308" y="34"/>
                    <a:pt x="314" y="34"/>
                    <a:pt x="319" y="34"/>
                  </a:cubicBezTo>
                  <a:cubicBezTo>
                    <a:pt x="325" y="32"/>
                    <a:pt x="319" y="31"/>
                    <a:pt x="314" y="31"/>
                  </a:cubicBezTo>
                  <a:cubicBezTo>
                    <a:pt x="313" y="31"/>
                    <a:pt x="313" y="31"/>
                    <a:pt x="313" y="31"/>
                  </a:cubicBezTo>
                  <a:close/>
                  <a:moveTo>
                    <a:pt x="299" y="9"/>
                  </a:moveTo>
                  <a:cubicBezTo>
                    <a:pt x="302" y="9"/>
                    <a:pt x="303" y="9"/>
                    <a:pt x="308" y="9"/>
                  </a:cubicBezTo>
                  <a:cubicBezTo>
                    <a:pt x="313" y="9"/>
                    <a:pt x="309" y="9"/>
                    <a:pt x="305" y="7"/>
                  </a:cubicBezTo>
                  <a:cubicBezTo>
                    <a:pt x="300" y="6"/>
                    <a:pt x="302" y="6"/>
                    <a:pt x="297" y="7"/>
                  </a:cubicBezTo>
                  <a:cubicBezTo>
                    <a:pt x="294" y="9"/>
                    <a:pt x="294" y="9"/>
                    <a:pt x="299" y="9"/>
                  </a:cubicBezTo>
                  <a:close/>
                  <a:moveTo>
                    <a:pt x="293" y="12"/>
                  </a:moveTo>
                  <a:cubicBezTo>
                    <a:pt x="294" y="14"/>
                    <a:pt x="296" y="12"/>
                    <a:pt x="303" y="11"/>
                  </a:cubicBezTo>
                  <a:cubicBezTo>
                    <a:pt x="306" y="11"/>
                    <a:pt x="299" y="9"/>
                    <a:pt x="294" y="9"/>
                  </a:cubicBezTo>
                  <a:cubicBezTo>
                    <a:pt x="288" y="9"/>
                    <a:pt x="296" y="12"/>
                    <a:pt x="291" y="11"/>
                  </a:cubicBezTo>
                  <a:cubicBezTo>
                    <a:pt x="288" y="11"/>
                    <a:pt x="284" y="11"/>
                    <a:pt x="285" y="12"/>
                  </a:cubicBezTo>
                  <a:cubicBezTo>
                    <a:pt x="288" y="14"/>
                    <a:pt x="288" y="11"/>
                    <a:pt x="293" y="12"/>
                  </a:cubicBezTo>
                  <a:close/>
                  <a:moveTo>
                    <a:pt x="305" y="14"/>
                  </a:moveTo>
                  <a:cubicBezTo>
                    <a:pt x="306" y="14"/>
                    <a:pt x="313" y="15"/>
                    <a:pt x="311" y="17"/>
                  </a:cubicBezTo>
                  <a:cubicBezTo>
                    <a:pt x="308" y="17"/>
                    <a:pt x="303" y="15"/>
                    <a:pt x="305" y="14"/>
                  </a:cubicBezTo>
                  <a:close/>
                  <a:moveTo>
                    <a:pt x="313" y="20"/>
                  </a:moveTo>
                  <a:cubicBezTo>
                    <a:pt x="314" y="20"/>
                    <a:pt x="316" y="17"/>
                    <a:pt x="308" y="18"/>
                  </a:cubicBezTo>
                  <a:cubicBezTo>
                    <a:pt x="300" y="20"/>
                    <a:pt x="309" y="20"/>
                    <a:pt x="313" y="20"/>
                  </a:cubicBezTo>
                  <a:close/>
                  <a:moveTo>
                    <a:pt x="296" y="17"/>
                  </a:moveTo>
                  <a:cubicBezTo>
                    <a:pt x="299" y="17"/>
                    <a:pt x="299" y="18"/>
                    <a:pt x="305" y="18"/>
                  </a:cubicBezTo>
                  <a:cubicBezTo>
                    <a:pt x="311" y="17"/>
                    <a:pt x="306" y="17"/>
                    <a:pt x="303" y="15"/>
                  </a:cubicBezTo>
                  <a:cubicBezTo>
                    <a:pt x="299" y="15"/>
                    <a:pt x="293" y="14"/>
                    <a:pt x="291" y="14"/>
                  </a:cubicBezTo>
                  <a:cubicBezTo>
                    <a:pt x="290" y="15"/>
                    <a:pt x="294" y="15"/>
                    <a:pt x="296" y="17"/>
                  </a:cubicBezTo>
                  <a:close/>
                  <a:moveTo>
                    <a:pt x="284" y="17"/>
                  </a:moveTo>
                  <a:cubicBezTo>
                    <a:pt x="287" y="17"/>
                    <a:pt x="282" y="17"/>
                    <a:pt x="290" y="18"/>
                  </a:cubicBezTo>
                  <a:cubicBezTo>
                    <a:pt x="299" y="20"/>
                    <a:pt x="297" y="21"/>
                    <a:pt x="302" y="20"/>
                  </a:cubicBezTo>
                  <a:cubicBezTo>
                    <a:pt x="305" y="18"/>
                    <a:pt x="302" y="20"/>
                    <a:pt x="299" y="18"/>
                  </a:cubicBezTo>
                  <a:cubicBezTo>
                    <a:pt x="294" y="17"/>
                    <a:pt x="291" y="15"/>
                    <a:pt x="287" y="15"/>
                  </a:cubicBezTo>
                  <a:cubicBezTo>
                    <a:pt x="284" y="17"/>
                    <a:pt x="281" y="12"/>
                    <a:pt x="278" y="15"/>
                  </a:cubicBezTo>
                  <a:cubicBezTo>
                    <a:pt x="276" y="17"/>
                    <a:pt x="281" y="15"/>
                    <a:pt x="284" y="17"/>
                  </a:cubicBezTo>
                  <a:close/>
                  <a:moveTo>
                    <a:pt x="278" y="20"/>
                  </a:moveTo>
                  <a:cubicBezTo>
                    <a:pt x="281" y="20"/>
                    <a:pt x="279" y="21"/>
                    <a:pt x="282" y="20"/>
                  </a:cubicBezTo>
                  <a:cubicBezTo>
                    <a:pt x="285" y="20"/>
                    <a:pt x="290" y="20"/>
                    <a:pt x="288" y="20"/>
                  </a:cubicBezTo>
                  <a:cubicBezTo>
                    <a:pt x="287" y="20"/>
                    <a:pt x="282" y="17"/>
                    <a:pt x="281" y="18"/>
                  </a:cubicBezTo>
                  <a:cubicBezTo>
                    <a:pt x="279" y="20"/>
                    <a:pt x="276" y="17"/>
                    <a:pt x="273" y="18"/>
                  </a:cubicBezTo>
                  <a:cubicBezTo>
                    <a:pt x="273" y="20"/>
                    <a:pt x="274" y="20"/>
                    <a:pt x="278" y="20"/>
                  </a:cubicBezTo>
                  <a:close/>
                  <a:moveTo>
                    <a:pt x="296" y="21"/>
                  </a:moveTo>
                  <a:cubicBezTo>
                    <a:pt x="299" y="21"/>
                    <a:pt x="294" y="20"/>
                    <a:pt x="291" y="20"/>
                  </a:cubicBezTo>
                  <a:cubicBezTo>
                    <a:pt x="287" y="20"/>
                    <a:pt x="285" y="21"/>
                    <a:pt x="287" y="21"/>
                  </a:cubicBezTo>
                  <a:cubicBezTo>
                    <a:pt x="288" y="23"/>
                    <a:pt x="293" y="21"/>
                    <a:pt x="296" y="21"/>
                  </a:cubicBezTo>
                  <a:close/>
                  <a:moveTo>
                    <a:pt x="302" y="23"/>
                  </a:moveTo>
                  <a:cubicBezTo>
                    <a:pt x="297" y="23"/>
                    <a:pt x="302" y="21"/>
                    <a:pt x="305" y="21"/>
                  </a:cubicBezTo>
                  <a:cubicBezTo>
                    <a:pt x="306" y="21"/>
                    <a:pt x="306" y="25"/>
                    <a:pt x="302" y="23"/>
                  </a:cubicBezTo>
                  <a:close/>
                  <a:moveTo>
                    <a:pt x="276" y="23"/>
                  </a:moveTo>
                  <a:cubicBezTo>
                    <a:pt x="274" y="21"/>
                    <a:pt x="271" y="23"/>
                    <a:pt x="273" y="23"/>
                  </a:cubicBezTo>
                  <a:cubicBezTo>
                    <a:pt x="274" y="25"/>
                    <a:pt x="270" y="26"/>
                    <a:pt x="276" y="25"/>
                  </a:cubicBezTo>
                  <a:cubicBezTo>
                    <a:pt x="279" y="25"/>
                    <a:pt x="278" y="25"/>
                    <a:pt x="276" y="23"/>
                  </a:cubicBezTo>
                  <a:close/>
                  <a:moveTo>
                    <a:pt x="1273" y="256"/>
                  </a:moveTo>
                  <a:cubicBezTo>
                    <a:pt x="1273" y="256"/>
                    <a:pt x="1273" y="256"/>
                    <a:pt x="1273" y="256"/>
                  </a:cubicBezTo>
                  <a:cubicBezTo>
                    <a:pt x="1278" y="252"/>
                    <a:pt x="1278" y="252"/>
                    <a:pt x="1275" y="247"/>
                  </a:cubicBezTo>
                  <a:cubicBezTo>
                    <a:pt x="1270" y="242"/>
                    <a:pt x="1280" y="241"/>
                    <a:pt x="1283" y="250"/>
                  </a:cubicBezTo>
                  <a:cubicBezTo>
                    <a:pt x="1287" y="259"/>
                    <a:pt x="1301" y="244"/>
                    <a:pt x="1305" y="256"/>
                  </a:cubicBezTo>
                  <a:cubicBezTo>
                    <a:pt x="1311" y="269"/>
                    <a:pt x="1316" y="261"/>
                    <a:pt x="1321" y="267"/>
                  </a:cubicBezTo>
                  <a:cubicBezTo>
                    <a:pt x="1324" y="273"/>
                    <a:pt x="1334" y="267"/>
                    <a:pt x="1334" y="258"/>
                  </a:cubicBezTo>
                  <a:cubicBezTo>
                    <a:pt x="1334" y="247"/>
                    <a:pt x="1343" y="255"/>
                    <a:pt x="1351" y="247"/>
                  </a:cubicBezTo>
                  <a:cubicBezTo>
                    <a:pt x="1359" y="237"/>
                    <a:pt x="1348" y="245"/>
                    <a:pt x="1342" y="236"/>
                  </a:cubicBezTo>
                  <a:cubicBezTo>
                    <a:pt x="1337" y="230"/>
                    <a:pt x="1330" y="230"/>
                    <a:pt x="1321" y="230"/>
                  </a:cubicBezTo>
                  <a:cubicBezTo>
                    <a:pt x="1310" y="230"/>
                    <a:pt x="1330" y="247"/>
                    <a:pt x="1318" y="239"/>
                  </a:cubicBezTo>
                  <a:cubicBezTo>
                    <a:pt x="1305" y="233"/>
                    <a:pt x="1324" y="228"/>
                    <a:pt x="1304" y="219"/>
                  </a:cubicBezTo>
                  <a:cubicBezTo>
                    <a:pt x="1293" y="213"/>
                    <a:pt x="1283" y="208"/>
                    <a:pt x="1273" y="203"/>
                  </a:cubicBezTo>
                  <a:cubicBezTo>
                    <a:pt x="1273" y="203"/>
                    <a:pt x="1273" y="203"/>
                    <a:pt x="1273" y="203"/>
                  </a:cubicBezTo>
                  <a:cubicBezTo>
                    <a:pt x="1266" y="199"/>
                    <a:pt x="1258" y="196"/>
                    <a:pt x="1249" y="194"/>
                  </a:cubicBezTo>
                  <a:cubicBezTo>
                    <a:pt x="1232" y="189"/>
                    <a:pt x="1244" y="191"/>
                    <a:pt x="1222" y="189"/>
                  </a:cubicBezTo>
                  <a:cubicBezTo>
                    <a:pt x="1197" y="188"/>
                    <a:pt x="1203" y="178"/>
                    <a:pt x="1197" y="189"/>
                  </a:cubicBezTo>
                  <a:cubicBezTo>
                    <a:pt x="1190" y="200"/>
                    <a:pt x="1209" y="194"/>
                    <a:pt x="1199" y="203"/>
                  </a:cubicBezTo>
                  <a:cubicBezTo>
                    <a:pt x="1188" y="213"/>
                    <a:pt x="1193" y="200"/>
                    <a:pt x="1184" y="200"/>
                  </a:cubicBezTo>
                  <a:cubicBezTo>
                    <a:pt x="1174" y="200"/>
                    <a:pt x="1187" y="189"/>
                    <a:pt x="1171" y="194"/>
                  </a:cubicBezTo>
                  <a:cubicBezTo>
                    <a:pt x="1156" y="200"/>
                    <a:pt x="1153" y="188"/>
                    <a:pt x="1133" y="192"/>
                  </a:cubicBezTo>
                  <a:cubicBezTo>
                    <a:pt x="1114" y="197"/>
                    <a:pt x="1112" y="191"/>
                    <a:pt x="1115" y="186"/>
                  </a:cubicBezTo>
                  <a:cubicBezTo>
                    <a:pt x="1118" y="180"/>
                    <a:pt x="1103" y="168"/>
                    <a:pt x="1071" y="174"/>
                  </a:cubicBezTo>
                  <a:cubicBezTo>
                    <a:pt x="1040" y="180"/>
                    <a:pt x="1042" y="161"/>
                    <a:pt x="1031" y="157"/>
                  </a:cubicBezTo>
                  <a:cubicBezTo>
                    <a:pt x="1021" y="152"/>
                    <a:pt x="1021" y="157"/>
                    <a:pt x="1002" y="152"/>
                  </a:cubicBezTo>
                  <a:cubicBezTo>
                    <a:pt x="984" y="147"/>
                    <a:pt x="981" y="150"/>
                    <a:pt x="967" y="147"/>
                  </a:cubicBezTo>
                  <a:cubicBezTo>
                    <a:pt x="954" y="143"/>
                    <a:pt x="969" y="152"/>
                    <a:pt x="954" y="152"/>
                  </a:cubicBezTo>
                  <a:cubicBezTo>
                    <a:pt x="938" y="152"/>
                    <a:pt x="966" y="171"/>
                    <a:pt x="951" y="166"/>
                  </a:cubicBezTo>
                  <a:cubicBezTo>
                    <a:pt x="934" y="161"/>
                    <a:pt x="940" y="169"/>
                    <a:pt x="928" y="164"/>
                  </a:cubicBezTo>
                  <a:cubicBezTo>
                    <a:pt x="914" y="161"/>
                    <a:pt x="914" y="174"/>
                    <a:pt x="902" y="164"/>
                  </a:cubicBezTo>
                  <a:cubicBezTo>
                    <a:pt x="890" y="155"/>
                    <a:pt x="893" y="186"/>
                    <a:pt x="879" y="174"/>
                  </a:cubicBezTo>
                  <a:cubicBezTo>
                    <a:pt x="865" y="161"/>
                    <a:pt x="864" y="157"/>
                    <a:pt x="856" y="154"/>
                  </a:cubicBezTo>
                  <a:cubicBezTo>
                    <a:pt x="847" y="150"/>
                    <a:pt x="861" y="166"/>
                    <a:pt x="852" y="158"/>
                  </a:cubicBezTo>
                  <a:cubicBezTo>
                    <a:pt x="844" y="152"/>
                    <a:pt x="827" y="146"/>
                    <a:pt x="803" y="144"/>
                  </a:cubicBezTo>
                  <a:cubicBezTo>
                    <a:pt x="766" y="141"/>
                    <a:pt x="797" y="136"/>
                    <a:pt x="785" y="135"/>
                  </a:cubicBezTo>
                  <a:cubicBezTo>
                    <a:pt x="772" y="133"/>
                    <a:pt x="762" y="133"/>
                    <a:pt x="751" y="135"/>
                  </a:cubicBezTo>
                  <a:cubicBezTo>
                    <a:pt x="740" y="136"/>
                    <a:pt x="747" y="126"/>
                    <a:pt x="739" y="130"/>
                  </a:cubicBezTo>
                  <a:cubicBezTo>
                    <a:pt x="731" y="135"/>
                    <a:pt x="733" y="127"/>
                    <a:pt x="722" y="129"/>
                  </a:cubicBezTo>
                  <a:cubicBezTo>
                    <a:pt x="712" y="132"/>
                    <a:pt x="724" y="136"/>
                    <a:pt x="704" y="139"/>
                  </a:cubicBezTo>
                  <a:cubicBezTo>
                    <a:pt x="686" y="143"/>
                    <a:pt x="686" y="139"/>
                    <a:pt x="704" y="132"/>
                  </a:cubicBezTo>
                  <a:cubicBezTo>
                    <a:pt x="722" y="124"/>
                    <a:pt x="718" y="121"/>
                    <a:pt x="734" y="116"/>
                  </a:cubicBezTo>
                  <a:cubicBezTo>
                    <a:pt x="750" y="112"/>
                    <a:pt x="750" y="102"/>
                    <a:pt x="747" y="96"/>
                  </a:cubicBezTo>
                  <a:cubicBezTo>
                    <a:pt x="743" y="91"/>
                    <a:pt x="739" y="94"/>
                    <a:pt x="731" y="88"/>
                  </a:cubicBezTo>
                  <a:cubicBezTo>
                    <a:pt x="725" y="82"/>
                    <a:pt x="719" y="88"/>
                    <a:pt x="710" y="85"/>
                  </a:cubicBezTo>
                  <a:cubicBezTo>
                    <a:pt x="701" y="84"/>
                    <a:pt x="705" y="88"/>
                    <a:pt x="695" y="90"/>
                  </a:cubicBezTo>
                  <a:cubicBezTo>
                    <a:pt x="678" y="91"/>
                    <a:pt x="708" y="82"/>
                    <a:pt x="689" y="82"/>
                  </a:cubicBezTo>
                  <a:cubicBezTo>
                    <a:pt x="670" y="81"/>
                    <a:pt x="676" y="79"/>
                    <a:pt x="686" y="76"/>
                  </a:cubicBezTo>
                  <a:cubicBezTo>
                    <a:pt x="693" y="74"/>
                    <a:pt x="676" y="66"/>
                    <a:pt x="661" y="73"/>
                  </a:cubicBezTo>
                  <a:cubicBezTo>
                    <a:pt x="637" y="84"/>
                    <a:pt x="651" y="88"/>
                    <a:pt x="640" y="88"/>
                  </a:cubicBezTo>
                  <a:cubicBezTo>
                    <a:pt x="617" y="90"/>
                    <a:pt x="643" y="90"/>
                    <a:pt x="622" y="94"/>
                  </a:cubicBezTo>
                  <a:cubicBezTo>
                    <a:pt x="600" y="99"/>
                    <a:pt x="625" y="90"/>
                    <a:pt x="596" y="94"/>
                  </a:cubicBezTo>
                  <a:cubicBezTo>
                    <a:pt x="568" y="98"/>
                    <a:pt x="599" y="101"/>
                    <a:pt x="570" y="104"/>
                  </a:cubicBezTo>
                  <a:cubicBezTo>
                    <a:pt x="539" y="105"/>
                    <a:pt x="553" y="110"/>
                    <a:pt x="538" y="110"/>
                  </a:cubicBezTo>
                  <a:cubicBezTo>
                    <a:pt x="524" y="112"/>
                    <a:pt x="523" y="124"/>
                    <a:pt x="532" y="126"/>
                  </a:cubicBezTo>
                  <a:cubicBezTo>
                    <a:pt x="539" y="126"/>
                    <a:pt x="535" y="129"/>
                    <a:pt x="524" y="132"/>
                  </a:cubicBezTo>
                  <a:cubicBezTo>
                    <a:pt x="508" y="135"/>
                    <a:pt x="488" y="130"/>
                    <a:pt x="483" y="138"/>
                  </a:cubicBezTo>
                  <a:cubicBezTo>
                    <a:pt x="477" y="144"/>
                    <a:pt x="491" y="138"/>
                    <a:pt x="486" y="147"/>
                  </a:cubicBezTo>
                  <a:cubicBezTo>
                    <a:pt x="480" y="155"/>
                    <a:pt x="497" y="150"/>
                    <a:pt x="497" y="157"/>
                  </a:cubicBezTo>
                  <a:cubicBezTo>
                    <a:pt x="498" y="164"/>
                    <a:pt x="512" y="157"/>
                    <a:pt x="508" y="166"/>
                  </a:cubicBezTo>
                  <a:cubicBezTo>
                    <a:pt x="501" y="177"/>
                    <a:pt x="517" y="175"/>
                    <a:pt x="508" y="183"/>
                  </a:cubicBezTo>
                  <a:cubicBezTo>
                    <a:pt x="497" y="192"/>
                    <a:pt x="512" y="171"/>
                    <a:pt x="501" y="174"/>
                  </a:cubicBezTo>
                  <a:cubicBezTo>
                    <a:pt x="491" y="178"/>
                    <a:pt x="512" y="163"/>
                    <a:pt x="498" y="163"/>
                  </a:cubicBezTo>
                  <a:cubicBezTo>
                    <a:pt x="486" y="163"/>
                    <a:pt x="491" y="155"/>
                    <a:pt x="474" y="154"/>
                  </a:cubicBezTo>
                  <a:cubicBezTo>
                    <a:pt x="456" y="150"/>
                    <a:pt x="462" y="161"/>
                    <a:pt x="457" y="160"/>
                  </a:cubicBezTo>
                  <a:cubicBezTo>
                    <a:pt x="450" y="157"/>
                    <a:pt x="442" y="163"/>
                    <a:pt x="454" y="166"/>
                  </a:cubicBezTo>
                  <a:cubicBezTo>
                    <a:pt x="466" y="171"/>
                    <a:pt x="459" y="172"/>
                    <a:pt x="448" y="171"/>
                  </a:cubicBezTo>
                  <a:cubicBezTo>
                    <a:pt x="436" y="169"/>
                    <a:pt x="448" y="157"/>
                    <a:pt x="445" y="150"/>
                  </a:cubicBezTo>
                  <a:cubicBezTo>
                    <a:pt x="441" y="144"/>
                    <a:pt x="437" y="143"/>
                    <a:pt x="439" y="152"/>
                  </a:cubicBezTo>
                  <a:cubicBezTo>
                    <a:pt x="444" y="164"/>
                    <a:pt x="419" y="158"/>
                    <a:pt x="428" y="169"/>
                  </a:cubicBezTo>
                  <a:cubicBezTo>
                    <a:pt x="434" y="178"/>
                    <a:pt x="437" y="178"/>
                    <a:pt x="431" y="186"/>
                  </a:cubicBezTo>
                  <a:cubicBezTo>
                    <a:pt x="424" y="194"/>
                    <a:pt x="431" y="194"/>
                    <a:pt x="431" y="200"/>
                  </a:cubicBezTo>
                  <a:cubicBezTo>
                    <a:pt x="430" y="206"/>
                    <a:pt x="445" y="196"/>
                    <a:pt x="456" y="202"/>
                  </a:cubicBezTo>
                  <a:cubicBezTo>
                    <a:pt x="468" y="209"/>
                    <a:pt x="463" y="211"/>
                    <a:pt x="462" y="214"/>
                  </a:cubicBezTo>
                  <a:cubicBezTo>
                    <a:pt x="460" y="217"/>
                    <a:pt x="456" y="225"/>
                    <a:pt x="457" y="217"/>
                  </a:cubicBezTo>
                  <a:cubicBezTo>
                    <a:pt x="460" y="209"/>
                    <a:pt x="457" y="200"/>
                    <a:pt x="442" y="205"/>
                  </a:cubicBezTo>
                  <a:cubicBezTo>
                    <a:pt x="428" y="209"/>
                    <a:pt x="444" y="219"/>
                    <a:pt x="436" y="222"/>
                  </a:cubicBezTo>
                  <a:cubicBezTo>
                    <a:pt x="428" y="227"/>
                    <a:pt x="434" y="231"/>
                    <a:pt x="425" y="234"/>
                  </a:cubicBezTo>
                  <a:cubicBezTo>
                    <a:pt x="416" y="239"/>
                    <a:pt x="425" y="244"/>
                    <a:pt x="407" y="241"/>
                  </a:cubicBezTo>
                  <a:cubicBezTo>
                    <a:pt x="387" y="237"/>
                    <a:pt x="413" y="241"/>
                    <a:pt x="418" y="230"/>
                  </a:cubicBezTo>
                  <a:cubicBezTo>
                    <a:pt x="424" y="219"/>
                    <a:pt x="427" y="225"/>
                    <a:pt x="427" y="216"/>
                  </a:cubicBezTo>
                  <a:cubicBezTo>
                    <a:pt x="428" y="206"/>
                    <a:pt x="419" y="206"/>
                    <a:pt x="421" y="196"/>
                  </a:cubicBezTo>
                  <a:cubicBezTo>
                    <a:pt x="422" y="183"/>
                    <a:pt x="425" y="177"/>
                    <a:pt x="418" y="169"/>
                  </a:cubicBezTo>
                  <a:cubicBezTo>
                    <a:pt x="409" y="163"/>
                    <a:pt x="424" y="164"/>
                    <a:pt x="424" y="154"/>
                  </a:cubicBezTo>
                  <a:cubicBezTo>
                    <a:pt x="424" y="141"/>
                    <a:pt x="406" y="147"/>
                    <a:pt x="398" y="146"/>
                  </a:cubicBezTo>
                  <a:cubicBezTo>
                    <a:pt x="389" y="143"/>
                    <a:pt x="392" y="164"/>
                    <a:pt x="381" y="169"/>
                  </a:cubicBezTo>
                  <a:cubicBezTo>
                    <a:pt x="364" y="175"/>
                    <a:pt x="384" y="175"/>
                    <a:pt x="376" y="186"/>
                  </a:cubicBezTo>
                  <a:cubicBezTo>
                    <a:pt x="369" y="199"/>
                    <a:pt x="398" y="199"/>
                    <a:pt x="392" y="209"/>
                  </a:cubicBezTo>
                  <a:cubicBezTo>
                    <a:pt x="384" y="219"/>
                    <a:pt x="389" y="209"/>
                    <a:pt x="361" y="199"/>
                  </a:cubicBezTo>
                  <a:cubicBezTo>
                    <a:pt x="332" y="186"/>
                    <a:pt x="319" y="192"/>
                    <a:pt x="326" y="200"/>
                  </a:cubicBezTo>
                  <a:cubicBezTo>
                    <a:pt x="331" y="205"/>
                    <a:pt x="316" y="216"/>
                    <a:pt x="316" y="208"/>
                  </a:cubicBezTo>
                  <a:cubicBezTo>
                    <a:pt x="316" y="199"/>
                    <a:pt x="311" y="202"/>
                    <a:pt x="302" y="208"/>
                  </a:cubicBezTo>
                  <a:cubicBezTo>
                    <a:pt x="293" y="214"/>
                    <a:pt x="294" y="202"/>
                    <a:pt x="282" y="211"/>
                  </a:cubicBezTo>
                  <a:cubicBezTo>
                    <a:pt x="270" y="219"/>
                    <a:pt x="270" y="208"/>
                    <a:pt x="276" y="203"/>
                  </a:cubicBezTo>
                  <a:cubicBezTo>
                    <a:pt x="281" y="200"/>
                    <a:pt x="270" y="202"/>
                    <a:pt x="250" y="213"/>
                  </a:cubicBezTo>
                  <a:cubicBezTo>
                    <a:pt x="230" y="222"/>
                    <a:pt x="227" y="214"/>
                    <a:pt x="224" y="227"/>
                  </a:cubicBezTo>
                  <a:cubicBezTo>
                    <a:pt x="221" y="239"/>
                    <a:pt x="220" y="230"/>
                    <a:pt x="214" y="233"/>
                  </a:cubicBezTo>
                  <a:cubicBezTo>
                    <a:pt x="206" y="237"/>
                    <a:pt x="211" y="231"/>
                    <a:pt x="204" y="228"/>
                  </a:cubicBezTo>
                  <a:cubicBezTo>
                    <a:pt x="197" y="225"/>
                    <a:pt x="206" y="220"/>
                    <a:pt x="212" y="220"/>
                  </a:cubicBezTo>
                  <a:cubicBezTo>
                    <a:pt x="218" y="220"/>
                    <a:pt x="212" y="208"/>
                    <a:pt x="203" y="209"/>
                  </a:cubicBezTo>
                  <a:cubicBezTo>
                    <a:pt x="194" y="209"/>
                    <a:pt x="185" y="203"/>
                    <a:pt x="192" y="211"/>
                  </a:cubicBezTo>
                  <a:cubicBezTo>
                    <a:pt x="200" y="217"/>
                    <a:pt x="186" y="224"/>
                    <a:pt x="195" y="230"/>
                  </a:cubicBezTo>
                  <a:cubicBezTo>
                    <a:pt x="203" y="234"/>
                    <a:pt x="194" y="236"/>
                    <a:pt x="195" y="245"/>
                  </a:cubicBezTo>
                  <a:cubicBezTo>
                    <a:pt x="197" y="253"/>
                    <a:pt x="189" y="231"/>
                    <a:pt x="176" y="241"/>
                  </a:cubicBezTo>
                  <a:cubicBezTo>
                    <a:pt x="162" y="250"/>
                    <a:pt x="156" y="248"/>
                    <a:pt x="163" y="258"/>
                  </a:cubicBezTo>
                  <a:cubicBezTo>
                    <a:pt x="172" y="267"/>
                    <a:pt x="162" y="269"/>
                    <a:pt x="148" y="261"/>
                  </a:cubicBezTo>
                  <a:cubicBezTo>
                    <a:pt x="133" y="255"/>
                    <a:pt x="130" y="259"/>
                    <a:pt x="136" y="264"/>
                  </a:cubicBezTo>
                  <a:cubicBezTo>
                    <a:pt x="142" y="270"/>
                    <a:pt x="153" y="269"/>
                    <a:pt x="144" y="275"/>
                  </a:cubicBezTo>
                  <a:cubicBezTo>
                    <a:pt x="136" y="279"/>
                    <a:pt x="137" y="269"/>
                    <a:pt x="128" y="267"/>
                  </a:cubicBezTo>
                  <a:cubicBezTo>
                    <a:pt x="118" y="265"/>
                    <a:pt x="125" y="261"/>
                    <a:pt x="121" y="256"/>
                  </a:cubicBezTo>
                  <a:cubicBezTo>
                    <a:pt x="115" y="252"/>
                    <a:pt x="127" y="250"/>
                    <a:pt x="119" y="244"/>
                  </a:cubicBezTo>
                  <a:cubicBezTo>
                    <a:pt x="112" y="237"/>
                    <a:pt x="104" y="236"/>
                    <a:pt x="102" y="230"/>
                  </a:cubicBezTo>
                  <a:cubicBezTo>
                    <a:pt x="101" y="224"/>
                    <a:pt x="102" y="234"/>
                    <a:pt x="118" y="237"/>
                  </a:cubicBezTo>
                  <a:cubicBezTo>
                    <a:pt x="133" y="239"/>
                    <a:pt x="148" y="250"/>
                    <a:pt x="162" y="242"/>
                  </a:cubicBezTo>
                  <a:cubicBezTo>
                    <a:pt x="176" y="234"/>
                    <a:pt x="180" y="228"/>
                    <a:pt x="165" y="219"/>
                  </a:cubicBezTo>
                  <a:cubicBezTo>
                    <a:pt x="151" y="209"/>
                    <a:pt x="153" y="214"/>
                    <a:pt x="137" y="203"/>
                  </a:cubicBezTo>
                  <a:cubicBezTo>
                    <a:pt x="122" y="194"/>
                    <a:pt x="127" y="202"/>
                    <a:pt x="113" y="199"/>
                  </a:cubicBezTo>
                  <a:cubicBezTo>
                    <a:pt x="101" y="194"/>
                    <a:pt x="113" y="194"/>
                    <a:pt x="104" y="191"/>
                  </a:cubicBezTo>
                  <a:cubicBezTo>
                    <a:pt x="95" y="186"/>
                    <a:pt x="102" y="196"/>
                    <a:pt x="90" y="191"/>
                  </a:cubicBezTo>
                  <a:cubicBezTo>
                    <a:pt x="90" y="192"/>
                    <a:pt x="90" y="192"/>
                    <a:pt x="90" y="192"/>
                  </a:cubicBezTo>
                  <a:cubicBezTo>
                    <a:pt x="92" y="196"/>
                    <a:pt x="89" y="196"/>
                    <a:pt x="87" y="194"/>
                  </a:cubicBezTo>
                  <a:cubicBezTo>
                    <a:pt x="84" y="194"/>
                    <a:pt x="86" y="194"/>
                    <a:pt x="84" y="196"/>
                  </a:cubicBezTo>
                  <a:cubicBezTo>
                    <a:pt x="83" y="197"/>
                    <a:pt x="78" y="197"/>
                    <a:pt x="78" y="199"/>
                  </a:cubicBezTo>
                  <a:cubicBezTo>
                    <a:pt x="77" y="202"/>
                    <a:pt x="77" y="203"/>
                    <a:pt x="75" y="202"/>
                  </a:cubicBezTo>
                  <a:cubicBezTo>
                    <a:pt x="67" y="206"/>
                    <a:pt x="74" y="203"/>
                    <a:pt x="74" y="205"/>
                  </a:cubicBezTo>
                  <a:cubicBezTo>
                    <a:pt x="75" y="208"/>
                    <a:pt x="70" y="206"/>
                    <a:pt x="72" y="211"/>
                  </a:cubicBezTo>
                  <a:cubicBezTo>
                    <a:pt x="74" y="219"/>
                    <a:pt x="77" y="213"/>
                    <a:pt x="80" y="217"/>
                  </a:cubicBezTo>
                  <a:cubicBezTo>
                    <a:pt x="83" y="222"/>
                    <a:pt x="86" y="220"/>
                    <a:pt x="83" y="224"/>
                  </a:cubicBezTo>
                  <a:cubicBezTo>
                    <a:pt x="80" y="227"/>
                    <a:pt x="74" y="231"/>
                    <a:pt x="77" y="234"/>
                  </a:cubicBezTo>
                  <a:cubicBezTo>
                    <a:pt x="80" y="236"/>
                    <a:pt x="86" y="250"/>
                    <a:pt x="84" y="250"/>
                  </a:cubicBezTo>
                  <a:cubicBezTo>
                    <a:pt x="81" y="250"/>
                    <a:pt x="81" y="250"/>
                    <a:pt x="81" y="252"/>
                  </a:cubicBezTo>
                  <a:cubicBezTo>
                    <a:pt x="83" y="252"/>
                    <a:pt x="81" y="252"/>
                    <a:pt x="81" y="253"/>
                  </a:cubicBezTo>
                  <a:cubicBezTo>
                    <a:pt x="81" y="256"/>
                    <a:pt x="80" y="255"/>
                    <a:pt x="81" y="256"/>
                  </a:cubicBezTo>
                  <a:cubicBezTo>
                    <a:pt x="84" y="258"/>
                    <a:pt x="80" y="258"/>
                    <a:pt x="80" y="259"/>
                  </a:cubicBezTo>
                  <a:cubicBezTo>
                    <a:pt x="81" y="262"/>
                    <a:pt x="87" y="262"/>
                    <a:pt x="84" y="264"/>
                  </a:cubicBezTo>
                  <a:cubicBezTo>
                    <a:pt x="83" y="265"/>
                    <a:pt x="84" y="265"/>
                    <a:pt x="84" y="267"/>
                  </a:cubicBezTo>
                  <a:cubicBezTo>
                    <a:pt x="83" y="269"/>
                    <a:pt x="89" y="269"/>
                    <a:pt x="89" y="272"/>
                  </a:cubicBezTo>
                  <a:cubicBezTo>
                    <a:pt x="87" y="275"/>
                    <a:pt x="81" y="275"/>
                    <a:pt x="84" y="278"/>
                  </a:cubicBezTo>
                  <a:cubicBezTo>
                    <a:pt x="87" y="279"/>
                    <a:pt x="92" y="281"/>
                    <a:pt x="93" y="284"/>
                  </a:cubicBezTo>
                  <a:cubicBezTo>
                    <a:pt x="95" y="287"/>
                    <a:pt x="96" y="286"/>
                    <a:pt x="95" y="289"/>
                  </a:cubicBezTo>
                  <a:cubicBezTo>
                    <a:pt x="93" y="292"/>
                    <a:pt x="89" y="298"/>
                    <a:pt x="80" y="306"/>
                  </a:cubicBezTo>
                  <a:cubicBezTo>
                    <a:pt x="72" y="314"/>
                    <a:pt x="69" y="315"/>
                    <a:pt x="66" y="318"/>
                  </a:cubicBezTo>
                  <a:cubicBezTo>
                    <a:pt x="69" y="320"/>
                    <a:pt x="72" y="315"/>
                    <a:pt x="74" y="317"/>
                  </a:cubicBezTo>
                  <a:cubicBezTo>
                    <a:pt x="74" y="317"/>
                    <a:pt x="72" y="317"/>
                    <a:pt x="72" y="318"/>
                  </a:cubicBezTo>
                  <a:cubicBezTo>
                    <a:pt x="74" y="321"/>
                    <a:pt x="69" y="317"/>
                    <a:pt x="72" y="320"/>
                  </a:cubicBezTo>
                  <a:cubicBezTo>
                    <a:pt x="74" y="323"/>
                    <a:pt x="74" y="320"/>
                    <a:pt x="75" y="323"/>
                  </a:cubicBezTo>
                  <a:cubicBezTo>
                    <a:pt x="77" y="325"/>
                    <a:pt x="81" y="321"/>
                    <a:pt x="83" y="325"/>
                  </a:cubicBezTo>
                  <a:cubicBezTo>
                    <a:pt x="83" y="326"/>
                    <a:pt x="86" y="325"/>
                    <a:pt x="86" y="326"/>
                  </a:cubicBezTo>
                  <a:cubicBezTo>
                    <a:pt x="84" y="328"/>
                    <a:pt x="84" y="328"/>
                    <a:pt x="80" y="326"/>
                  </a:cubicBezTo>
                  <a:cubicBezTo>
                    <a:pt x="74" y="325"/>
                    <a:pt x="77" y="331"/>
                    <a:pt x="74" y="328"/>
                  </a:cubicBezTo>
                  <a:cubicBezTo>
                    <a:pt x="69" y="326"/>
                    <a:pt x="72" y="332"/>
                    <a:pt x="69" y="329"/>
                  </a:cubicBezTo>
                  <a:cubicBezTo>
                    <a:pt x="66" y="328"/>
                    <a:pt x="69" y="331"/>
                    <a:pt x="67" y="332"/>
                  </a:cubicBezTo>
                  <a:cubicBezTo>
                    <a:pt x="70" y="335"/>
                    <a:pt x="66" y="334"/>
                    <a:pt x="66" y="337"/>
                  </a:cubicBezTo>
                  <a:cubicBezTo>
                    <a:pt x="66" y="342"/>
                    <a:pt x="61" y="338"/>
                    <a:pt x="63" y="345"/>
                  </a:cubicBezTo>
                  <a:cubicBezTo>
                    <a:pt x="66" y="349"/>
                    <a:pt x="61" y="346"/>
                    <a:pt x="64" y="351"/>
                  </a:cubicBezTo>
                  <a:cubicBezTo>
                    <a:pt x="67" y="356"/>
                    <a:pt x="64" y="352"/>
                    <a:pt x="63" y="357"/>
                  </a:cubicBezTo>
                  <a:cubicBezTo>
                    <a:pt x="64" y="360"/>
                    <a:pt x="67" y="360"/>
                    <a:pt x="66" y="362"/>
                  </a:cubicBezTo>
                  <a:cubicBezTo>
                    <a:pt x="66" y="363"/>
                    <a:pt x="64" y="366"/>
                    <a:pt x="66" y="366"/>
                  </a:cubicBezTo>
                  <a:cubicBezTo>
                    <a:pt x="67" y="366"/>
                    <a:pt x="66" y="366"/>
                    <a:pt x="67" y="370"/>
                  </a:cubicBezTo>
                  <a:cubicBezTo>
                    <a:pt x="70" y="373"/>
                    <a:pt x="69" y="376"/>
                    <a:pt x="69" y="376"/>
                  </a:cubicBezTo>
                  <a:cubicBezTo>
                    <a:pt x="74" y="374"/>
                    <a:pt x="70" y="377"/>
                    <a:pt x="75" y="377"/>
                  </a:cubicBezTo>
                  <a:cubicBezTo>
                    <a:pt x="81" y="376"/>
                    <a:pt x="77" y="382"/>
                    <a:pt x="81" y="380"/>
                  </a:cubicBezTo>
                  <a:cubicBezTo>
                    <a:pt x="84" y="377"/>
                    <a:pt x="87" y="379"/>
                    <a:pt x="87" y="380"/>
                  </a:cubicBezTo>
                  <a:cubicBezTo>
                    <a:pt x="89" y="382"/>
                    <a:pt x="92" y="380"/>
                    <a:pt x="90" y="384"/>
                  </a:cubicBezTo>
                  <a:cubicBezTo>
                    <a:pt x="89" y="388"/>
                    <a:pt x="93" y="388"/>
                    <a:pt x="90" y="390"/>
                  </a:cubicBezTo>
                  <a:cubicBezTo>
                    <a:pt x="87" y="393"/>
                    <a:pt x="92" y="391"/>
                    <a:pt x="92" y="396"/>
                  </a:cubicBezTo>
                  <a:cubicBezTo>
                    <a:pt x="93" y="402"/>
                    <a:pt x="99" y="401"/>
                    <a:pt x="98" y="402"/>
                  </a:cubicBezTo>
                  <a:cubicBezTo>
                    <a:pt x="95" y="407"/>
                    <a:pt x="102" y="402"/>
                    <a:pt x="102" y="407"/>
                  </a:cubicBezTo>
                  <a:cubicBezTo>
                    <a:pt x="102" y="408"/>
                    <a:pt x="107" y="408"/>
                    <a:pt x="104" y="410"/>
                  </a:cubicBezTo>
                  <a:cubicBezTo>
                    <a:pt x="101" y="412"/>
                    <a:pt x="101" y="415"/>
                    <a:pt x="96" y="412"/>
                  </a:cubicBezTo>
                  <a:cubicBezTo>
                    <a:pt x="95" y="410"/>
                    <a:pt x="93" y="413"/>
                    <a:pt x="95" y="415"/>
                  </a:cubicBezTo>
                  <a:cubicBezTo>
                    <a:pt x="98" y="419"/>
                    <a:pt x="93" y="419"/>
                    <a:pt x="96" y="424"/>
                  </a:cubicBezTo>
                  <a:cubicBezTo>
                    <a:pt x="98" y="425"/>
                    <a:pt x="101" y="427"/>
                    <a:pt x="102" y="424"/>
                  </a:cubicBezTo>
                  <a:cubicBezTo>
                    <a:pt x="102" y="421"/>
                    <a:pt x="105" y="424"/>
                    <a:pt x="109" y="422"/>
                  </a:cubicBezTo>
                  <a:cubicBezTo>
                    <a:pt x="112" y="419"/>
                    <a:pt x="110" y="424"/>
                    <a:pt x="113" y="422"/>
                  </a:cubicBezTo>
                  <a:cubicBezTo>
                    <a:pt x="116" y="419"/>
                    <a:pt x="113" y="425"/>
                    <a:pt x="118" y="427"/>
                  </a:cubicBezTo>
                  <a:cubicBezTo>
                    <a:pt x="121" y="429"/>
                    <a:pt x="115" y="430"/>
                    <a:pt x="116" y="432"/>
                  </a:cubicBezTo>
                  <a:cubicBezTo>
                    <a:pt x="119" y="435"/>
                    <a:pt x="116" y="435"/>
                    <a:pt x="119" y="435"/>
                  </a:cubicBezTo>
                  <a:cubicBezTo>
                    <a:pt x="122" y="436"/>
                    <a:pt x="122" y="433"/>
                    <a:pt x="125" y="438"/>
                  </a:cubicBezTo>
                  <a:cubicBezTo>
                    <a:pt x="128" y="441"/>
                    <a:pt x="125" y="447"/>
                    <a:pt x="128" y="446"/>
                  </a:cubicBezTo>
                  <a:cubicBezTo>
                    <a:pt x="133" y="444"/>
                    <a:pt x="133" y="449"/>
                    <a:pt x="139" y="446"/>
                  </a:cubicBezTo>
                  <a:cubicBezTo>
                    <a:pt x="144" y="443"/>
                    <a:pt x="142" y="447"/>
                    <a:pt x="145" y="449"/>
                  </a:cubicBezTo>
                  <a:cubicBezTo>
                    <a:pt x="148" y="452"/>
                    <a:pt x="150" y="447"/>
                    <a:pt x="153" y="452"/>
                  </a:cubicBezTo>
                  <a:cubicBezTo>
                    <a:pt x="154" y="453"/>
                    <a:pt x="157" y="450"/>
                    <a:pt x="159" y="453"/>
                  </a:cubicBezTo>
                  <a:cubicBezTo>
                    <a:pt x="160" y="457"/>
                    <a:pt x="163" y="453"/>
                    <a:pt x="163" y="455"/>
                  </a:cubicBezTo>
                  <a:cubicBezTo>
                    <a:pt x="163" y="458"/>
                    <a:pt x="165" y="458"/>
                    <a:pt x="163" y="460"/>
                  </a:cubicBezTo>
                  <a:cubicBezTo>
                    <a:pt x="160" y="461"/>
                    <a:pt x="160" y="463"/>
                    <a:pt x="162" y="463"/>
                  </a:cubicBezTo>
                  <a:cubicBezTo>
                    <a:pt x="163" y="463"/>
                    <a:pt x="165" y="464"/>
                    <a:pt x="162" y="464"/>
                  </a:cubicBezTo>
                  <a:cubicBezTo>
                    <a:pt x="160" y="464"/>
                    <a:pt x="159" y="466"/>
                    <a:pt x="160" y="468"/>
                  </a:cubicBezTo>
                  <a:cubicBezTo>
                    <a:pt x="162" y="469"/>
                    <a:pt x="163" y="472"/>
                    <a:pt x="162" y="474"/>
                  </a:cubicBezTo>
                  <a:cubicBezTo>
                    <a:pt x="160" y="477"/>
                    <a:pt x="154" y="474"/>
                    <a:pt x="153" y="477"/>
                  </a:cubicBezTo>
                  <a:cubicBezTo>
                    <a:pt x="153" y="480"/>
                    <a:pt x="147" y="475"/>
                    <a:pt x="148" y="485"/>
                  </a:cubicBezTo>
                  <a:cubicBezTo>
                    <a:pt x="153" y="481"/>
                    <a:pt x="150" y="486"/>
                    <a:pt x="154" y="483"/>
                  </a:cubicBezTo>
                  <a:cubicBezTo>
                    <a:pt x="157" y="481"/>
                    <a:pt x="157" y="485"/>
                    <a:pt x="154" y="486"/>
                  </a:cubicBezTo>
                  <a:cubicBezTo>
                    <a:pt x="148" y="488"/>
                    <a:pt x="151" y="489"/>
                    <a:pt x="145" y="489"/>
                  </a:cubicBezTo>
                  <a:cubicBezTo>
                    <a:pt x="144" y="489"/>
                    <a:pt x="145" y="494"/>
                    <a:pt x="148" y="492"/>
                  </a:cubicBezTo>
                  <a:cubicBezTo>
                    <a:pt x="150" y="492"/>
                    <a:pt x="153" y="497"/>
                    <a:pt x="150" y="497"/>
                  </a:cubicBezTo>
                  <a:cubicBezTo>
                    <a:pt x="148" y="496"/>
                    <a:pt x="147" y="496"/>
                    <a:pt x="145" y="499"/>
                  </a:cubicBezTo>
                  <a:cubicBezTo>
                    <a:pt x="145" y="502"/>
                    <a:pt x="144" y="502"/>
                    <a:pt x="144" y="503"/>
                  </a:cubicBezTo>
                  <a:cubicBezTo>
                    <a:pt x="145" y="508"/>
                    <a:pt x="144" y="505"/>
                    <a:pt x="140" y="505"/>
                  </a:cubicBezTo>
                  <a:cubicBezTo>
                    <a:pt x="139" y="505"/>
                    <a:pt x="136" y="502"/>
                    <a:pt x="137" y="505"/>
                  </a:cubicBezTo>
                  <a:cubicBezTo>
                    <a:pt x="137" y="506"/>
                    <a:pt x="133" y="506"/>
                    <a:pt x="139" y="508"/>
                  </a:cubicBezTo>
                  <a:cubicBezTo>
                    <a:pt x="144" y="511"/>
                    <a:pt x="140" y="513"/>
                    <a:pt x="145" y="513"/>
                  </a:cubicBezTo>
                  <a:cubicBezTo>
                    <a:pt x="150" y="514"/>
                    <a:pt x="145" y="514"/>
                    <a:pt x="151" y="517"/>
                  </a:cubicBezTo>
                  <a:cubicBezTo>
                    <a:pt x="157" y="519"/>
                    <a:pt x="151" y="516"/>
                    <a:pt x="162" y="527"/>
                  </a:cubicBezTo>
                  <a:cubicBezTo>
                    <a:pt x="163" y="525"/>
                    <a:pt x="166" y="525"/>
                    <a:pt x="168" y="525"/>
                  </a:cubicBezTo>
                  <a:cubicBezTo>
                    <a:pt x="169" y="525"/>
                    <a:pt x="169" y="528"/>
                    <a:pt x="172" y="528"/>
                  </a:cubicBezTo>
                  <a:cubicBezTo>
                    <a:pt x="176" y="528"/>
                    <a:pt x="174" y="531"/>
                    <a:pt x="179" y="528"/>
                  </a:cubicBezTo>
                  <a:cubicBezTo>
                    <a:pt x="182" y="527"/>
                    <a:pt x="183" y="530"/>
                    <a:pt x="185" y="530"/>
                  </a:cubicBezTo>
                  <a:cubicBezTo>
                    <a:pt x="186" y="530"/>
                    <a:pt x="186" y="531"/>
                    <a:pt x="191" y="533"/>
                  </a:cubicBezTo>
                  <a:cubicBezTo>
                    <a:pt x="195" y="534"/>
                    <a:pt x="191" y="534"/>
                    <a:pt x="192" y="536"/>
                  </a:cubicBezTo>
                  <a:cubicBezTo>
                    <a:pt x="195" y="537"/>
                    <a:pt x="197" y="533"/>
                    <a:pt x="198" y="534"/>
                  </a:cubicBezTo>
                  <a:cubicBezTo>
                    <a:pt x="201" y="536"/>
                    <a:pt x="201" y="533"/>
                    <a:pt x="203" y="534"/>
                  </a:cubicBezTo>
                  <a:cubicBezTo>
                    <a:pt x="204" y="534"/>
                    <a:pt x="204" y="536"/>
                    <a:pt x="207" y="536"/>
                  </a:cubicBezTo>
                  <a:cubicBezTo>
                    <a:pt x="211" y="536"/>
                    <a:pt x="206" y="539"/>
                    <a:pt x="207" y="541"/>
                  </a:cubicBezTo>
                  <a:cubicBezTo>
                    <a:pt x="209" y="542"/>
                    <a:pt x="209" y="542"/>
                    <a:pt x="214" y="544"/>
                  </a:cubicBezTo>
                  <a:cubicBezTo>
                    <a:pt x="215" y="547"/>
                    <a:pt x="217" y="542"/>
                    <a:pt x="217" y="545"/>
                  </a:cubicBezTo>
                  <a:cubicBezTo>
                    <a:pt x="218" y="548"/>
                    <a:pt x="220" y="545"/>
                    <a:pt x="220" y="548"/>
                  </a:cubicBezTo>
                  <a:cubicBezTo>
                    <a:pt x="221" y="553"/>
                    <a:pt x="226" y="551"/>
                    <a:pt x="226" y="550"/>
                  </a:cubicBezTo>
                  <a:cubicBezTo>
                    <a:pt x="227" y="548"/>
                    <a:pt x="229" y="547"/>
                    <a:pt x="230" y="545"/>
                  </a:cubicBezTo>
                  <a:cubicBezTo>
                    <a:pt x="226" y="534"/>
                    <a:pt x="221" y="536"/>
                    <a:pt x="223" y="527"/>
                  </a:cubicBezTo>
                  <a:cubicBezTo>
                    <a:pt x="224" y="516"/>
                    <a:pt x="221" y="527"/>
                    <a:pt x="221" y="520"/>
                  </a:cubicBezTo>
                  <a:cubicBezTo>
                    <a:pt x="221" y="514"/>
                    <a:pt x="212" y="516"/>
                    <a:pt x="217" y="513"/>
                  </a:cubicBezTo>
                  <a:cubicBezTo>
                    <a:pt x="220" y="509"/>
                    <a:pt x="221" y="505"/>
                    <a:pt x="226" y="500"/>
                  </a:cubicBezTo>
                  <a:cubicBezTo>
                    <a:pt x="230" y="496"/>
                    <a:pt x="232" y="500"/>
                    <a:pt x="232" y="497"/>
                  </a:cubicBezTo>
                  <a:cubicBezTo>
                    <a:pt x="232" y="496"/>
                    <a:pt x="232" y="497"/>
                    <a:pt x="233" y="492"/>
                  </a:cubicBezTo>
                  <a:cubicBezTo>
                    <a:pt x="226" y="488"/>
                    <a:pt x="238" y="491"/>
                    <a:pt x="230" y="483"/>
                  </a:cubicBezTo>
                  <a:cubicBezTo>
                    <a:pt x="224" y="475"/>
                    <a:pt x="224" y="475"/>
                    <a:pt x="221" y="477"/>
                  </a:cubicBezTo>
                  <a:cubicBezTo>
                    <a:pt x="218" y="477"/>
                    <a:pt x="221" y="472"/>
                    <a:pt x="217" y="469"/>
                  </a:cubicBezTo>
                  <a:cubicBezTo>
                    <a:pt x="211" y="468"/>
                    <a:pt x="220" y="461"/>
                    <a:pt x="217" y="457"/>
                  </a:cubicBezTo>
                  <a:cubicBezTo>
                    <a:pt x="214" y="453"/>
                    <a:pt x="221" y="443"/>
                    <a:pt x="224" y="446"/>
                  </a:cubicBezTo>
                  <a:cubicBezTo>
                    <a:pt x="230" y="455"/>
                    <a:pt x="232" y="452"/>
                    <a:pt x="232" y="446"/>
                  </a:cubicBezTo>
                  <a:cubicBezTo>
                    <a:pt x="232" y="440"/>
                    <a:pt x="242" y="436"/>
                    <a:pt x="247" y="432"/>
                  </a:cubicBezTo>
                  <a:cubicBezTo>
                    <a:pt x="250" y="425"/>
                    <a:pt x="252" y="435"/>
                    <a:pt x="256" y="430"/>
                  </a:cubicBezTo>
                  <a:cubicBezTo>
                    <a:pt x="262" y="427"/>
                    <a:pt x="261" y="432"/>
                    <a:pt x="268" y="433"/>
                  </a:cubicBezTo>
                  <a:cubicBezTo>
                    <a:pt x="276" y="433"/>
                    <a:pt x="284" y="447"/>
                    <a:pt x="290" y="443"/>
                  </a:cubicBezTo>
                  <a:cubicBezTo>
                    <a:pt x="293" y="438"/>
                    <a:pt x="294" y="435"/>
                    <a:pt x="299" y="438"/>
                  </a:cubicBezTo>
                  <a:cubicBezTo>
                    <a:pt x="303" y="441"/>
                    <a:pt x="303" y="433"/>
                    <a:pt x="313" y="441"/>
                  </a:cubicBezTo>
                  <a:cubicBezTo>
                    <a:pt x="322" y="447"/>
                    <a:pt x="317" y="436"/>
                    <a:pt x="323" y="441"/>
                  </a:cubicBezTo>
                  <a:cubicBezTo>
                    <a:pt x="331" y="446"/>
                    <a:pt x="338" y="435"/>
                    <a:pt x="329" y="432"/>
                  </a:cubicBezTo>
                  <a:cubicBezTo>
                    <a:pt x="313" y="424"/>
                    <a:pt x="334" y="425"/>
                    <a:pt x="328" y="419"/>
                  </a:cubicBezTo>
                  <a:cubicBezTo>
                    <a:pt x="322" y="415"/>
                    <a:pt x="343" y="415"/>
                    <a:pt x="335" y="412"/>
                  </a:cubicBezTo>
                  <a:cubicBezTo>
                    <a:pt x="328" y="408"/>
                    <a:pt x="325" y="401"/>
                    <a:pt x="334" y="401"/>
                  </a:cubicBezTo>
                  <a:cubicBezTo>
                    <a:pt x="343" y="401"/>
                    <a:pt x="373" y="394"/>
                    <a:pt x="381" y="390"/>
                  </a:cubicBezTo>
                  <a:cubicBezTo>
                    <a:pt x="390" y="387"/>
                    <a:pt x="392" y="380"/>
                    <a:pt x="398" y="385"/>
                  </a:cubicBezTo>
                  <a:cubicBezTo>
                    <a:pt x="402" y="388"/>
                    <a:pt x="406" y="380"/>
                    <a:pt x="409" y="391"/>
                  </a:cubicBezTo>
                  <a:cubicBezTo>
                    <a:pt x="411" y="404"/>
                    <a:pt x="416" y="396"/>
                    <a:pt x="422" y="399"/>
                  </a:cubicBezTo>
                  <a:cubicBezTo>
                    <a:pt x="428" y="402"/>
                    <a:pt x="433" y="399"/>
                    <a:pt x="428" y="404"/>
                  </a:cubicBezTo>
                  <a:cubicBezTo>
                    <a:pt x="424" y="408"/>
                    <a:pt x="433" y="408"/>
                    <a:pt x="445" y="401"/>
                  </a:cubicBezTo>
                  <a:cubicBezTo>
                    <a:pt x="457" y="391"/>
                    <a:pt x="456" y="398"/>
                    <a:pt x="453" y="401"/>
                  </a:cubicBezTo>
                  <a:cubicBezTo>
                    <a:pt x="450" y="404"/>
                    <a:pt x="462" y="405"/>
                    <a:pt x="472" y="425"/>
                  </a:cubicBezTo>
                  <a:cubicBezTo>
                    <a:pt x="486" y="455"/>
                    <a:pt x="480" y="429"/>
                    <a:pt x="489" y="436"/>
                  </a:cubicBezTo>
                  <a:cubicBezTo>
                    <a:pt x="500" y="446"/>
                    <a:pt x="504" y="433"/>
                    <a:pt x="514" y="443"/>
                  </a:cubicBezTo>
                  <a:cubicBezTo>
                    <a:pt x="521" y="453"/>
                    <a:pt x="524" y="460"/>
                    <a:pt x="530" y="453"/>
                  </a:cubicBezTo>
                  <a:cubicBezTo>
                    <a:pt x="538" y="449"/>
                    <a:pt x="530" y="455"/>
                    <a:pt x="538" y="461"/>
                  </a:cubicBezTo>
                  <a:cubicBezTo>
                    <a:pt x="538" y="461"/>
                    <a:pt x="538" y="461"/>
                    <a:pt x="543" y="460"/>
                  </a:cubicBezTo>
                  <a:cubicBezTo>
                    <a:pt x="547" y="453"/>
                    <a:pt x="546" y="458"/>
                    <a:pt x="553" y="455"/>
                  </a:cubicBezTo>
                  <a:cubicBezTo>
                    <a:pt x="559" y="453"/>
                    <a:pt x="553" y="452"/>
                    <a:pt x="562" y="447"/>
                  </a:cubicBezTo>
                  <a:cubicBezTo>
                    <a:pt x="571" y="443"/>
                    <a:pt x="578" y="440"/>
                    <a:pt x="582" y="443"/>
                  </a:cubicBezTo>
                  <a:cubicBezTo>
                    <a:pt x="587" y="446"/>
                    <a:pt x="593" y="440"/>
                    <a:pt x="594" y="446"/>
                  </a:cubicBezTo>
                  <a:cubicBezTo>
                    <a:pt x="596" y="450"/>
                    <a:pt x="622" y="455"/>
                    <a:pt x="625" y="447"/>
                  </a:cubicBezTo>
                  <a:cubicBezTo>
                    <a:pt x="626" y="441"/>
                    <a:pt x="617" y="441"/>
                    <a:pt x="623" y="433"/>
                  </a:cubicBezTo>
                  <a:cubicBezTo>
                    <a:pt x="629" y="424"/>
                    <a:pt x="626" y="424"/>
                    <a:pt x="640" y="429"/>
                  </a:cubicBezTo>
                  <a:cubicBezTo>
                    <a:pt x="652" y="435"/>
                    <a:pt x="657" y="429"/>
                    <a:pt x="657" y="436"/>
                  </a:cubicBezTo>
                  <a:cubicBezTo>
                    <a:pt x="657" y="444"/>
                    <a:pt x="664" y="450"/>
                    <a:pt x="672" y="447"/>
                  </a:cubicBezTo>
                  <a:cubicBezTo>
                    <a:pt x="681" y="444"/>
                    <a:pt x="683" y="444"/>
                    <a:pt x="693" y="449"/>
                  </a:cubicBezTo>
                  <a:cubicBezTo>
                    <a:pt x="704" y="452"/>
                    <a:pt x="698" y="455"/>
                    <a:pt x="712" y="458"/>
                  </a:cubicBezTo>
                  <a:cubicBezTo>
                    <a:pt x="731" y="463"/>
                    <a:pt x="724" y="455"/>
                    <a:pt x="736" y="457"/>
                  </a:cubicBezTo>
                  <a:cubicBezTo>
                    <a:pt x="748" y="457"/>
                    <a:pt x="745" y="441"/>
                    <a:pt x="756" y="447"/>
                  </a:cubicBezTo>
                  <a:cubicBezTo>
                    <a:pt x="765" y="453"/>
                    <a:pt x="765" y="447"/>
                    <a:pt x="771" y="452"/>
                  </a:cubicBezTo>
                  <a:cubicBezTo>
                    <a:pt x="779" y="457"/>
                    <a:pt x="782" y="457"/>
                    <a:pt x="788" y="450"/>
                  </a:cubicBezTo>
                  <a:cubicBezTo>
                    <a:pt x="794" y="444"/>
                    <a:pt x="792" y="440"/>
                    <a:pt x="800" y="430"/>
                  </a:cubicBezTo>
                  <a:cubicBezTo>
                    <a:pt x="806" y="422"/>
                    <a:pt x="803" y="419"/>
                    <a:pt x="798" y="419"/>
                  </a:cubicBezTo>
                  <a:cubicBezTo>
                    <a:pt x="794" y="419"/>
                    <a:pt x="800" y="410"/>
                    <a:pt x="815" y="408"/>
                  </a:cubicBezTo>
                  <a:cubicBezTo>
                    <a:pt x="829" y="407"/>
                    <a:pt x="833" y="412"/>
                    <a:pt x="838" y="412"/>
                  </a:cubicBezTo>
                  <a:cubicBezTo>
                    <a:pt x="842" y="412"/>
                    <a:pt x="852" y="424"/>
                    <a:pt x="855" y="440"/>
                  </a:cubicBezTo>
                  <a:cubicBezTo>
                    <a:pt x="856" y="457"/>
                    <a:pt x="859" y="455"/>
                    <a:pt x="868" y="457"/>
                  </a:cubicBezTo>
                  <a:cubicBezTo>
                    <a:pt x="877" y="458"/>
                    <a:pt x="874" y="463"/>
                    <a:pt x="879" y="463"/>
                  </a:cubicBezTo>
                  <a:cubicBezTo>
                    <a:pt x="884" y="464"/>
                    <a:pt x="879" y="468"/>
                    <a:pt x="882" y="469"/>
                  </a:cubicBezTo>
                  <a:cubicBezTo>
                    <a:pt x="885" y="471"/>
                    <a:pt x="879" y="472"/>
                    <a:pt x="884" y="475"/>
                  </a:cubicBezTo>
                  <a:cubicBezTo>
                    <a:pt x="888" y="480"/>
                    <a:pt x="894" y="478"/>
                    <a:pt x="899" y="474"/>
                  </a:cubicBezTo>
                  <a:cubicBezTo>
                    <a:pt x="903" y="471"/>
                    <a:pt x="903" y="475"/>
                    <a:pt x="908" y="471"/>
                  </a:cubicBezTo>
                  <a:cubicBezTo>
                    <a:pt x="912" y="466"/>
                    <a:pt x="917" y="474"/>
                    <a:pt x="912" y="480"/>
                  </a:cubicBezTo>
                  <a:cubicBezTo>
                    <a:pt x="908" y="488"/>
                    <a:pt x="905" y="511"/>
                    <a:pt x="899" y="508"/>
                  </a:cubicBezTo>
                  <a:cubicBezTo>
                    <a:pt x="893" y="505"/>
                    <a:pt x="891" y="503"/>
                    <a:pt x="890" y="506"/>
                  </a:cubicBezTo>
                  <a:cubicBezTo>
                    <a:pt x="888" y="511"/>
                    <a:pt x="882" y="506"/>
                    <a:pt x="885" y="513"/>
                  </a:cubicBezTo>
                  <a:cubicBezTo>
                    <a:pt x="887" y="519"/>
                    <a:pt x="888" y="525"/>
                    <a:pt x="885" y="530"/>
                  </a:cubicBezTo>
                  <a:cubicBezTo>
                    <a:pt x="884" y="536"/>
                    <a:pt x="882" y="530"/>
                    <a:pt x="881" y="536"/>
                  </a:cubicBezTo>
                  <a:cubicBezTo>
                    <a:pt x="881" y="536"/>
                    <a:pt x="881" y="536"/>
                    <a:pt x="882" y="539"/>
                  </a:cubicBezTo>
                  <a:cubicBezTo>
                    <a:pt x="885" y="536"/>
                    <a:pt x="882" y="534"/>
                    <a:pt x="884" y="536"/>
                  </a:cubicBezTo>
                  <a:cubicBezTo>
                    <a:pt x="887" y="536"/>
                    <a:pt x="887" y="536"/>
                    <a:pt x="888" y="533"/>
                  </a:cubicBezTo>
                  <a:cubicBezTo>
                    <a:pt x="890" y="530"/>
                    <a:pt x="888" y="528"/>
                    <a:pt x="891" y="528"/>
                  </a:cubicBezTo>
                  <a:cubicBezTo>
                    <a:pt x="893" y="528"/>
                    <a:pt x="890" y="533"/>
                    <a:pt x="893" y="530"/>
                  </a:cubicBezTo>
                  <a:cubicBezTo>
                    <a:pt x="896" y="528"/>
                    <a:pt x="893" y="533"/>
                    <a:pt x="896" y="533"/>
                  </a:cubicBezTo>
                  <a:cubicBezTo>
                    <a:pt x="897" y="533"/>
                    <a:pt x="899" y="534"/>
                    <a:pt x="900" y="534"/>
                  </a:cubicBezTo>
                  <a:cubicBezTo>
                    <a:pt x="902" y="536"/>
                    <a:pt x="902" y="534"/>
                    <a:pt x="906" y="533"/>
                  </a:cubicBezTo>
                  <a:cubicBezTo>
                    <a:pt x="909" y="533"/>
                    <a:pt x="908" y="531"/>
                    <a:pt x="914" y="528"/>
                  </a:cubicBezTo>
                  <a:cubicBezTo>
                    <a:pt x="919" y="525"/>
                    <a:pt x="922" y="516"/>
                    <a:pt x="934" y="505"/>
                  </a:cubicBezTo>
                  <a:cubicBezTo>
                    <a:pt x="944" y="492"/>
                    <a:pt x="941" y="486"/>
                    <a:pt x="946" y="483"/>
                  </a:cubicBezTo>
                  <a:cubicBezTo>
                    <a:pt x="952" y="478"/>
                    <a:pt x="947" y="478"/>
                    <a:pt x="954" y="472"/>
                  </a:cubicBezTo>
                  <a:cubicBezTo>
                    <a:pt x="961" y="466"/>
                    <a:pt x="961" y="449"/>
                    <a:pt x="960" y="444"/>
                  </a:cubicBezTo>
                  <a:cubicBezTo>
                    <a:pt x="958" y="440"/>
                    <a:pt x="961" y="440"/>
                    <a:pt x="963" y="435"/>
                  </a:cubicBezTo>
                  <a:cubicBezTo>
                    <a:pt x="964" y="429"/>
                    <a:pt x="970" y="427"/>
                    <a:pt x="966" y="422"/>
                  </a:cubicBezTo>
                  <a:cubicBezTo>
                    <a:pt x="963" y="419"/>
                    <a:pt x="967" y="419"/>
                    <a:pt x="964" y="416"/>
                  </a:cubicBezTo>
                  <a:cubicBezTo>
                    <a:pt x="963" y="412"/>
                    <a:pt x="970" y="413"/>
                    <a:pt x="966" y="408"/>
                  </a:cubicBezTo>
                  <a:cubicBezTo>
                    <a:pt x="960" y="405"/>
                    <a:pt x="958" y="402"/>
                    <a:pt x="957" y="401"/>
                  </a:cubicBezTo>
                  <a:cubicBezTo>
                    <a:pt x="954" y="398"/>
                    <a:pt x="951" y="401"/>
                    <a:pt x="947" y="399"/>
                  </a:cubicBezTo>
                  <a:cubicBezTo>
                    <a:pt x="944" y="398"/>
                    <a:pt x="947" y="405"/>
                    <a:pt x="940" y="407"/>
                  </a:cubicBezTo>
                  <a:cubicBezTo>
                    <a:pt x="929" y="410"/>
                    <a:pt x="943" y="396"/>
                    <a:pt x="935" y="399"/>
                  </a:cubicBezTo>
                  <a:cubicBezTo>
                    <a:pt x="929" y="401"/>
                    <a:pt x="937" y="404"/>
                    <a:pt x="931" y="404"/>
                  </a:cubicBezTo>
                  <a:cubicBezTo>
                    <a:pt x="925" y="404"/>
                    <a:pt x="937" y="394"/>
                    <a:pt x="926" y="394"/>
                  </a:cubicBezTo>
                  <a:cubicBezTo>
                    <a:pt x="917" y="394"/>
                    <a:pt x="912" y="393"/>
                    <a:pt x="925" y="385"/>
                  </a:cubicBezTo>
                  <a:cubicBezTo>
                    <a:pt x="938" y="376"/>
                    <a:pt x="940" y="376"/>
                    <a:pt x="943" y="368"/>
                  </a:cubicBezTo>
                  <a:cubicBezTo>
                    <a:pt x="946" y="360"/>
                    <a:pt x="957" y="360"/>
                    <a:pt x="960" y="351"/>
                  </a:cubicBezTo>
                  <a:cubicBezTo>
                    <a:pt x="964" y="342"/>
                    <a:pt x="979" y="332"/>
                    <a:pt x="987" y="334"/>
                  </a:cubicBezTo>
                  <a:cubicBezTo>
                    <a:pt x="995" y="337"/>
                    <a:pt x="998" y="332"/>
                    <a:pt x="1002" y="335"/>
                  </a:cubicBezTo>
                  <a:cubicBezTo>
                    <a:pt x="1007" y="338"/>
                    <a:pt x="1002" y="332"/>
                    <a:pt x="1013" y="334"/>
                  </a:cubicBezTo>
                  <a:cubicBezTo>
                    <a:pt x="1025" y="335"/>
                    <a:pt x="1025" y="338"/>
                    <a:pt x="1028" y="331"/>
                  </a:cubicBezTo>
                  <a:cubicBezTo>
                    <a:pt x="1028" y="329"/>
                    <a:pt x="1056" y="329"/>
                    <a:pt x="1047" y="337"/>
                  </a:cubicBezTo>
                  <a:cubicBezTo>
                    <a:pt x="1039" y="343"/>
                    <a:pt x="1059" y="338"/>
                    <a:pt x="1060" y="337"/>
                  </a:cubicBezTo>
                  <a:cubicBezTo>
                    <a:pt x="1063" y="332"/>
                    <a:pt x="1066" y="343"/>
                    <a:pt x="1074" y="337"/>
                  </a:cubicBezTo>
                  <a:cubicBezTo>
                    <a:pt x="1082" y="332"/>
                    <a:pt x="1059" y="332"/>
                    <a:pt x="1075" y="320"/>
                  </a:cubicBezTo>
                  <a:cubicBezTo>
                    <a:pt x="1092" y="309"/>
                    <a:pt x="1085" y="304"/>
                    <a:pt x="1104" y="303"/>
                  </a:cubicBezTo>
                  <a:cubicBezTo>
                    <a:pt x="1121" y="300"/>
                    <a:pt x="1107" y="323"/>
                    <a:pt x="1120" y="317"/>
                  </a:cubicBezTo>
                  <a:cubicBezTo>
                    <a:pt x="1132" y="310"/>
                    <a:pt x="1129" y="303"/>
                    <a:pt x="1136" y="306"/>
                  </a:cubicBezTo>
                  <a:cubicBezTo>
                    <a:pt x="1144" y="307"/>
                    <a:pt x="1132" y="290"/>
                    <a:pt x="1146" y="290"/>
                  </a:cubicBezTo>
                  <a:cubicBezTo>
                    <a:pt x="1159" y="292"/>
                    <a:pt x="1147" y="290"/>
                    <a:pt x="1146" y="304"/>
                  </a:cubicBezTo>
                  <a:cubicBezTo>
                    <a:pt x="1142" y="318"/>
                    <a:pt x="1133" y="314"/>
                    <a:pt x="1121" y="329"/>
                  </a:cubicBezTo>
                  <a:cubicBezTo>
                    <a:pt x="1109" y="345"/>
                    <a:pt x="1103" y="351"/>
                    <a:pt x="1095" y="352"/>
                  </a:cubicBezTo>
                  <a:cubicBezTo>
                    <a:pt x="1086" y="356"/>
                    <a:pt x="1094" y="359"/>
                    <a:pt x="1086" y="365"/>
                  </a:cubicBezTo>
                  <a:cubicBezTo>
                    <a:pt x="1077" y="371"/>
                    <a:pt x="1080" y="398"/>
                    <a:pt x="1085" y="421"/>
                  </a:cubicBezTo>
                  <a:cubicBezTo>
                    <a:pt x="1086" y="430"/>
                    <a:pt x="1085" y="449"/>
                    <a:pt x="1098" y="429"/>
                  </a:cubicBezTo>
                  <a:cubicBezTo>
                    <a:pt x="1107" y="416"/>
                    <a:pt x="1098" y="412"/>
                    <a:pt x="1111" y="412"/>
                  </a:cubicBezTo>
                  <a:cubicBezTo>
                    <a:pt x="1120" y="412"/>
                    <a:pt x="1109" y="396"/>
                    <a:pt x="1121" y="396"/>
                  </a:cubicBezTo>
                  <a:cubicBezTo>
                    <a:pt x="1139" y="394"/>
                    <a:pt x="1124" y="387"/>
                    <a:pt x="1129" y="379"/>
                  </a:cubicBezTo>
                  <a:cubicBezTo>
                    <a:pt x="1133" y="370"/>
                    <a:pt x="1139" y="382"/>
                    <a:pt x="1141" y="374"/>
                  </a:cubicBezTo>
                  <a:cubicBezTo>
                    <a:pt x="1142" y="365"/>
                    <a:pt x="1130" y="368"/>
                    <a:pt x="1136" y="360"/>
                  </a:cubicBezTo>
                  <a:cubicBezTo>
                    <a:pt x="1147" y="348"/>
                    <a:pt x="1121" y="354"/>
                    <a:pt x="1133" y="345"/>
                  </a:cubicBezTo>
                  <a:cubicBezTo>
                    <a:pt x="1146" y="334"/>
                    <a:pt x="1138" y="329"/>
                    <a:pt x="1146" y="326"/>
                  </a:cubicBezTo>
                  <a:cubicBezTo>
                    <a:pt x="1155" y="323"/>
                    <a:pt x="1147" y="331"/>
                    <a:pt x="1158" y="323"/>
                  </a:cubicBezTo>
                  <a:cubicBezTo>
                    <a:pt x="1171" y="312"/>
                    <a:pt x="1155" y="337"/>
                    <a:pt x="1167" y="326"/>
                  </a:cubicBezTo>
                  <a:cubicBezTo>
                    <a:pt x="1181" y="314"/>
                    <a:pt x="1188" y="318"/>
                    <a:pt x="1194" y="326"/>
                  </a:cubicBezTo>
                  <a:cubicBezTo>
                    <a:pt x="1200" y="332"/>
                    <a:pt x="1190" y="325"/>
                    <a:pt x="1213" y="312"/>
                  </a:cubicBezTo>
                  <a:cubicBezTo>
                    <a:pt x="1222" y="307"/>
                    <a:pt x="1229" y="298"/>
                    <a:pt x="1241" y="295"/>
                  </a:cubicBezTo>
                  <a:cubicBezTo>
                    <a:pt x="1263" y="287"/>
                    <a:pt x="1263" y="298"/>
                    <a:pt x="1267" y="293"/>
                  </a:cubicBezTo>
                  <a:cubicBezTo>
                    <a:pt x="1273" y="287"/>
                    <a:pt x="1266" y="286"/>
                    <a:pt x="1263" y="275"/>
                  </a:cubicBezTo>
                  <a:cubicBezTo>
                    <a:pt x="1258" y="262"/>
                    <a:pt x="1255" y="275"/>
                    <a:pt x="1252" y="265"/>
                  </a:cubicBezTo>
                  <a:cubicBezTo>
                    <a:pt x="1251" y="259"/>
                    <a:pt x="1264" y="269"/>
                    <a:pt x="1270" y="259"/>
                  </a:cubicBezTo>
                  <a:cubicBezTo>
                    <a:pt x="1272" y="258"/>
                    <a:pt x="1273" y="258"/>
                    <a:pt x="1273" y="256"/>
                  </a:cubicBezTo>
                  <a:cubicBezTo>
                    <a:pt x="1273" y="256"/>
                    <a:pt x="1273" y="256"/>
                    <a:pt x="1273" y="256"/>
                  </a:cubicBezTo>
                  <a:close/>
                  <a:moveTo>
                    <a:pt x="969" y="421"/>
                  </a:moveTo>
                  <a:cubicBezTo>
                    <a:pt x="967" y="424"/>
                    <a:pt x="970" y="422"/>
                    <a:pt x="969" y="425"/>
                  </a:cubicBezTo>
                  <a:cubicBezTo>
                    <a:pt x="967" y="429"/>
                    <a:pt x="970" y="429"/>
                    <a:pt x="970" y="430"/>
                  </a:cubicBezTo>
                  <a:cubicBezTo>
                    <a:pt x="969" y="430"/>
                    <a:pt x="972" y="430"/>
                    <a:pt x="973" y="435"/>
                  </a:cubicBezTo>
                  <a:cubicBezTo>
                    <a:pt x="975" y="438"/>
                    <a:pt x="970" y="441"/>
                    <a:pt x="972" y="444"/>
                  </a:cubicBezTo>
                  <a:cubicBezTo>
                    <a:pt x="973" y="449"/>
                    <a:pt x="972" y="461"/>
                    <a:pt x="970" y="464"/>
                  </a:cubicBezTo>
                  <a:cubicBezTo>
                    <a:pt x="969" y="468"/>
                    <a:pt x="975" y="468"/>
                    <a:pt x="972" y="477"/>
                  </a:cubicBezTo>
                  <a:cubicBezTo>
                    <a:pt x="969" y="481"/>
                    <a:pt x="973" y="485"/>
                    <a:pt x="972" y="488"/>
                  </a:cubicBezTo>
                  <a:cubicBezTo>
                    <a:pt x="969" y="491"/>
                    <a:pt x="970" y="492"/>
                    <a:pt x="970" y="496"/>
                  </a:cubicBezTo>
                  <a:cubicBezTo>
                    <a:pt x="972" y="500"/>
                    <a:pt x="973" y="499"/>
                    <a:pt x="973" y="494"/>
                  </a:cubicBezTo>
                  <a:cubicBezTo>
                    <a:pt x="975" y="489"/>
                    <a:pt x="977" y="488"/>
                    <a:pt x="978" y="489"/>
                  </a:cubicBezTo>
                  <a:cubicBezTo>
                    <a:pt x="978" y="491"/>
                    <a:pt x="979" y="489"/>
                    <a:pt x="981" y="491"/>
                  </a:cubicBezTo>
                  <a:cubicBezTo>
                    <a:pt x="983" y="491"/>
                    <a:pt x="983" y="497"/>
                    <a:pt x="983" y="496"/>
                  </a:cubicBezTo>
                  <a:cubicBezTo>
                    <a:pt x="986" y="491"/>
                    <a:pt x="984" y="492"/>
                    <a:pt x="984" y="489"/>
                  </a:cubicBezTo>
                  <a:cubicBezTo>
                    <a:pt x="984" y="486"/>
                    <a:pt x="984" y="488"/>
                    <a:pt x="981" y="488"/>
                  </a:cubicBezTo>
                  <a:cubicBezTo>
                    <a:pt x="979" y="486"/>
                    <a:pt x="979" y="483"/>
                    <a:pt x="978" y="480"/>
                  </a:cubicBezTo>
                  <a:cubicBezTo>
                    <a:pt x="973" y="477"/>
                    <a:pt x="977" y="468"/>
                    <a:pt x="978" y="464"/>
                  </a:cubicBezTo>
                  <a:cubicBezTo>
                    <a:pt x="981" y="463"/>
                    <a:pt x="978" y="460"/>
                    <a:pt x="981" y="458"/>
                  </a:cubicBezTo>
                  <a:cubicBezTo>
                    <a:pt x="984" y="458"/>
                    <a:pt x="987" y="458"/>
                    <a:pt x="990" y="461"/>
                  </a:cubicBezTo>
                  <a:cubicBezTo>
                    <a:pt x="992" y="464"/>
                    <a:pt x="993" y="468"/>
                    <a:pt x="993" y="464"/>
                  </a:cubicBezTo>
                  <a:cubicBezTo>
                    <a:pt x="993" y="463"/>
                    <a:pt x="990" y="460"/>
                    <a:pt x="989" y="457"/>
                  </a:cubicBezTo>
                  <a:cubicBezTo>
                    <a:pt x="989" y="452"/>
                    <a:pt x="986" y="446"/>
                    <a:pt x="984" y="441"/>
                  </a:cubicBezTo>
                  <a:cubicBezTo>
                    <a:pt x="984" y="436"/>
                    <a:pt x="983" y="435"/>
                    <a:pt x="983" y="432"/>
                  </a:cubicBezTo>
                  <a:cubicBezTo>
                    <a:pt x="983" y="429"/>
                    <a:pt x="981" y="433"/>
                    <a:pt x="981" y="430"/>
                  </a:cubicBezTo>
                  <a:cubicBezTo>
                    <a:pt x="983" y="425"/>
                    <a:pt x="981" y="430"/>
                    <a:pt x="981" y="427"/>
                  </a:cubicBezTo>
                  <a:cubicBezTo>
                    <a:pt x="979" y="422"/>
                    <a:pt x="984" y="422"/>
                    <a:pt x="983" y="413"/>
                  </a:cubicBezTo>
                  <a:cubicBezTo>
                    <a:pt x="981" y="407"/>
                    <a:pt x="979" y="410"/>
                    <a:pt x="981" y="408"/>
                  </a:cubicBezTo>
                  <a:cubicBezTo>
                    <a:pt x="981" y="407"/>
                    <a:pt x="979" y="408"/>
                    <a:pt x="979" y="407"/>
                  </a:cubicBezTo>
                  <a:cubicBezTo>
                    <a:pt x="979" y="404"/>
                    <a:pt x="978" y="404"/>
                    <a:pt x="979" y="402"/>
                  </a:cubicBezTo>
                  <a:cubicBezTo>
                    <a:pt x="981" y="401"/>
                    <a:pt x="979" y="399"/>
                    <a:pt x="978" y="398"/>
                  </a:cubicBezTo>
                  <a:cubicBezTo>
                    <a:pt x="977" y="394"/>
                    <a:pt x="978" y="398"/>
                    <a:pt x="975" y="398"/>
                  </a:cubicBezTo>
                  <a:cubicBezTo>
                    <a:pt x="972" y="399"/>
                    <a:pt x="978" y="401"/>
                    <a:pt x="977" y="404"/>
                  </a:cubicBezTo>
                  <a:cubicBezTo>
                    <a:pt x="977" y="407"/>
                    <a:pt x="975" y="405"/>
                    <a:pt x="975" y="407"/>
                  </a:cubicBezTo>
                  <a:cubicBezTo>
                    <a:pt x="975" y="408"/>
                    <a:pt x="978" y="407"/>
                    <a:pt x="975" y="408"/>
                  </a:cubicBezTo>
                  <a:cubicBezTo>
                    <a:pt x="973" y="412"/>
                    <a:pt x="975" y="407"/>
                    <a:pt x="972" y="408"/>
                  </a:cubicBezTo>
                  <a:cubicBezTo>
                    <a:pt x="970" y="408"/>
                    <a:pt x="969" y="408"/>
                    <a:pt x="970" y="412"/>
                  </a:cubicBezTo>
                  <a:cubicBezTo>
                    <a:pt x="970" y="413"/>
                    <a:pt x="970" y="416"/>
                    <a:pt x="969" y="421"/>
                  </a:cubicBezTo>
                  <a:close/>
                  <a:moveTo>
                    <a:pt x="1007" y="517"/>
                  </a:moveTo>
                  <a:cubicBezTo>
                    <a:pt x="1010" y="516"/>
                    <a:pt x="1004" y="514"/>
                    <a:pt x="1004" y="516"/>
                  </a:cubicBezTo>
                  <a:cubicBezTo>
                    <a:pt x="1002" y="519"/>
                    <a:pt x="998" y="520"/>
                    <a:pt x="999" y="523"/>
                  </a:cubicBezTo>
                  <a:cubicBezTo>
                    <a:pt x="1001" y="525"/>
                    <a:pt x="1001" y="519"/>
                    <a:pt x="1007" y="517"/>
                  </a:cubicBezTo>
                  <a:close/>
                  <a:moveTo>
                    <a:pt x="1015" y="511"/>
                  </a:moveTo>
                  <a:cubicBezTo>
                    <a:pt x="1018" y="508"/>
                    <a:pt x="1018" y="509"/>
                    <a:pt x="1021" y="506"/>
                  </a:cubicBezTo>
                  <a:cubicBezTo>
                    <a:pt x="1024" y="505"/>
                    <a:pt x="1028" y="506"/>
                    <a:pt x="1025" y="503"/>
                  </a:cubicBezTo>
                  <a:cubicBezTo>
                    <a:pt x="1024" y="502"/>
                    <a:pt x="1022" y="506"/>
                    <a:pt x="1019" y="505"/>
                  </a:cubicBezTo>
                  <a:cubicBezTo>
                    <a:pt x="1018" y="503"/>
                    <a:pt x="1021" y="506"/>
                    <a:pt x="1018" y="506"/>
                  </a:cubicBezTo>
                  <a:cubicBezTo>
                    <a:pt x="1015" y="508"/>
                    <a:pt x="1012" y="509"/>
                    <a:pt x="1010" y="514"/>
                  </a:cubicBezTo>
                  <a:cubicBezTo>
                    <a:pt x="1010" y="516"/>
                    <a:pt x="1013" y="516"/>
                    <a:pt x="1015" y="511"/>
                  </a:cubicBezTo>
                  <a:close/>
                  <a:moveTo>
                    <a:pt x="1031" y="500"/>
                  </a:moveTo>
                  <a:cubicBezTo>
                    <a:pt x="1033" y="497"/>
                    <a:pt x="1037" y="494"/>
                    <a:pt x="1039" y="494"/>
                  </a:cubicBezTo>
                  <a:cubicBezTo>
                    <a:pt x="1040" y="496"/>
                    <a:pt x="1030" y="505"/>
                    <a:pt x="1031" y="500"/>
                  </a:cubicBezTo>
                  <a:close/>
                  <a:moveTo>
                    <a:pt x="1071" y="461"/>
                  </a:moveTo>
                  <a:cubicBezTo>
                    <a:pt x="1071" y="460"/>
                    <a:pt x="1072" y="453"/>
                    <a:pt x="1074" y="455"/>
                  </a:cubicBezTo>
                  <a:cubicBezTo>
                    <a:pt x="1075" y="457"/>
                    <a:pt x="1071" y="461"/>
                    <a:pt x="1071" y="461"/>
                  </a:cubicBezTo>
                  <a:close/>
                  <a:moveTo>
                    <a:pt x="1066" y="464"/>
                  </a:moveTo>
                  <a:cubicBezTo>
                    <a:pt x="1068" y="464"/>
                    <a:pt x="1069" y="463"/>
                    <a:pt x="1069" y="463"/>
                  </a:cubicBezTo>
                  <a:cubicBezTo>
                    <a:pt x="1069" y="464"/>
                    <a:pt x="1066" y="466"/>
                    <a:pt x="1066" y="464"/>
                  </a:cubicBezTo>
                  <a:close/>
                  <a:moveTo>
                    <a:pt x="1060" y="477"/>
                  </a:moveTo>
                  <a:cubicBezTo>
                    <a:pt x="1059" y="477"/>
                    <a:pt x="1059" y="475"/>
                    <a:pt x="1060" y="475"/>
                  </a:cubicBezTo>
                  <a:cubicBezTo>
                    <a:pt x="1060" y="477"/>
                    <a:pt x="1060" y="478"/>
                    <a:pt x="1060" y="477"/>
                  </a:cubicBezTo>
                  <a:close/>
                  <a:moveTo>
                    <a:pt x="1054" y="481"/>
                  </a:moveTo>
                  <a:cubicBezTo>
                    <a:pt x="1054" y="481"/>
                    <a:pt x="1056" y="480"/>
                    <a:pt x="1056" y="481"/>
                  </a:cubicBezTo>
                  <a:cubicBezTo>
                    <a:pt x="1056" y="481"/>
                    <a:pt x="1056" y="483"/>
                    <a:pt x="1054" y="481"/>
                  </a:cubicBezTo>
                  <a:close/>
                  <a:moveTo>
                    <a:pt x="1082" y="447"/>
                  </a:moveTo>
                  <a:cubicBezTo>
                    <a:pt x="1085" y="447"/>
                    <a:pt x="1085" y="441"/>
                    <a:pt x="1083" y="441"/>
                  </a:cubicBezTo>
                  <a:cubicBezTo>
                    <a:pt x="1082" y="441"/>
                    <a:pt x="1082" y="444"/>
                    <a:pt x="1080" y="446"/>
                  </a:cubicBezTo>
                  <a:cubicBezTo>
                    <a:pt x="1077" y="446"/>
                    <a:pt x="1075" y="447"/>
                    <a:pt x="1077" y="449"/>
                  </a:cubicBezTo>
                  <a:cubicBezTo>
                    <a:pt x="1079" y="452"/>
                    <a:pt x="1079" y="449"/>
                    <a:pt x="1082" y="447"/>
                  </a:cubicBezTo>
                  <a:close/>
                  <a:moveTo>
                    <a:pt x="1085" y="443"/>
                  </a:moveTo>
                  <a:cubicBezTo>
                    <a:pt x="1083" y="441"/>
                    <a:pt x="1086" y="440"/>
                    <a:pt x="1088" y="440"/>
                  </a:cubicBezTo>
                  <a:cubicBezTo>
                    <a:pt x="1088" y="441"/>
                    <a:pt x="1086" y="443"/>
                    <a:pt x="1085" y="443"/>
                  </a:cubicBezTo>
                  <a:close/>
                  <a:moveTo>
                    <a:pt x="1162" y="385"/>
                  </a:moveTo>
                  <a:cubicBezTo>
                    <a:pt x="1165" y="384"/>
                    <a:pt x="1170" y="396"/>
                    <a:pt x="1167" y="393"/>
                  </a:cubicBezTo>
                  <a:cubicBezTo>
                    <a:pt x="1164" y="390"/>
                    <a:pt x="1161" y="387"/>
                    <a:pt x="1162" y="385"/>
                  </a:cubicBezTo>
                  <a:close/>
                  <a:moveTo>
                    <a:pt x="0" y="396"/>
                  </a:moveTo>
                  <a:cubicBezTo>
                    <a:pt x="11" y="398"/>
                    <a:pt x="20" y="399"/>
                    <a:pt x="26" y="398"/>
                  </a:cubicBezTo>
                  <a:cubicBezTo>
                    <a:pt x="25" y="393"/>
                    <a:pt x="28" y="391"/>
                    <a:pt x="25" y="390"/>
                  </a:cubicBezTo>
                  <a:cubicBezTo>
                    <a:pt x="22" y="387"/>
                    <a:pt x="25" y="391"/>
                    <a:pt x="14" y="387"/>
                  </a:cubicBezTo>
                  <a:cubicBezTo>
                    <a:pt x="14" y="388"/>
                    <a:pt x="13" y="387"/>
                    <a:pt x="14" y="388"/>
                  </a:cubicBezTo>
                  <a:cubicBezTo>
                    <a:pt x="14" y="391"/>
                    <a:pt x="11" y="391"/>
                    <a:pt x="10" y="391"/>
                  </a:cubicBezTo>
                  <a:cubicBezTo>
                    <a:pt x="8" y="390"/>
                    <a:pt x="11" y="388"/>
                    <a:pt x="11" y="387"/>
                  </a:cubicBezTo>
                  <a:cubicBezTo>
                    <a:pt x="13" y="385"/>
                    <a:pt x="11" y="385"/>
                    <a:pt x="10" y="388"/>
                  </a:cubicBezTo>
                  <a:cubicBezTo>
                    <a:pt x="7" y="391"/>
                    <a:pt x="8" y="390"/>
                    <a:pt x="5" y="390"/>
                  </a:cubicBezTo>
                  <a:cubicBezTo>
                    <a:pt x="2" y="390"/>
                    <a:pt x="5" y="393"/>
                    <a:pt x="0" y="396"/>
                  </a:cubicBezTo>
                  <a:close/>
                  <a:moveTo>
                    <a:pt x="1142" y="342"/>
                  </a:moveTo>
                  <a:cubicBezTo>
                    <a:pt x="1147" y="337"/>
                    <a:pt x="1152" y="334"/>
                    <a:pt x="1152" y="337"/>
                  </a:cubicBezTo>
                  <a:cubicBezTo>
                    <a:pt x="1152" y="340"/>
                    <a:pt x="1141" y="345"/>
                    <a:pt x="1142" y="342"/>
                  </a:cubicBezTo>
                  <a:close/>
                  <a:moveTo>
                    <a:pt x="937" y="393"/>
                  </a:moveTo>
                  <a:cubicBezTo>
                    <a:pt x="934" y="390"/>
                    <a:pt x="935" y="387"/>
                    <a:pt x="938" y="388"/>
                  </a:cubicBezTo>
                  <a:cubicBezTo>
                    <a:pt x="943" y="388"/>
                    <a:pt x="940" y="394"/>
                    <a:pt x="937" y="393"/>
                  </a:cubicBezTo>
                  <a:close/>
                  <a:moveTo>
                    <a:pt x="1274" y="175"/>
                  </a:moveTo>
                  <a:cubicBezTo>
                    <a:pt x="1274" y="175"/>
                    <a:pt x="1274" y="175"/>
                    <a:pt x="1274" y="175"/>
                  </a:cubicBezTo>
                  <a:cubicBezTo>
                    <a:pt x="1278" y="175"/>
                    <a:pt x="1284" y="174"/>
                    <a:pt x="1289" y="172"/>
                  </a:cubicBezTo>
                  <a:cubicBezTo>
                    <a:pt x="1301" y="171"/>
                    <a:pt x="1287" y="163"/>
                    <a:pt x="1278" y="164"/>
                  </a:cubicBezTo>
                  <a:cubicBezTo>
                    <a:pt x="1277" y="164"/>
                    <a:pt x="1275" y="164"/>
                    <a:pt x="1274" y="164"/>
                  </a:cubicBezTo>
                  <a:cubicBezTo>
                    <a:pt x="1273" y="164"/>
                    <a:pt x="1273" y="164"/>
                    <a:pt x="1273" y="164"/>
                  </a:cubicBezTo>
                  <a:cubicBezTo>
                    <a:pt x="1267" y="166"/>
                    <a:pt x="1263" y="171"/>
                    <a:pt x="1261" y="174"/>
                  </a:cubicBezTo>
                  <a:cubicBezTo>
                    <a:pt x="1261" y="177"/>
                    <a:pt x="1267" y="177"/>
                    <a:pt x="1273" y="175"/>
                  </a:cubicBezTo>
                  <a:lnTo>
                    <a:pt x="1274" y="175"/>
                  </a:lnTo>
                  <a:close/>
                  <a:moveTo>
                    <a:pt x="1188" y="192"/>
                  </a:moveTo>
                  <a:cubicBezTo>
                    <a:pt x="1185" y="196"/>
                    <a:pt x="1174" y="191"/>
                    <a:pt x="1176" y="189"/>
                  </a:cubicBezTo>
                  <a:cubicBezTo>
                    <a:pt x="1179" y="188"/>
                    <a:pt x="1191" y="189"/>
                    <a:pt x="1188" y="192"/>
                  </a:cubicBezTo>
                  <a:close/>
                  <a:moveTo>
                    <a:pt x="978" y="132"/>
                  </a:moveTo>
                  <a:cubicBezTo>
                    <a:pt x="969" y="127"/>
                    <a:pt x="964" y="132"/>
                    <a:pt x="957" y="136"/>
                  </a:cubicBezTo>
                  <a:cubicBezTo>
                    <a:pt x="951" y="141"/>
                    <a:pt x="958" y="136"/>
                    <a:pt x="970" y="139"/>
                  </a:cubicBezTo>
                  <a:cubicBezTo>
                    <a:pt x="990" y="143"/>
                    <a:pt x="987" y="136"/>
                    <a:pt x="978" y="132"/>
                  </a:cubicBezTo>
                  <a:close/>
                  <a:moveTo>
                    <a:pt x="1034" y="116"/>
                  </a:moveTo>
                  <a:cubicBezTo>
                    <a:pt x="1042" y="116"/>
                    <a:pt x="1044" y="110"/>
                    <a:pt x="1039" y="112"/>
                  </a:cubicBezTo>
                  <a:cubicBezTo>
                    <a:pt x="1036" y="112"/>
                    <a:pt x="1036" y="105"/>
                    <a:pt x="1028" y="109"/>
                  </a:cubicBezTo>
                  <a:cubicBezTo>
                    <a:pt x="1021" y="112"/>
                    <a:pt x="1030" y="105"/>
                    <a:pt x="1018" y="107"/>
                  </a:cubicBezTo>
                  <a:cubicBezTo>
                    <a:pt x="1005" y="109"/>
                    <a:pt x="1009" y="102"/>
                    <a:pt x="1007" y="105"/>
                  </a:cubicBezTo>
                  <a:cubicBezTo>
                    <a:pt x="1004" y="107"/>
                    <a:pt x="999" y="112"/>
                    <a:pt x="1016" y="115"/>
                  </a:cubicBezTo>
                  <a:cubicBezTo>
                    <a:pt x="1025" y="118"/>
                    <a:pt x="1027" y="116"/>
                    <a:pt x="1034" y="116"/>
                  </a:cubicBezTo>
                  <a:close/>
                  <a:moveTo>
                    <a:pt x="996" y="105"/>
                  </a:moveTo>
                  <a:cubicBezTo>
                    <a:pt x="1002" y="105"/>
                    <a:pt x="989" y="99"/>
                    <a:pt x="981" y="101"/>
                  </a:cubicBezTo>
                  <a:cubicBezTo>
                    <a:pt x="975" y="102"/>
                    <a:pt x="970" y="93"/>
                    <a:pt x="964" y="96"/>
                  </a:cubicBezTo>
                  <a:cubicBezTo>
                    <a:pt x="958" y="99"/>
                    <a:pt x="966" y="102"/>
                    <a:pt x="963" y="104"/>
                  </a:cubicBezTo>
                  <a:cubicBezTo>
                    <a:pt x="960" y="104"/>
                    <a:pt x="952" y="98"/>
                    <a:pt x="947" y="94"/>
                  </a:cubicBezTo>
                  <a:cubicBezTo>
                    <a:pt x="943" y="93"/>
                    <a:pt x="941" y="94"/>
                    <a:pt x="935" y="99"/>
                  </a:cubicBezTo>
                  <a:cubicBezTo>
                    <a:pt x="929" y="102"/>
                    <a:pt x="937" y="105"/>
                    <a:pt x="934" y="107"/>
                  </a:cubicBezTo>
                  <a:cubicBezTo>
                    <a:pt x="929" y="109"/>
                    <a:pt x="935" y="113"/>
                    <a:pt x="946" y="118"/>
                  </a:cubicBezTo>
                  <a:cubicBezTo>
                    <a:pt x="955" y="121"/>
                    <a:pt x="949" y="113"/>
                    <a:pt x="957" y="115"/>
                  </a:cubicBezTo>
                  <a:cubicBezTo>
                    <a:pt x="964" y="118"/>
                    <a:pt x="967" y="110"/>
                    <a:pt x="972" y="115"/>
                  </a:cubicBezTo>
                  <a:cubicBezTo>
                    <a:pt x="977" y="118"/>
                    <a:pt x="983" y="113"/>
                    <a:pt x="992" y="112"/>
                  </a:cubicBezTo>
                  <a:cubicBezTo>
                    <a:pt x="999" y="109"/>
                    <a:pt x="989" y="105"/>
                    <a:pt x="996" y="105"/>
                  </a:cubicBezTo>
                  <a:close/>
                  <a:moveTo>
                    <a:pt x="923" y="107"/>
                  </a:moveTo>
                  <a:cubicBezTo>
                    <a:pt x="917" y="110"/>
                    <a:pt x="920" y="98"/>
                    <a:pt x="923" y="101"/>
                  </a:cubicBezTo>
                  <a:cubicBezTo>
                    <a:pt x="926" y="104"/>
                    <a:pt x="926" y="105"/>
                    <a:pt x="923" y="107"/>
                  </a:cubicBezTo>
                  <a:close/>
                  <a:moveTo>
                    <a:pt x="850" y="150"/>
                  </a:moveTo>
                  <a:cubicBezTo>
                    <a:pt x="853" y="150"/>
                    <a:pt x="852" y="150"/>
                    <a:pt x="858" y="152"/>
                  </a:cubicBezTo>
                  <a:cubicBezTo>
                    <a:pt x="865" y="155"/>
                    <a:pt x="870" y="160"/>
                    <a:pt x="873" y="155"/>
                  </a:cubicBezTo>
                  <a:cubicBezTo>
                    <a:pt x="874" y="150"/>
                    <a:pt x="862" y="150"/>
                    <a:pt x="870" y="149"/>
                  </a:cubicBezTo>
                  <a:cubicBezTo>
                    <a:pt x="876" y="147"/>
                    <a:pt x="861" y="146"/>
                    <a:pt x="868" y="144"/>
                  </a:cubicBezTo>
                  <a:cubicBezTo>
                    <a:pt x="876" y="143"/>
                    <a:pt x="864" y="138"/>
                    <a:pt x="858" y="136"/>
                  </a:cubicBezTo>
                  <a:cubicBezTo>
                    <a:pt x="852" y="133"/>
                    <a:pt x="850" y="143"/>
                    <a:pt x="849" y="138"/>
                  </a:cubicBezTo>
                  <a:cubicBezTo>
                    <a:pt x="847" y="133"/>
                    <a:pt x="842" y="136"/>
                    <a:pt x="836" y="133"/>
                  </a:cubicBezTo>
                  <a:cubicBezTo>
                    <a:pt x="830" y="130"/>
                    <a:pt x="820" y="135"/>
                    <a:pt x="824" y="138"/>
                  </a:cubicBezTo>
                  <a:cubicBezTo>
                    <a:pt x="829" y="143"/>
                    <a:pt x="815" y="144"/>
                    <a:pt x="824" y="146"/>
                  </a:cubicBezTo>
                  <a:cubicBezTo>
                    <a:pt x="832" y="147"/>
                    <a:pt x="835" y="147"/>
                    <a:pt x="845" y="154"/>
                  </a:cubicBezTo>
                  <a:cubicBezTo>
                    <a:pt x="852" y="155"/>
                    <a:pt x="845" y="150"/>
                    <a:pt x="850" y="150"/>
                  </a:cubicBezTo>
                  <a:close/>
                  <a:moveTo>
                    <a:pt x="739" y="121"/>
                  </a:moveTo>
                  <a:cubicBezTo>
                    <a:pt x="731" y="119"/>
                    <a:pt x="727" y="122"/>
                    <a:pt x="734" y="126"/>
                  </a:cubicBezTo>
                  <a:cubicBezTo>
                    <a:pt x="743" y="130"/>
                    <a:pt x="748" y="121"/>
                    <a:pt x="739" y="121"/>
                  </a:cubicBezTo>
                  <a:close/>
                  <a:moveTo>
                    <a:pt x="640" y="65"/>
                  </a:moveTo>
                  <a:cubicBezTo>
                    <a:pt x="648" y="63"/>
                    <a:pt x="654" y="62"/>
                    <a:pt x="667" y="62"/>
                  </a:cubicBezTo>
                  <a:cubicBezTo>
                    <a:pt x="683" y="60"/>
                    <a:pt x="684" y="57"/>
                    <a:pt x="676" y="53"/>
                  </a:cubicBezTo>
                  <a:cubicBezTo>
                    <a:pt x="669" y="46"/>
                    <a:pt x="670" y="45"/>
                    <a:pt x="660" y="51"/>
                  </a:cubicBezTo>
                  <a:cubicBezTo>
                    <a:pt x="651" y="59"/>
                    <a:pt x="667" y="45"/>
                    <a:pt x="663" y="43"/>
                  </a:cubicBezTo>
                  <a:cubicBezTo>
                    <a:pt x="658" y="42"/>
                    <a:pt x="652" y="39"/>
                    <a:pt x="648" y="48"/>
                  </a:cubicBezTo>
                  <a:cubicBezTo>
                    <a:pt x="641" y="57"/>
                    <a:pt x="641" y="49"/>
                    <a:pt x="635" y="63"/>
                  </a:cubicBezTo>
                  <a:cubicBezTo>
                    <a:pt x="632" y="66"/>
                    <a:pt x="634" y="68"/>
                    <a:pt x="640" y="65"/>
                  </a:cubicBezTo>
                  <a:close/>
                  <a:moveTo>
                    <a:pt x="617" y="51"/>
                  </a:moveTo>
                  <a:cubicBezTo>
                    <a:pt x="628" y="56"/>
                    <a:pt x="641" y="51"/>
                    <a:pt x="637" y="48"/>
                  </a:cubicBezTo>
                  <a:cubicBezTo>
                    <a:pt x="632" y="45"/>
                    <a:pt x="643" y="37"/>
                    <a:pt x="638" y="35"/>
                  </a:cubicBezTo>
                  <a:cubicBezTo>
                    <a:pt x="632" y="32"/>
                    <a:pt x="635" y="29"/>
                    <a:pt x="626" y="34"/>
                  </a:cubicBezTo>
                  <a:cubicBezTo>
                    <a:pt x="616" y="37"/>
                    <a:pt x="625" y="31"/>
                    <a:pt x="620" y="31"/>
                  </a:cubicBezTo>
                  <a:cubicBezTo>
                    <a:pt x="616" y="31"/>
                    <a:pt x="603" y="29"/>
                    <a:pt x="597" y="32"/>
                  </a:cubicBezTo>
                  <a:cubicBezTo>
                    <a:pt x="591" y="37"/>
                    <a:pt x="579" y="42"/>
                    <a:pt x="588" y="42"/>
                  </a:cubicBezTo>
                  <a:cubicBezTo>
                    <a:pt x="599" y="42"/>
                    <a:pt x="591" y="45"/>
                    <a:pt x="597" y="48"/>
                  </a:cubicBezTo>
                  <a:cubicBezTo>
                    <a:pt x="600" y="49"/>
                    <a:pt x="605" y="48"/>
                    <a:pt x="617" y="51"/>
                  </a:cubicBezTo>
                  <a:close/>
                  <a:moveTo>
                    <a:pt x="576" y="31"/>
                  </a:moveTo>
                  <a:cubicBezTo>
                    <a:pt x="567" y="31"/>
                    <a:pt x="565" y="34"/>
                    <a:pt x="571" y="35"/>
                  </a:cubicBezTo>
                  <a:cubicBezTo>
                    <a:pt x="578" y="37"/>
                    <a:pt x="574" y="40"/>
                    <a:pt x="581" y="39"/>
                  </a:cubicBezTo>
                  <a:cubicBezTo>
                    <a:pt x="599" y="34"/>
                    <a:pt x="584" y="32"/>
                    <a:pt x="576" y="31"/>
                  </a:cubicBezTo>
                  <a:close/>
                  <a:moveTo>
                    <a:pt x="600" y="29"/>
                  </a:moveTo>
                  <a:cubicBezTo>
                    <a:pt x="614" y="28"/>
                    <a:pt x="620" y="31"/>
                    <a:pt x="616" y="25"/>
                  </a:cubicBezTo>
                  <a:cubicBezTo>
                    <a:pt x="613" y="20"/>
                    <a:pt x="623" y="23"/>
                    <a:pt x="622" y="20"/>
                  </a:cubicBezTo>
                  <a:cubicBezTo>
                    <a:pt x="620" y="17"/>
                    <a:pt x="616" y="20"/>
                    <a:pt x="611" y="15"/>
                  </a:cubicBezTo>
                  <a:cubicBezTo>
                    <a:pt x="605" y="11"/>
                    <a:pt x="603" y="9"/>
                    <a:pt x="597" y="12"/>
                  </a:cubicBezTo>
                  <a:cubicBezTo>
                    <a:pt x="593" y="15"/>
                    <a:pt x="590" y="12"/>
                    <a:pt x="582" y="17"/>
                  </a:cubicBezTo>
                  <a:cubicBezTo>
                    <a:pt x="574" y="21"/>
                    <a:pt x="587" y="18"/>
                    <a:pt x="582" y="21"/>
                  </a:cubicBezTo>
                  <a:cubicBezTo>
                    <a:pt x="576" y="26"/>
                    <a:pt x="567" y="28"/>
                    <a:pt x="573" y="28"/>
                  </a:cubicBezTo>
                  <a:cubicBezTo>
                    <a:pt x="581" y="29"/>
                    <a:pt x="579" y="31"/>
                    <a:pt x="588" y="32"/>
                  </a:cubicBezTo>
                  <a:cubicBezTo>
                    <a:pt x="599" y="32"/>
                    <a:pt x="588" y="29"/>
                    <a:pt x="600" y="29"/>
                  </a:cubicBezTo>
                  <a:close/>
                  <a:moveTo>
                    <a:pt x="561" y="12"/>
                  </a:moveTo>
                  <a:cubicBezTo>
                    <a:pt x="561" y="11"/>
                    <a:pt x="571" y="12"/>
                    <a:pt x="571" y="14"/>
                  </a:cubicBezTo>
                  <a:cubicBezTo>
                    <a:pt x="571" y="15"/>
                    <a:pt x="559" y="15"/>
                    <a:pt x="561" y="12"/>
                  </a:cubicBezTo>
                  <a:close/>
                  <a:moveTo>
                    <a:pt x="600" y="82"/>
                  </a:moveTo>
                  <a:cubicBezTo>
                    <a:pt x="599" y="81"/>
                    <a:pt x="610" y="77"/>
                    <a:pt x="611" y="79"/>
                  </a:cubicBezTo>
                  <a:cubicBezTo>
                    <a:pt x="613" y="81"/>
                    <a:pt x="605" y="84"/>
                    <a:pt x="600" y="8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6" name="Freeform 274"/>
            <p:cNvSpPr>
              <a:spLocks/>
            </p:cNvSpPr>
            <p:nvPr/>
          </p:nvSpPr>
          <p:spPr bwMode="auto">
            <a:xfrm>
              <a:off x="6411687" y="4904439"/>
              <a:ext cx="10530" cy="18823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2" y="7"/>
                </a:cxn>
                <a:cxn ang="0">
                  <a:pos x="2" y="2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cubicBezTo>
                    <a:pt x="2" y="0"/>
                    <a:pt x="4" y="7"/>
                    <a:pt x="2" y="7"/>
                  </a:cubicBezTo>
                  <a:cubicBezTo>
                    <a:pt x="0" y="7"/>
                    <a:pt x="0" y="2"/>
                    <a:pt x="2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7" name="Freeform 275"/>
            <p:cNvSpPr>
              <a:spLocks/>
            </p:cNvSpPr>
            <p:nvPr/>
          </p:nvSpPr>
          <p:spPr bwMode="auto">
            <a:xfrm>
              <a:off x="6447227" y="4940637"/>
              <a:ext cx="7898" cy="14479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2" y="2"/>
                </a:cxn>
                <a:cxn ang="0">
                  <a:pos x="2" y="3"/>
                </a:cxn>
              </a:cxnLst>
              <a:rect l="0" t="0" r="r" b="b"/>
              <a:pathLst>
                <a:path w="3" h="5">
                  <a:moveTo>
                    <a:pt x="2" y="3"/>
                  </a:moveTo>
                  <a:cubicBezTo>
                    <a:pt x="0" y="2"/>
                    <a:pt x="0" y="0"/>
                    <a:pt x="2" y="2"/>
                  </a:cubicBezTo>
                  <a:cubicBezTo>
                    <a:pt x="3" y="2"/>
                    <a:pt x="3" y="5"/>
                    <a:pt x="2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8" name="Freeform 276"/>
            <p:cNvSpPr>
              <a:spLocks/>
            </p:cNvSpPr>
            <p:nvPr/>
          </p:nvSpPr>
          <p:spPr bwMode="auto">
            <a:xfrm>
              <a:off x="6431432" y="4926158"/>
              <a:ext cx="7898" cy="8687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3" y="3"/>
                </a:cxn>
                <a:cxn ang="0">
                  <a:pos x="2" y="0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0" y="2"/>
                    <a:pt x="3" y="3"/>
                    <a:pt x="3" y="3"/>
                  </a:cubicBezTo>
                  <a:cubicBezTo>
                    <a:pt x="3" y="2"/>
                    <a:pt x="3" y="0"/>
                    <a:pt x="2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39" name="Freeform 277"/>
            <p:cNvSpPr>
              <a:spLocks/>
            </p:cNvSpPr>
            <p:nvPr/>
          </p:nvSpPr>
          <p:spPr bwMode="auto">
            <a:xfrm>
              <a:off x="6132638" y="4620656"/>
              <a:ext cx="225082" cy="302605"/>
            </a:xfrm>
            <a:custGeom>
              <a:avLst/>
              <a:gdLst/>
              <a:ahLst/>
              <a:cxnLst>
                <a:cxn ang="0">
                  <a:pos x="2" y="35"/>
                </a:cxn>
                <a:cxn ang="0">
                  <a:pos x="11" y="24"/>
                </a:cxn>
                <a:cxn ang="0">
                  <a:pos x="9" y="17"/>
                </a:cxn>
                <a:cxn ang="0">
                  <a:pos x="11" y="14"/>
                </a:cxn>
                <a:cxn ang="0">
                  <a:pos x="12" y="8"/>
                </a:cxn>
                <a:cxn ang="0">
                  <a:pos x="9" y="0"/>
                </a:cxn>
                <a:cxn ang="0">
                  <a:pos x="37" y="0"/>
                </a:cxn>
                <a:cxn ang="0">
                  <a:pos x="64" y="19"/>
                </a:cxn>
                <a:cxn ang="0">
                  <a:pos x="67" y="27"/>
                </a:cxn>
                <a:cxn ang="0">
                  <a:pos x="79" y="36"/>
                </a:cxn>
                <a:cxn ang="0">
                  <a:pos x="76" y="44"/>
                </a:cxn>
                <a:cxn ang="0">
                  <a:pos x="81" y="58"/>
                </a:cxn>
                <a:cxn ang="0">
                  <a:pos x="81" y="66"/>
                </a:cxn>
                <a:cxn ang="0">
                  <a:pos x="81" y="77"/>
                </a:cxn>
                <a:cxn ang="0">
                  <a:pos x="82" y="89"/>
                </a:cxn>
                <a:cxn ang="0">
                  <a:pos x="88" y="94"/>
                </a:cxn>
                <a:cxn ang="0">
                  <a:pos x="76" y="102"/>
                </a:cxn>
                <a:cxn ang="0">
                  <a:pos x="69" y="102"/>
                </a:cxn>
                <a:cxn ang="0">
                  <a:pos x="61" y="105"/>
                </a:cxn>
                <a:cxn ang="0">
                  <a:pos x="53" y="105"/>
                </a:cxn>
                <a:cxn ang="0">
                  <a:pos x="43" y="103"/>
                </a:cxn>
                <a:cxn ang="0">
                  <a:pos x="41" y="94"/>
                </a:cxn>
                <a:cxn ang="0">
                  <a:pos x="37" y="84"/>
                </a:cxn>
                <a:cxn ang="0">
                  <a:pos x="29" y="83"/>
                </a:cxn>
                <a:cxn ang="0">
                  <a:pos x="21" y="78"/>
                </a:cxn>
                <a:cxn ang="0">
                  <a:pos x="18" y="77"/>
                </a:cxn>
                <a:cxn ang="0">
                  <a:pos x="12" y="70"/>
                </a:cxn>
                <a:cxn ang="0">
                  <a:pos x="9" y="63"/>
                </a:cxn>
                <a:cxn ang="0">
                  <a:pos x="2" y="49"/>
                </a:cxn>
                <a:cxn ang="0">
                  <a:pos x="2" y="35"/>
                </a:cxn>
              </a:cxnLst>
              <a:rect l="0" t="0" r="r" b="b"/>
              <a:pathLst>
                <a:path w="88" h="108">
                  <a:moveTo>
                    <a:pt x="2" y="35"/>
                  </a:moveTo>
                  <a:cubicBezTo>
                    <a:pt x="8" y="33"/>
                    <a:pt x="6" y="28"/>
                    <a:pt x="11" y="24"/>
                  </a:cubicBezTo>
                  <a:cubicBezTo>
                    <a:pt x="15" y="19"/>
                    <a:pt x="9" y="19"/>
                    <a:pt x="9" y="17"/>
                  </a:cubicBezTo>
                  <a:cubicBezTo>
                    <a:pt x="9" y="16"/>
                    <a:pt x="11" y="16"/>
                    <a:pt x="11" y="14"/>
                  </a:cubicBezTo>
                  <a:cubicBezTo>
                    <a:pt x="12" y="14"/>
                    <a:pt x="12" y="13"/>
                    <a:pt x="12" y="8"/>
                  </a:cubicBezTo>
                  <a:cubicBezTo>
                    <a:pt x="11" y="2"/>
                    <a:pt x="9" y="3"/>
                    <a:pt x="9" y="0"/>
                  </a:cubicBezTo>
                  <a:cubicBezTo>
                    <a:pt x="12" y="0"/>
                    <a:pt x="32" y="0"/>
                    <a:pt x="37" y="0"/>
                  </a:cubicBezTo>
                  <a:cubicBezTo>
                    <a:pt x="53" y="11"/>
                    <a:pt x="60" y="16"/>
                    <a:pt x="64" y="19"/>
                  </a:cubicBezTo>
                  <a:cubicBezTo>
                    <a:pt x="70" y="22"/>
                    <a:pt x="64" y="22"/>
                    <a:pt x="67" y="27"/>
                  </a:cubicBezTo>
                  <a:cubicBezTo>
                    <a:pt x="72" y="30"/>
                    <a:pt x="78" y="36"/>
                    <a:pt x="79" y="36"/>
                  </a:cubicBezTo>
                  <a:cubicBezTo>
                    <a:pt x="76" y="41"/>
                    <a:pt x="78" y="41"/>
                    <a:pt x="76" y="44"/>
                  </a:cubicBezTo>
                  <a:cubicBezTo>
                    <a:pt x="73" y="52"/>
                    <a:pt x="78" y="55"/>
                    <a:pt x="81" y="58"/>
                  </a:cubicBezTo>
                  <a:cubicBezTo>
                    <a:pt x="82" y="63"/>
                    <a:pt x="78" y="59"/>
                    <a:pt x="81" y="66"/>
                  </a:cubicBezTo>
                  <a:cubicBezTo>
                    <a:pt x="82" y="72"/>
                    <a:pt x="78" y="69"/>
                    <a:pt x="81" y="77"/>
                  </a:cubicBezTo>
                  <a:cubicBezTo>
                    <a:pt x="84" y="84"/>
                    <a:pt x="81" y="84"/>
                    <a:pt x="82" y="89"/>
                  </a:cubicBezTo>
                  <a:cubicBezTo>
                    <a:pt x="85" y="92"/>
                    <a:pt x="85" y="89"/>
                    <a:pt x="88" y="94"/>
                  </a:cubicBezTo>
                  <a:cubicBezTo>
                    <a:pt x="85" y="97"/>
                    <a:pt x="82" y="98"/>
                    <a:pt x="76" y="102"/>
                  </a:cubicBezTo>
                  <a:cubicBezTo>
                    <a:pt x="70" y="105"/>
                    <a:pt x="69" y="97"/>
                    <a:pt x="69" y="102"/>
                  </a:cubicBezTo>
                  <a:cubicBezTo>
                    <a:pt x="67" y="106"/>
                    <a:pt x="63" y="106"/>
                    <a:pt x="61" y="105"/>
                  </a:cubicBezTo>
                  <a:cubicBezTo>
                    <a:pt x="60" y="103"/>
                    <a:pt x="56" y="108"/>
                    <a:pt x="53" y="105"/>
                  </a:cubicBezTo>
                  <a:cubicBezTo>
                    <a:pt x="50" y="100"/>
                    <a:pt x="50" y="106"/>
                    <a:pt x="43" y="103"/>
                  </a:cubicBezTo>
                  <a:cubicBezTo>
                    <a:pt x="40" y="98"/>
                    <a:pt x="43" y="98"/>
                    <a:pt x="41" y="94"/>
                  </a:cubicBezTo>
                  <a:cubicBezTo>
                    <a:pt x="40" y="89"/>
                    <a:pt x="38" y="86"/>
                    <a:pt x="37" y="84"/>
                  </a:cubicBezTo>
                  <a:cubicBezTo>
                    <a:pt x="34" y="84"/>
                    <a:pt x="31" y="84"/>
                    <a:pt x="29" y="83"/>
                  </a:cubicBezTo>
                  <a:cubicBezTo>
                    <a:pt x="21" y="78"/>
                    <a:pt x="23" y="81"/>
                    <a:pt x="21" y="78"/>
                  </a:cubicBezTo>
                  <a:cubicBezTo>
                    <a:pt x="20" y="75"/>
                    <a:pt x="20" y="80"/>
                    <a:pt x="18" y="77"/>
                  </a:cubicBezTo>
                  <a:cubicBezTo>
                    <a:pt x="17" y="74"/>
                    <a:pt x="14" y="75"/>
                    <a:pt x="12" y="70"/>
                  </a:cubicBezTo>
                  <a:cubicBezTo>
                    <a:pt x="11" y="69"/>
                    <a:pt x="9" y="67"/>
                    <a:pt x="9" y="63"/>
                  </a:cubicBezTo>
                  <a:cubicBezTo>
                    <a:pt x="8" y="59"/>
                    <a:pt x="0" y="53"/>
                    <a:pt x="2" y="49"/>
                  </a:cubicBezTo>
                  <a:cubicBezTo>
                    <a:pt x="3" y="44"/>
                    <a:pt x="0" y="41"/>
                    <a:pt x="2" y="3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0" name="Freeform 278"/>
            <p:cNvSpPr>
              <a:spLocks/>
            </p:cNvSpPr>
            <p:nvPr/>
          </p:nvSpPr>
          <p:spPr bwMode="auto">
            <a:xfrm>
              <a:off x="6330079" y="4746621"/>
              <a:ext cx="11846" cy="27509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3" y="7"/>
                </a:cxn>
                <a:cxn ang="0">
                  <a:pos x="2" y="9"/>
                </a:cxn>
              </a:cxnLst>
              <a:rect l="0" t="0" r="r" b="b"/>
              <a:pathLst>
                <a:path w="5" h="10">
                  <a:moveTo>
                    <a:pt x="2" y="9"/>
                  </a:moveTo>
                  <a:cubicBezTo>
                    <a:pt x="2" y="7"/>
                    <a:pt x="0" y="4"/>
                    <a:pt x="2" y="4"/>
                  </a:cubicBezTo>
                  <a:cubicBezTo>
                    <a:pt x="2" y="2"/>
                    <a:pt x="2" y="0"/>
                    <a:pt x="3" y="4"/>
                  </a:cubicBezTo>
                  <a:cubicBezTo>
                    <a:pt x="3" y="7"/>
                    <a:pt x="3" y="5"/>
                    <a:pt x="3" y="7"/>
                  </a:cubicBezTo>
                  <a:cubicBezTo>
                    <a:pt x="5" y="9"/>
                    <a:pt x="5" y="10"/>
                    <a:pt x="2" y="9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1" name="Freeform 279"/>
            <p:cNvSpPr>
              <a:spLocks/>
            </p:cNvSpPr>
            <p:nvPr/>
          </p:nvSpPr>
          <p:spPr bwMode="auto">
            <a:xfrm>
              <a:off x="6337976" y="4727799"/>
              <a:ext cx="6581" cy="15926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3"/>
                </a:cxn>
                <a:cxn ang="0">
                  <a:pos x="3" y="1"/>
                </a:cxn>
                <a:cxn ang="0">
                  <a:pos x="3" y="4"/>
                </a:cxn>
                <a:cxn ang="0">
                  <a:pos x="2" y="6"/>
                </a:cxn>
              </a:cxnLst>
              <a:rect l="0" t="0" r="r" b="b"/>
              <a:pathLst>
                <a:path w="3" h="6">
                  <a:moveTo>
                    <a:pt x="2" y="6"/>
                  </a:moveTo>
                  <a:cubicBezTo>
                    <a:pt x="0" y="4"/>
                    <a:pt x="2" y="4"/>
                    <a:pt x="2" y="3"/>
                  </a:cubicBezTo>
                  <a:cubicBezTo>
                    <a:pt x="2" y="1"/>
                    <a:pt x="2" y="0"/>
                    <a:pt x="3" y="1"/>
                  </a:cubicBezTo>
                  <a:cubicBezTo>
                    <a:pt x="3" y="1"/>
                    <a:pt x="3" y="1"/>
                    <a:pt x="3" y="4"/>
                  </a:cubicBezTo>
                  <a:cubicBezTo>
                    <a:pt x="3" y="6"/>
                    <a:pt x="3" y="6"/>
                    <a:pt x="2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2" name="Freeform 280"/>
            <p:cNvSpPr>
              <a:spLocks/>
            </p:cNvSpPr>
            <p:nvPr/>
          </p:nvSpPr>
          <p:spPr bwMode="auto">
            <a:xfrm>
              <a:off x="6337976" y="4800192"/>
              <a:ext cx="11846" cy="14479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3" y="2"/>
                </a:cxn>
                <a:cxn ang="0">
                  <a:pos x="2" y="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0" y="5"/>
                    <a:pt x="5" y="0"/>
                    <a:pt x="3" y="2"/>
                  </a:cubicBezTo>
                  <a:cubicBezTo>
                    <a:pt x="3" y="3"/>
                    <a:pt x="3" y="5"/>
                    <a:pt x="2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3" name="Freeform 283"/>
            <p:cNvSpPr>
              <a:spLocks/>
            </p:cNvSpPr>
            <p:nvPr/>
          </p:nvSpPr>
          <p:spPr bwMode="auto">
            <a:xfrm>
              <a:off x="5870700" y="3345082"/>
              <a:ext cx="17111" cy="5791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3" y="2"/>
                </a:cxn>
                <a:cxn ang="0">
                  <a:pos x="1" y="2"/>
                </a:cxn>
                <a:cxn ang="0">
                  <a:pos x="6" y="2"/>
                </a:cxn>
              </a:cxnLst>
              <a:rect l="0" t="0" r="r" b="b"/>
              <a:pathLst>
                <a:path w="7" h="2">
                  <a:moveTo>
                    <a:pt x="6" y="2"/>
                  </a:moveTo>
                  <a:cubicBezTo>
                    <a:pt x="7" y="2"/>
                    <a:pt x="4" y="2"/>
                    <a:pt x="3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3" y="0"/>
                    <a:pt x="4" y="2"/>
                    <a:pt x="6" y="2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4" name="Freeform 284"/>
            <p:cNvSpPr>
              <a:spLocks/>
            </p:cNvSpPr>
            <p:nvPr/>
          </p:nvSpPr>
          <p:spPr bwMode="auto">
            <a:xfrm>
              <a:off x="5870700" y="3342186"/>
              <a:ext cx="14479" cy="289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4" y="1"/>
                </a:cxn>
                <a:cxn ang="0">
                  <a:pos x="1" y="1"/>
                </a:cxn>
              </a:cxnLst>
              <a:rect l="0" t="0" r="r" b="b"/>
              <a:pathLst>
                <a:path w="6" h="1">
                  <a:moveTo>
                    <a:pt x="1" y="1"/>
                  </a:moveTo>
                  <a:cubicBezTo>
                    <a:pt x="0" y="0"/>
                    <a:pt x="6" y="1"/>
                    <a:pt x="4" y="1"/>
                  </a:cubicBezTo>
                  <a:cubicBezTo>
                    <a:pt x="3" y="1"/>
                    <a:pt x="1" y="1"/>
                    <a:pt x="1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5" name="Freeform 285"/>
            <p:cNvSpPr>
              <a:spLocks/>
            </p:cNvSpPr>
            <p:nvPr/>
          </p:nvSpPr>
          <p:spPr bwMode="auto">
            <a:xfrm>
              <a:off x="5873333" y="3356665"/>
              <a:ext cx="11846" cy="2895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1"/>
                </a:cxn>
              </a:cxnLst>
              <a:rect l="0" t="0" r="r" b="b"/>
              <a:pathLst>
                <a:path w="5" h="1">
                  <a:moveTo>
                    <a:pt x="2" y="1"/>
                  </a:moveTo>
                  <a:cubicBezTo>
                    <a:pt x="0" y="0"/>
                    <a:pt x="5" y="0"/>
                    <a:pt x="5" y="1"/>
                  </a:cubicBezTo>
                  <a:cubicBezTo>
                    <a:pt x="5" y="1"/>
                    <a:pt x="5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6" name="Freeform 286"/>
            <p:cNvSpPr>
              <a:spLocks/>
            </p:cNvSpPr>
            <p:nvPr/>
          </p:nvSpPr>
          <p:spPr bwMode="auto">
            <a:xfrm>
              <a:off x="5829895" y="3285720"/>
              <a:ext cx="6581" cy="8687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3" y="3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2" y="3"/>
                    <a:pt x="0" y="1"/>
                    <a:pt x="0" y="1"/>
                  </a:cubicBezTo>
                  <a:cubicBezTo>
                    <a:pt x="2" y="0"/>
                    <a:pt x="0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3"/>
                    <a:pt x="3" y="3"/>
                    <a:pt x="3" y="3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7" name="Freeform 287"/>
            <p:cNvSpPr>
              <a:spLocks/>
            </p:cNvSpPr>
            <p:nvPr/>
          </p:nvSpPr>
          <p:spPr bwMode="auto">
            <a:xfrm>
              <a:off x="5827263" y="3285720"/>
              <a:ext cx="6581" cy="20270"/>
            </a:xfrm>
            <a:custGeom>
              <a:avLst/>
              <a:gdLst/>
              <a:ahLst/>
              <a:cxnLst>
                <a:cxn ang="0">
                  <a:pos x="3" y="6"/>
                </a:cxn>
                <a:cxn ang="0">
                  <a:pos x="1" y="3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3" y="6"/>
                </a:cxn>
              </a:cxnLst>
              <a:rect l="0" t="0" r="r" b="b"/>
              <a:pathLst>
                <a:path w="3" h="7">
                  <a:moveTo>
                    <a:pt x="3" y="6"/>
                  </a:moveTo>
                  <a:cubicBezTo>
                    <a:pt x="1" y="4"/>
                    <a:pt x="0" y="3"/>
                    <a:pt x="1" y="3"/>
                  </a:cubicBezTo>
                  <a:cubicBezTo>
                    <a:pt x="1" y="3"/>
                    <a:pt x="1" y="4"/>
                    <a:pt x="1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1"/>
                    <a:pt x="3" y="7"/>
                    <a:pt x="3" y="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8" name="Freeform 288"/>
            <p:cNvSpPr>
              <a:spLocks/>
            </p:cNvSpPr>
            <p:nvPr/>
          </p:nvSpPr>
          <p:spPr bwMode="auto">
            <a:xfrm>
              <a:off x="5833845" y="3297302"/>
              <a:ext cx="10530" cy="17374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4" y="5"/>
                </a:cxn>
              </a:cxnLst>
              <a:rect l="0" t="0" r="r" b="b"/>
              <a:pathLst>
                <a:path w="4" h="6">
                  <a:moveTo>
                    <a:pt x="4" y="5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0" y="0"/>
                    <a:pt x="1" y="2"/>
                    <a:pt x="1" y="3"/>
                  </a:cubicBezTo>
                  <a:cubicBezTo>
                    <a:pt x="3" y="3"/>
                    <a:pt x="4" y="6"/>
                    <a:pt x="4" y="5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49" name="Freeform 301"/>
            <p:cNvSpPr>
              <a:spLocks/>
            </p:cNvSpPr>
            <p:nvPr/>
          </p:nvSpPr>
          <p:spPr bwMode="auto">
            <a:xfrm>
              <a:off x="5569274" y="3365353"/>
              <a:ext cx="5265" cy="8687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2" y="3"/>
                </a:cxn>
                <a:cxn ang="0">
                  <a:pos x="0" y="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3"/>
                    <a:pt x="2" y="3"/>
                    <a:pt x="2" y="3"/>
                  </a:cubicBezTo>
                  <a:cubicBezTo>
                    <a:pt x="2" y="1"/>
                    <a:pt x="2" y="0"/>
                    <a:pt x="0" y="1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0" name="Freeform 249"/>
            <p:cNvSpPr/>
            <p:nvPr/>
          </p:nvSpPr>
          <p:spPr bwMode="ltGray">
            <a:xfrm>
              <a:off x="6019736" y="4263157"/>
              <a:ext cx="215546" cy="67346"/>
            </a:xfrm>
            <a:custGeom>
              <a:avLst/>
              <a:gdLst>
                <a:gd name="connsiteX0" fmla="*/ 0 w 235744"/>
                <a:gd name="connsiteY0" fmla="*/ 64294 h 66960"/>
                <a:gd name="connsiteX1" fmla="*/ 16669 w 235744"/>
                <a:gd name="connsiteY1" fmla="*/ 54769 h 66960"/>
                <a:gd name="connsiteX2" fmla="*/ 14288 w 235744"/>
                <a:gd name="connsiteY2" fmla="*/ 47625 h 66960"/>
                <a:gd name="connsiteX3" fmla="*/ 16669 w 235744"/>
                <a:gd name="connsiteY3" fmla="*/ 35719 h 66960"/>
                <a:gd name="connsiteX4" fmla="*/ 30956 w 235744"/>
                <a:gd name="connsiteY4" fmla="*/ 30956 h 66960"/>
                <a:gd name="connsiteX5" fmla="*/ 38100 w 235744"/>
                <a:gd name="connsiteY5" fmla="*/ 35719 h 66960"/>
                <a:gd name="connsiteX6" fmla="*/ 42863 w 235744"/>
                <a:gd name="connsiteY6" fmla="*/ 42863 h 66960"/>
                <a:gd name="connsiteX7" fmla="*/ 50006 w 235744"/>
                <a:gd name="connsiteY7" fmla="*/ 50006 h 66960"/>
                <a:gd name="connsiteX8" fmla="*/ 52388 w 235744"/>
                <a:gd name="connsiteY8" fmla="*/ 57150 h 66960"/>
                <a:gd name="connsiteX9" fmla="*/ 71438 w 235744"/>
                <a:gd name="connsiteY9" fmla="*/ 57150 h 66960"/>
                <a:gd name="connsiteX10" fmla="*/ 95250 w 235744"/>
                <a:gd name="connsiteY10" fmla="*/ 59531 h 66960"/>
                <a:gd name="connsiteX11" fmla="*/ 100013 w 235744"/>
                <a:gd name="connsiteY11" fmla="*/ 66675 h 66960"/>
                <a:gd name="connsiteX12" fmla="*/ 114300 w 235744"/>
                <a:gd name="connsiteY12" fmla="*/ 64294 h 66960"/>
                <a:gd name="connsiteX13" fmla="*/ 116681 w 235744"/>
                <a:gd name="connsiteY13" fmla="*/ 52388 h 66960"/>
                <a:gd name="connsiteX14" fmla="*/ 140494 w 235744"/>
                <a:gd name="connsiteY14" fmla="*/ 50006 h 66960"/>
                <a:gd name="connsiteX15" fmla="*/ 147638 w 235744"/>
                <a:gd name="connsiteY15" fmla="*/ 47625 h 66960"/>
                <a:gd name="connsiteX16" fmla="*/ 152400 w 235744"/>
                <a:gd name="connsiteY16" fmla="*/ 40481 h 66960"/>
                <a:gd name="connsiteX17" fmla="*/ 169069 w 235744"/>
                <a:gd name="connsiteY17" fmla="*/ 38100 h 66960"/>
                <a:gd name="connsiteX18" fmla="*/ 176213 w 235744"/>
                <a:gd name="connsiteY18" fmla="*/ 35719 h 66960"/>
                <a:gd name="connsiteX19" fmla="*/ 178594 w 235744"/>
                <a:gd name="connsiteY19" fmla="*/ 23813 h 66960"/>
                <a:gd name="connsiteX20" fmla="*/ 180975 w 235744"/>
                <a:gd name="connsiteY20" fmla="*/ 16669 h 66960"/>
                <a:gd name="connsiteX21" fmla="*/ 183356 w 235744"/>
                <a:gd name="connsiteY21" fmla="*/ 2381 h 66960"/>
                <a:gd name="connsiteX22" fmla="*/ 190500 w 235744"/>
                <a:gd name="connsiteY22" fmla="*/ 0 h 66960"/>
                <a:gd name="connsiteX23" fmla="*/ 195263 w 235744"/>
                <a:gd name="connsiteY23" fmla="*/ 16669 h 66960"/>
                <a:gd name="connsiteX24" fmla="*/ 200025 w 235744"/>
                <a:gd name="connsiteY24" fmla="*/ 30956 h 66960"/>
                <a:gd name="connsiteX25" fmla="*/ 216694 w 235744"/>
                <a:gd name="connsiteY25" fmla="*/ 47625 h 66960"/>
                <a:gd name="connsiteX26" fmla="*/ 228600 w 235744"/>
                <a:gd name="connsiteY26" fmla="*/ 50006 h 66960"/>
                <a:gd name="connsiteX27" fmla="*/ 235744 w 235744"/>
                <a:gd name="connsiteY27" fmla="*/ 54769 h 66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35744" h="66960">
                  <a:moveTo>
                    <a:pt x="0" y="64294"/>
                  </a:moveTo>
                  <a:cubicBezTo>
                    <a:pt x="7024" y="62889"/>
                    <a:pt x="15098" y="64193"/>
                    <a:pt x="16669" y="54769"/>
                  </a:cubicBezTo>
                  <a:cubicBezTo>
                    <a:pt x="17082" y="52293"/>
                    <a:pt x="15082" y="50006"/>
                    <a:pt x="14288" y="47625"/>
                  </a:cubicBezTo>
                  <a:cubicBezTo>
                    <a:pt x="15082" y="43656"/>
                    <a:pt x="13807" y="38581"/>
                    <a:pt x="16669" y="35719"/>
                  </a:cubicBezTo>
                  <a:cubicBezTo>
                    <a:pt x="20219" y="32169"/>
                    <a:pt x="30956" y="30956"/>
                    <a:pt x="30956" y="30956"/>
                  </a:cubicBezTo>
                  <a:cubicBezTo>
                    <a:pt x="33337" y="32544"/>
                    <a:pt x="36076" y="33695"/>
                    <a:pt x="38100" y="35719"/>
                  </a:cubicBezTo>
                  <a:cubicBezTo>
                    <a:pt x="40124" y="37743"/>
                    <a:pt x="41031" y="40664"/>
                    <a:pt x="42863" y="42863"/>
                  </a:cubicBezTo>
                  <a:cubicBezTo>
                    <a:pt x="45019" y="45450"/>
                    <a:pt x="47625" y="47625"/>
                    <a:pt x="50006" y="50006"/>
                  </a:cubicBezTo>
                  <a:cubicBezTo>
                    <a:pt x="50800" y="52387"/>
                    <a:pt x="50613" y="55375"/>
                    <a:pt x="52388" y="57150"/>
                  </a:cubicBezTo>
                  <a:cubicBezTo>
                    <a:pt x="57269" y="62031"/>
                    <a:pt x="66910" y="58055"/>
                    <a:pt x="71438" y="57150"/>
                  </a:cubicBezTo>
                  <a:cubicBezTo>
                    <a:pt x="79375" y="57944"/>
                    <a:pt x="87682" y="57008"/>
                    <a:pt x="95250" y="59531"/>
                  </a:cubicBezTo>
                  <a:cubicBezTo>
                    <a:pt x="97965" y="60436"/>
                    <a:pt x="97236" y="65981"/>
                    <a:pt x="100013" y="66675"/>
                  </a:cubicBezTo>
                  <a:cubicBezTo>
                    <a:pt x="104697" y="67846"/>
                    <a:pt x="109538" y="65088"/>
                    <a:pt x="114300" y="64294"/>
                  </a:cubicBezTo>
                  <a:cubicBezTo>
                    <a:pt x="115094" y="60325"/>
                    <a:pt x="114673" y="55902"/>
                    <a:pt x="116681" y="52388"/>
                  </a:cubicBezTo>
                  <a:cubicBezTo>
                    <a:pt x="121734" y="43546"/>
                    <a:pt x="134251" y="49114"/>
                    <a:pt x="140494" y="50006"/>
                  </a:cubicBezTo>
                  <a:cubicBezTo>
                    <a:pt x="142875" y="49212"/>
                    <a:pt x="145678" y="49193"/>
                    <a:pt x="147638" y="47625"/>
                  </a:cubicBezTo>
                  <a:cubicBezTo>
                    <a:pt x="149873" y="45837"/>
                    <a:pt x="149785" y="41643"/>
                    <a:pt x="152400" y="40481"/>
                  </a:cubicBezTo>
                  <a:cubicBezTo>
                    <a:pt x="157529" y="38201"/>
                    <a:pt x="163513" y="38894"/>
                    <a:pt x="169069" y="38100"/>
                  </a:cubicBezTo>
                  <a:cubicBezTo>
                    <a:pt x="171450" y="37306"/>
                    <a:pt x="174821" y="37808"/>
                    <a:pt x="176213" y="35719"/>
                  </a:cubicBezTo>
                  <a:cubicBezTo>
                    <a:pt x="178458" y="32352"/>
                    <a:pt x="177612" y="27739"/>
                    <a:pt x="178594" y="23813"/>
                  </a:cubicBezTo>
                  <a:cubicBezTo>
                    <a:pt x="179203" y="21378"/>
                    <a:pt x="180431" y="19119"/>
                    <a:pt x="180975" y="16669"/>
                  </a:cubicBezTo>
                  <a:cubicBezTo>
                    <a:pt x="182022" y="11956"/>
                    <a:pt x="180960" y="6573"/>
                    <a:pt x="183356" y="2381"/>
                  </a:cubicBezTo>
                  <a:cubicBezTo>
                    <a:pt x="184601" y="202"/>
                    <a:pt x="188119" y="794"/>
                    <a:pt x="190500" y="0"/>
                  </a:cubicBezTo>
                  <a:cubicBezTo>
                    <a:pt x="198505" y="24018"/>
                    <a:pt x="186289" y="-13243"/>
                    <a:pt x="195263" y="16669"/>
                  </a:cubicBezTo>
                  <a:cubicBezTo>
                    <a:pt x="196706" y="21477"/>
                    <a:pt x="198438" y="26194"/>
                    <a:pt x="200025" y="30956"/>
                  </a:cubicBezTo>
                  <a:cubicBezTo>
                    <a:pt x="203019" y="39940"/>
                    <a:pt x="203046" y="44896"/>
                    <a:pt x="216694" y="47625"/>
                  </a:cubicBezTo>
                  <a:lnTo>
                    <a:pt x="228600" y="50006"/>
                  </a:lnTo>
                  <a:lnTo>
                    <a:pt x="235744" y="54769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US" sz="1712" b="0" dirty="0">
                <a:solidFill>
                  <a:srgbClr val="FFFFFF"/>
                </a:solidFill>
              </a:endParaRPr>
            </a:p>
          </p:txBody>
        </p:sp>
        <p:sp>
          <p:nvSpPr>
            <p:cNvPr id="251" name="Freeform 250"/>
            <p:cNvSpPr/>
            <p:nvPr/>
          </p:nvSpPr>
          <p:spPr bwMode="ltGray">
            <a:xfrm>
              <a:off x="6017392" y="4260878"/>
              <a:ext cx="250594" cy="236489"/>
            </a:xfrm>
            <a:custGeom>
              <a:avLst/>
              <a:gdLst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29061 w 1920955"/>
                <a:gd name="connsiteY34" fmla="*/ 688763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07095 w 1920955"/>
                <a:gd name="connsiteY34" fmla="*/ 670892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68110 w 1920955"/>
                <a:gd name="connsiteY34" fmla="*/ 637701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4774 w 1920955"/>
                <a:gd name="connsiteY35" fmla="*/ 741151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07453 w 1920955"/>
                <a:gd name="connsiteY35" fmla="*/ 746256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8599 w 1920955"/>
                <a:gd name="connsiteY37" fmla="*/ 779251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90986 w 1920955"/>
                <a:gd name="connsiteY38" fmla="*/ 817351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310036 w 1920955"/>
                <a:gd name="connsiteY40" fmla="*/ 884026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314799 w 1920955"/>
                <a:gd name="connsiteY39" fmla="*/ 86497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38611 w 1920955"/>
                <a:gd name="connsiteY41" fmla="*/ 950701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48149 w 1920955"/>
                <a:gd name="connsiteY42" fmla="*/ 1012613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81486 w 1920955"/>
                <a:gd name="connsiteY43" fmla="*/ 1088813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19768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38636 w 1920955"/>
                <a:gd name="connsiteY45" fmla="*/ 1217401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38624 w 1920955"/>
                <a:gd name="connsiteY44" fmla="*/ 1150726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86261 w 1920955"/>
                <a:gd name="connsiteY46" fmla="*/ 1255501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24864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7711 w 1920955"/>
                <a:gd name="connsiteY49" fmla="*/ 1512676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57724 w 1920955"/>
                <a:gd name="connsiteY51" fmla="*/ 1498388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2"/>
                <a:gd name="connsiteX1" fmla="*/ 1567336 w 1920955"/>
                <a:gd name="connsiteY1" fmla="*/ 369676 h 1660322"/>
                <a:gd name="connsiteX2" fmla="*/ 1467324 w 1920955"/>
                <a:gd name="connsiteY2" fmla="*/ 345863 h 1660322"/>
                <a:gd name="connsiteX3" fmla="*/ 1419699 w 1920955"/>
                <a:gd name="connsiteY3" fmla="*/ 317288 h 1660322"/>
                <a:gd name="connsiteX4" fmla="*/ 1367311 w 1920955"/>
                <a:gd name="connsiteY4" fmla="*/ 160126 h 1660322"/>
                <a:gd name="connsiteX5" fmla="*/ 1338736 w 1920955"/>
                <a:gd name="connsiteY5" fmla="*/ 12488 h 1660322"/>
                <a:gd name="connsiteX6" fmla="*/ 1267299 w 1920955"/>
                <a:gd name="connsiteY6" fmla="*/ 12488 h 1660322"/>
                <a:gd name="connsiteX7" fmla="*/ 1214911 w 1920955"/>
                <a:gd name="connsiteY7" fmla="*/ 50588 h 1660322"/>
                <a:gd name="connsiteX8" fmla="*/ 1214911 w 1920955"/>
                <a:gd name="connsiteY8" fmla="*/ 155363 h 1660322"/>
                <a:gd name="connsiteX9" fmla="*/ 1186336 w 1920955"/>
                <a:gd name="connsiteY9" fmla="*/ 183938 h 1660322"/>
                <a:gd name="connsiteX10" fmla="*/ 1176811 w 1920955"/>
                <a:gd name="connsiteY10" fmla="*/ 255376 h 1660322"/>
                <a:gd name="connsiteX11" fmla="*/ 1114899 w 1920955"/>
                <a:gd name="connsiteY11" fmla="*/ 298238 h 1660322"/>
                <a:gd name="connsiteX12" fmla="*/ 1005361 w 1920955"/>
                <a:gd name="connsiteY12" fmla="*/ 312526 h 1660322"/>
                <a:gd name="connsiteX13" fmla="*/ 962499 w 1920955"/>
                <a:gd name="connsiteY13" fmla="*/ 355388 h 1660322"/>
                <a:gd name="connsiteX14" fmla="*/ 838674 w 1920955"/>
                <a:gd name="connsiteY14" fmla="*/ 355388 h 1660322"/>
                <a:gd name="connsiteX15" fmla="*/ 781524 w 1920955"/>
                <a:gd name="connsiteY15" fmla="*/ 426826 h 1660322"/>
                <a:gd name="connsiteX16" fmla="*/ 781524 w 1920955"/>
                <a:gd name="connsiteY16" fmla="*/ 460163 h 1660322"/>
                <a:gd name="connsiteX17" fmla="*/ 743424 w 1920955"/>
                <a:gd name="connsiteY17" fmla="*/ 483976 h 1660322"/>
                <a:gd name="connsiteX18" fmla="*/ 671986 w 1920955"/>
                <a:gd name="connsiteY18" fmla="*/ 417301 h 1660322"/>
                <a:gd name="connsiteX19" fmla="*/ 519586 w 1920955"/>
                <a:gd name="connsiteY19" fmla="*/ 412538 h 1660322"/>
                <a:gd name="connsiteX20" fmla="*/ 457674 w 1920955"/>
                <a:gd name="connsiteY20" fmla="*/ 431588 h 1660322"/>
                <a:gd name="connsiteX21" fmla="*/ 419574 w 1920955"/>
                <a:gd name="connsiteY21" fmla="*/ 417301 h 1660322"/>
                <a:gd name="connsiteX22" fmla="*/ 400524 w 1920955"/>
                <a:gd name="connsiteY22" fmla="*/ 355388 h 1660322"/>
                <a:gd name="connsiteX23" fmla="*/ 333849 w 1920955"/>
                <a:gd name="connsiteY23" fmla="*/ 303001 h 1660322"/>
                <a:gd name="connsiteX24" fmla="*/ 286224 w 1920955"/>
                <a:gd name="connsiteY24" fmla="*/ 236326 h 1660322"/>
                <a:gd name="connsiteX25" fmla="*/ 143349 w 1920955"/>
                <a:gd name="connsiteY25" fmla="*/ 255376 h 1660322"/>
                <a:gd name="connsiteX26" fmla="*/ 124299 w 1920955"/>
                <a:gd name="connsiteY26" fmla="*/ 331576 h 1660322"/>
                <a:gd name="connsiteX27" fmla="*/ 110011 w 1920955"/>
                <a:gd name="connsiteY27" fmla="*/ 364913 h 1660322"/>
                <a:gd name="connsiteX28" fmla="*/ 133824 w 1920955"/>
                <a:gd name="connsiteY28" fmla="*/ 412538 h 1660322"/>
                <a:gd name="connsiteX29" fmla="*/ 81436 w 1920955"/>
                <a:gd name="connsiteY29" fmla="*/ 450638 h 1660322"/>
                <a:gd name="connsiteX30" fmla="*/ 33811 w 1920955"/>
                <a:gd name="connsiteY30" fmla="*/ 445876 h 1660322"/>
                <a:gd name="connsiteX31" fmla="*/ 33811 w 1920955"/>
                <a:gd name="connsiteY31" fmla="*/ 517313 h 1660322"/>
                <a:gd name="connsiteX32" fmla="*/ 474 w 1920955"/>
                <a:gd name="connsiteY32" fmla="*/ 622088 h 1660322"/>
                <a:gd name="connsiteX33" fmla="*/ 62386 w 1920955"/>
                <a:gd name="connsiteY33" fmla="*/ 698288 h 1660322"/>
                <a:gd name="connsiteX34" fmla="*/ 111977 w 1920955"/>
                <a:gd name="connsiteY34" fmla="*/ 678550 h 1660322"/>
                <a:gd name="connsiteX35" fmla="*/ 112334 w 1920955"/>
                <a:gd name="connsiteY35" fmla="*/ 748809 h 1660322"/>
                <a:gd name="connsiteX36" fmla="*/ 167161 w 1920955"/>
                <a:gd name="connsiteY36" fmla="*/ 779251 h 1660322"/>
                <a:gd name="connsiteX37" fmla="*/ 236159 w 1920955"/>
                <a:gd name="connsiteY37" fmla="*/ 789463 h 1660322"/>
                <a:gd name="connsiteX38" fmla="*/ 271462 w 1920955"/>
                <a:gd name="connsiteY38" fmla="*/ 845434 h 1660322"/>
                <a:gd name="connsiteX39" fmla="*/ 270869 w 1920955"/>
                <a:gd name="connsiteY39" fmla="*/ 890506 h 1660322"/>
                <a:gd name="connsiteX40" fmla="*/ 295393 w 1920955"/>
                <a:gd name="connsiteY40" fmla="*/ 929981 h 1660322"/>
                <a:gd name="connsiteX41" fmla="*/ 341051 w 1920955"/>
                <a:gd name="connsiteY41" fmla="*/ 968573 h 1660322"/>
                <a:gd name="connsiteX42" fmla="*/ 426184 w 1920955"/>
                <a:gd name="connsiteY42" fmla="*/ 1022825 h 1660322"/>
                <a:gd name="connsiteX43" fmla="*/ 461961 w 1920955"/>
                <a:gd name="connsiteY43" fmla="*/ 1093918 h 1660322"/>
                <a:gd name="connsiteX44" fmla="*/ 441064 w 1920955"/>
                <a:gd name="connsiteY44" fmla="*/ 1163491 h 1660322"/>
                <a:gd name="connsiteX45" fmla="*/ 519111 w 1920955"/>
                <a:gd name="connsiteY45" fmla="*/ 1219954 h 1660322"/>
                <a:gd name="connsiteX46" fmla="*/ 591143 w 1920955"/>
                <a:gd name="connsiteY46" fmla="*/ 1252948 h 1660322"/>
                <a:gd name="connsiteX47" fmla="*/ 571974 w 1920955"/>
                <a:gd name="connsiteY47" fmla="*/ 1312651 h 1660322"/>
                <a:gd name="connsiteX48" fmla="*/ 662461 w 1920955"/>
                <a:gd name="connsiteY48" fmla="*/ 1465051 h 1660322"/>
                <a:gd name="connsiteX49" fmla="*/ 755271 w 1920955"/>
                <a:gd name="connsiteY49" fmla="*/ 1538205 h 1660322"/>
                <a:gd name="connsiteX50" fmla="*/ 805336 w 1920955"/>
                <a:gd name="connsiteY50" fmla="*/ 1488863 h 1660322"/>
                <a:gd name="connsiteX51" fmla="*/ 869926 w 1920955"/>
                <a:gd name="connsiteY51" fmla="*/ 1516260 h 1660322"/>
                <a:gd name="connsiteX52" fmla="*/ 924399 w 1920955"/>
                <a:gd name="connsiteY52" fmla="*/ 1484101 h 1660322"/>
                <a:gd name="connsiteX53" fmla="*/ 933924 w 1920955"/>
                <a:gd name="connsiteY53" fmla="*/ 1431713 h 1660322"/>
                <a:gd name="connsiteX54" fmla="*/ 1014886 w 1920955"/>
                <a:gd name="connsiteY54" fmla="*/ 1507913 h 1660322"/>
                <a:gd name="connsiteX55" fmla="*/ 1067274 w 1920955"/>
                <a:gd name="connsiteY55" fmla="*/ 1584113 h 1660322"/>
                <a:gd name="connsiteX56" fmla="*/ 1100611 w 1920955"/>
                <a:gd name="connsiteY56" fmla="*/ 1660313 h 1660322"/>
                <a:gd name="connsiteX57" fmla="*/ 1133949 w 1920955"/>
                <a:gd name="connsiteY57" fmla="*/ 1579351 h 1660322"/>
                <a:gd name="connsiteX58" fmla="*/ 1176811 w 1920955"/>
                <a:gd name="connsiteY58" fmla="*/ 1598401 h 1660322"/>
                <a:gd name="connsiteX59" fmla="*/ 1210149 w 1920955"/>
                <a:gd name="connsiteY59" fmla="*/ 1617451 h 1660322"/>
                <a:gd name="connsiteX60" fmla="*/ 1233961 w 1920955"/>
                <a:gd name="connsiteY60" fmla="*/ 1579351 h 1660322"/>
                <a:gd name="connsiteX61" fmla="*/ 1267299 w 1920955"/>
                <a:gd name="connsiteY61" fmla="*/ 1655551 h 1660322"/>
                <a:gd name="connsiteX62" fmla="*/ 1348261 w 1920955"/>
                <a:gd name="connsiteY62" fmla="*/ 1626976 h 1660322"/>
                <a:gd name="connsiteX63" fmla="*/ 1414936 w 1920955"/>
                <a:gd name="connsiteY63" fmla="*/ 1555538 h 1660322"/>
                <a:gd name="connsiteX64" fmla="*/ 1433986 w 1920955"/>
                <a:gd name="connsiteY64" fmla="*/ 1607926 h 1660322"/>
                <a:gd name="connsiteX65" fmla="*/ 1410174 w 1920955"/>
                <a:gd name="connsiteY65" fmla="*/ 1612688 h 1660322"/>
                <a:gd name="connsiteX66" fmla="*/ 1543524 w 1920955"/>
                <a:gd name="connsiteY66" fmla="*/ 1579351 h 1660322"/>
                <a:gd name="connsiteX67" fmla="*/ 1581624 w 1920955"/>
                <a:gd name="connsiteY67" fmla="*/ 1507913 h 1660322"/>
                <a:gd name="connsiteX68" fmla="*/ 1643536 w 1920955"/>
                <a:gd name="connsiteY68" fmla="*/ 1412663 h 1660322"/>
                <a:gd name="connsiteX69" fmla="*/ 1714974 w 1920955"/>
                <a:gd name="connsiteY69" fmla="*/ 1384088 h 1660322"/>
                <a:gd name="connsiteX70" fmla="*/ 1772124 w 1920955"/>
                <a:gd name="connsiteY70" fmla="*/ 1379326 h 1660322"/>
                <a:gd name="connsiteX71" fmla="*/ 1772124 w 1920955"/>
                <a:gd name="connsiteY71" fmla="*/ 1450763 h 1660322"/>
                <a:gd name="connsiteX72" fmla="*/ 1886424 w 1920955"/>
                <a:gd name="connsiteY72" fmla="*/ 1446001 h 1660322"/>
                <a:gd name="connsiteX73" fmla="*/ 1919761 w 1920955"/>
                <a:gd name="connsiteY73" fmla="*/ 1441238 h 1660322"/>
                <a:gd name="connsiteX74" fmla="*/ 1853086 w 1920955"/>
                <a:gd name="connsiteY74" fmla="*/ 1398376 h 1660322"/>
                <a:gd name="connsiteX75" fmla="*/ 1853086 w 1920955"/>
                <a:gd name="connsiteY75" fmla="*/ 1303126 h 1660322"/>
                <a:gd name="connsiteX76" fmla="*/ 1853086 w 1920955"/>
                <a:gd name="connsiteY76" fmla="*/ 1245976 h 1660322"/>
                <a:gd name="connsiteX77" fmla="*/ 1810224 w 1920955"/>
                <a:gd name="connsiteY77" fmla="*/ 1236451 h 1660322"/>
                <a:gd name="connsiteX78" fmla="*/ 1734024 w 1920955"/>
                <a:gd name="connsiteY78" fmla="*/ 1155488 h 1660322"/>
                <a:gd name="connsiteX79" fmla="*/ 1695924 w 1920955"/>
                <a:gd name="connsiteY79" fmla="*/ 974513 h 1660322"/>
                <a:gd name="connsiteX80" fmla="*/ 1643536 w 1920955"/>
                <a:gd name="connsiteY80" fmla="*/ 941176 h 1660322"/>
                <a:gd name="connsiteX81" fmla="*/ 1605436 w 1920955"/>
                <a:gd name="connsiteY81" fmla="*/ 884026 h 1660322"/>
                <a:gd name="connsiteX82" fmla="*/ 1557811 w 1920955"/>
                <a:gd name="connsiteY82" fmla="*/ 836401 h 1660322"/>
                <a:gd name="connsiteX83" fmla="*/ 1505424 w 1920955"/>
                <a:gd name="connsiteY83" fmla="*/ 817351 h 1660322"/>
                <a:gd name="connsiteX84" fmla="*/ 1453036 w 1920955"/>
                <a:gd name="connsiteY84" fmla="*/ 812588 h 1660322"/>
                <a:gd name="connsiteX85" fmla="*/ 1510186 w 1920955"/>
                <a:gd name="connsiteY85" fmla="*/ 779251 h 1660322"/>
                <a:gd name="connsiteX86" fmla="*/ 1476849 w 1920955"/>
                <a:gd name="connsiteY86" fmla="*/ 745913 h 1660322"/>
                <a:gd name="connsiteX87" fmla="*/ 1481611 w 1920955"/>
                <a:gd name="connsiteY87" fmla="*/ 722101 h 1660322"/>
                <a:gd name="connsiteX88" fmla="*/ 1572099 w 1920955"/>
                <a:gd name="connsiteY88" fmla="*/ 760201 h 1660322"/>
                <a:gd name="connsiteX89" fmla="*/ 1624486 w 1920955"/>
                <a:gd name="connsiteY89" fmla="*/ 693526 h 1660322"/>
                <a:gd name="connsiteX90" fmla="*/ 1614961 w 1920955"/>
                <a:gd name="connsiteY90" fmla="*/ 550651 h 1660322"/>
                <a:gd name="connsiteX91" fmla="*/ 1610199 w 1920955"/>
                <a:gd name="connsiteY91" fmla="*/ 412538 h 1660322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33924 w 1920955"/>
                <a:gd name="connsiteY53" fmla="*/ 1431713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29042 w 1920955"/>
                <a:gd name="connsiteY53" fmla="*/ 1367886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321"/>
                <a:gd name="connsiteX1" fmla="*/ 1567336 w 1920955"/>
                <a:gd name="connsiteY1" fmla="*/ 369676 h 1660321"/>
                <a:gd name="connsiteX2" fmla="*/ 1467324 w 1920955"/>
                <a:gd name="connsiteY2" fmla="*/ 345863 h 1660321"/>
                <a:gd name="connsiteX3" fmla="*/ 1419699 w 1920955"/>
                <a:gd name="connsiteY3" fmla="*/ 317288 h 1660321"/>
                <a:gd name="connsiteX4" fmla="*/ 1367311 w 1920955"/>
                <a:gd name="connsiteY4" fmla="*/ 160126 h 1660321"/>
                <a:gd name="connsiteX5" fmla="*/ 1338736 w 1920955"/>
                <a:gd name="connsiteY5" fmla="*/ 12488 h 1660321"/>
                <a:gd name="connsiteX6" fmla="*/ 1267299 w 1920955"/>
                <a:gd name="connsiteY6" fmla="*/ 12488 h 1660321"/>
                <a:gd name="connsiteX7" fmla="*/ 1214911 w 1920955"/>
                <a:gd name="connsiteY7" fmla="*/ 50588 h 1660321"/>
                <a:gd name="connsiteX8" fmla="*/ 1214911 w 1920955"/>
                <a:gd name="connsiteY8" fmla="*/ 155363 h 1660321"/>
                <a:gd name="connsiteX9" fmla="*/ 1186336 w 1920955"/>
                <a:gd name="connsiteY9" fmla="*/ 183938 h 1660321"/>
                <a:gd name="connsiteX10" fmla="*/ 1176811 w 1920955"/>
                <a:gd name="connsiteY10" fmla="*/ 255376 h 1660321"/>
                <a:gd name="connsiteX11" fmla="*/ 1114899 w 1920955"/>
                <a:gd name="connsiteY11" fmla="*/ 298238 h 1660321"/>
                <a:gd name="connsiteX12" fmla="*/ 1005361 w 1920955"/>
                <a:gd name="connsiteY12" fmla="*/ 312526 h 1660321"/>
                <a:gd name="connsiteX13" fmla="*/ 962499 w 1920955"/>
                <a:gd name="connsiteY13" fmla="*/ 355388 h 1660321"/>
                <a:gd name="connsiteX14" fmla="*/ 838674 w 1920955"/>
                <a:gd name="connsiteY14" fmla="*/ 355388 h 1660321"/>
                <a:gd name="connsiteX15" fmla="*/ 781524 w 1920955"/>
                <a:gd name="connsiteY15" fmla="*/ 426826 h 1660321"/>
                <a:gd name="connsiteX16" fmla="*/ 781524 w 1920955"/>
                <a:gd name="connsiteY16" fmla="*/ 460163 h 1660321"/>
                <a:gd name="connsiteX17" fmla="*/ 743424 w 1920955"/>
                <a:gd name="connsiteY17" fmla="*/ 483976 h 1660321"/>
                <a:gd name="connsiteX18" fmla="*/ 671986 w 1920955"/>
                <a:gd name="connsiteY18" fmla="*/ 417301 h 1660321"/>
                <a:gd name="connsiteX19" fmla="*/ 519586 w 1920955"/>
                <a:gd name="connsiteY19" fmla="*/ 412538 h 1660321"/>
                <a:gd name="connsiteX20" fmla="*/ 457674 w 1920955"/>
                <a:gd name="connsiteY20" fmla="*/ 431588 h 1660321"/>
                <a:gd name="connsiteX21" fmla="*/ 419574 w 1920955"/>
                <a:gd name="connsiteY21" fmla="*/ 417301 h 1660321"/>
                <a:gd name="connsiteX22" fmla="*/ 400524 w 1920955"/>
                <a:gd name="connsiteY22" fmla="*/ 355388 h 1660321"/>
                <a:gd name="connsiteX23" fmla="*/ 333849 w 1920955"/>
                <a:gd name="connsiteY23" fmla="*/ 303001 h 1660321"/>
                <a:gd name="connsiteX24" fmla="*/ 286224 w 1920955"/>
                <a:gd name="connsiteY24" fmla="*/ 236326 h 1660321"/>
                <a:gd name="connsiteX25" fmla="*/ 143349 w 1920955"/>
                <a:gd name="connsiteY25" fmla="*/ 255376 h 1660321"/>
                <a:gd name="connsiteX26" fmla="*/ 124299 w 1920955"/>
                <a:gd name="connsiteY26" fmla="*/ 331576 h 1660321"/>
                <a:gd name="connsiteX27" fmla="*/ 110011 w 1920955"/>
                <a:gd name="connsiteY27" fmla="*/ 364913 h 1660321"/>
                <a:gd name="connsiteX28" fmla="*/ 133824 w 1920955"/>
                <a:gd name="connsiteY28" fmla="*/ 412538 h 1660321"/>
                <a:gd name="connsiteX29" fmla="*/ 81436 w 1920955"/>
                <a:gd name="connsiteY29" fmla="*/ 450638 h 1660321"/>
                <a:gd name="connsiteX30" fmla="*/ 33811 w 1920955"/>
                <a:gd name="connsiteY30" fmla="*/ 445876 h 1660321"/>
                <a:gd name="connsiteX31" fmla="*/ 33811 w 1920955"/>
                <a:gd name="connsiteY31" fmla="*/ 517313 h 1660321"/>
                <a:gd name="connsiteX32" fmla="*/ 474 w 1920955"/>
                <a:gd name="connsiteY32" fmla="*/ 622088 h 1660321"/>
                <a:gd name="connsiteX33" fmla="*/ 62386 w 1920955"/>
                <a:gd name="connsiteY33" fmla="*/ 698288 h 1660321"/>
                <a:gd name="connsiteX34" fmla="*/ 111977 w 1920955"/>
                <a:gd name="connsiteY34" fmla="*/ 678550 h 1660321"/>
                <a:gd name="connsiteX35" fmla="*/ 112334 w 1920955"/>
                <a:gd name="connsiteY35" fmla="*/ 748809 h 1660321"/>
                <a:gd name="connsiteX36" fmla="*/ 167161 w 1920955"/>
                <a:gd name="connsiteY36" fmla="*/ 779251 h 1660321"/>
                <a:gd name="connsiteX37" fmla="*/ 236159 w 1920955"/>
                <a:gd name="connsiteY37" fmla="*/ 789463 h 1660321"/>
                <a:gd name="connsiteX38" fmla="*/ 271462 w 1920955"/>
                <a:gd name="connsiteY38" fmla="*/ 845434 h 1660321"/>
                <a:gd name="connsiteX39" fmla="*/ 270869 w 1920955"/>
                <a:gd name="connsiteY39" fmla="*/ 890506 h 1660321"/>
                <a:gd name="connsiteX40" fmla="*/ 295393 w 1920955"/>
                <a:gd name="connsiteY40" fmla="*/ 929981 h 1660321"/>
                <a:gd name="connsiteX41" fmla="*/ 341051 w 1920955"/>
                <a:gd name="connsiteY41" fmla="*/ 968573 h 1660321"/>
                <a:gd name="connsiteX42" fmla="*/ 426184 w 1920955"/>
                <a:gd name="connsiteY42" fmla="*/ 1022825 h 1660321"/>
                <a:gd name="connsiteX43" fmla="*/ 461961 w 1920955"/>
                <a:gd name="connsiteY43" fmla="*/ 1093918 h 1660321"/>
                <a:gd name="connsiteX44" fmla="*/ 441064 w 1920955"/>
                <a:gd name="connsiteY44" fmla="*/ 1163491 h 1660321"/>
                <a:gd name="connsiteX45" fmla="*/ 519111 w 1920955"/>
                <a:gd name="connsiteY45" fmla="*/ 1219954 h 1660321"/>
                <a:gd name="connsiteX46" fmla="*/ 591143 w 1920955"/>
                <a:gd name="connsiteY46" fmla="*/ 1252948 h 1660321"/>
                <a:gd name="connsiteX47" fmla="*/ 571974 w 1920955"/>
                <a:gd name="connsiteY47" fmla="*/ 1312651 h 1660321"/>
                <a:gd name="connsiteX48" fmla="*/ 662461 w 1920955"/>
                <a:gd name="connsiteY48" fmla="*/ 1465051 h 1660321"/>
                <a:gd name="connsiteX49" fmla="*/ 755271 w 1920955"/>
                <a:gd name="connsiteY49" fmla="*/ 1538205 h 1660321"/>
                <a:gd name="connsiteX50" fmla="*/ 805336 w 1920955"/>
                <a:gd name="connsiteY50" fmla="*/ 1488863 h 1660321"/>
                <a:gd name="connsiteX51" fmla="*/ 869926 w 1920955"/>
                <a:gd name="connsiteY51" fmla="*/ 1516260 h 1660321"/>
                <a:gd name="connsiteX52" fmla="*/ 924399 w 1920955"/>
                <a:gd name="connsiteY52" fmla="*/ 1484101 h 1660321"/>
                <a:gd name="connsiteX53" fmla="*/ 941246 w 1920955"/>
                <a:gd name="connsiteY53" fmla="*/ 1441925 h 1660321"/>
                <a:gd name="connsiteX54" fmla="*/ 1005123 w 1920955"/>
                <a:gd name="connsiteY54" fmla="*/ 1528337 h 1660321"/>
                <a:gd name="connsiteX55" fmla="*/ 1067274 w 1920955"/>
                <a:gd name="connsiteY55" fmla="*/ 1584113 h 1660321"/>
                <a:gd name="connsiteX56" fmla="*/ 1100611 w 1920955"/>
                <a:gd name="connsiteY56" fmla="*/ 1660313 h 1660321"/>
                <a:gd name="connsiteX57" fmla="*/ 1133949 w 1920955"/>
                <a:gd name="connsiteY57" fmla="*/ 1579351 h 1660321"/>
                <a:gd name="connsiteX58" fmla="*/ 1176811 w 1920955"/>
                <a:gd name="connsiteY58" fmla="*/ 1598401 h 1660321"/>
                <a:gd name="connsiteX59" fmla="*/ 1210149 w 1920955"/>
                <a:gd name="connsiteY59" fmla="*/ 1617451 h 1660321"/>
                <a:gd name="connsiteX60" fmla="*/ 1233961 w 1920955"/>
                <a:gd name="connsiteY60" fmla="*/ 1579351 h 1660321"/>
                <a:gd name="connsiteX61" fmla="*/ 1267299 w 1920955"/>
                <a:gd name="connsiteY61" fmla="*/ 1655551 h 1660321"/>
                <a:gd name="connsiteX62" fmla="*/ 1348261 w 1920955"/>
                <a:gd name="connsiteY62" fmla="*/ 1626976 h 1660321"/>
                <a:gd name="connsiteX63" fmla="*/ 1414936 w 1920955"/>
                <a:gd name="connsiteY63" fmla="*/ 1555538 h 1660321"/>
                <a:gd name="connsiteX64" fmla="*/ 1433986 w 1920955"/>
                <a:gd name="connsiteY64" fmla="*/ 1607926 h 1660321"/>
                <a:gd name="connsiteX65" fmla="*/ 1410174 w 1920955"/>
                <a:gd name="connsiteY65" fmla="*/ 1612688 h 1660321"/>
                <a:gd name="connsiteX66" fmla="*/ 1543524 w 1920955"/>
                <a:gd name="connsiteY66" fmla="*/ 1579351 h 1660321"/>
                <a:gd name="connsiteX67" fmla="*/ 1581624 w 1920955"/>
                <a:gd name="connsiteY67" fmla="*/ 1507913 h 1660321"/>
                <a:gd name="connsiteX68" fmla="*/ 1643536 w 1920955"/>
                <a:gd name="connsiteY68" fmla="*/ 1412663 h 1660321"/>
                <a:gd name="connsiteX69" fmla="*/ 1714974 w 1920955"/>
                <a:gd name="connsiteY69" fmla="*/ 1384088 h 1660321"/>
                <a:gd name="connsiteX70" fmla="*/ 1772124 w 1920955"/>
                <a:gd name="connsiteY70" fmla="*/ 1379326 h 1660321"/>
                <a:gd name="connsiteX71" fmla="*/ 1772124 w 1920955"/>
                <a:gd name="connsiteY71" fmla="*/ 1450763 h 1660321"/>
                <a:gd name="connsiteX72" fmla="*/ 1886424 w 1920955"/>
                <a:gd name="connsiteY72" fmla="*/ 1446001 h 1660321"/>
                <a:gd name="connsiteX73" fmla="*/ 1919761 w 1920955"/>
                <a:gd name="connsiteY73" fmla="*/ 1441238 h 1660321"/>
                <a:gd name="connsiteX74" fmla="*/ 1853086 w 1920955"/>
                <a:gd name="connsiteY74" fmla="*/ 1398376 h 1660321"/>
                <a:gd name="connsiteX75" fmla="*/ 1853086 w 1920955"/>
                <a:gd name="connsiteY75" fmla="*/ 1303126 h 1660321"/>
                <a:gd name="connsiteX76" fmla="*/ 1853086 w 1920955"/>
                <a:gd name="connsiteY76" fmla="*/ 1245976 h 1660321"/>
                <a:gd name="connsiteX77" fmla="*/ 1810224 w 1920955"/>
                <a:gd name="connsiteY77" fmla="*/ 1236451 h 1660321"/>
                <a:gd name="connsiteX78" fmla="*/ 1734024 w 1920955"/>
                <a:gd name="connsiteY78" fmla="*/ 1155488 h 1660321"/>
                <a:gd name="connsiteX79" fmla="*/ 1695924 w 1920955"/>
                <a:gd name="connsiteY79" fmla="*/ 974513 h 1660321"/>
                <a:gd name="connsiteX80" fmla="*/ 1643536 w 1920955"/>
                <a:gd name="connsiteY80" fmla="*/ 941176 h 1660321"/>
                <a:gd name="connsiteX81" fmla="*/ 1605436 w 1920955"/>
                <a:gd name="connsiteY81" fmla="*/ 884026 h 1660321"/>
                <a:gd name="connsiteX82" fmla="*/ 1557811 w 1920955"/>
                <a:gd name="connsiteY82" fmla="*/ 836401 h 1660321"/>
                <a:gd name="connsiteX83" fmla="*/ 1505424 w 1920955"/>
                <a:gd name="connsiteY83" fmla="*/ 817351 h 1660321"/>
                <a:gd name="connsiteX84" fmla="*/ 1453036 w 1920955"/>
                <a:gd name="connsiteY84" fmla="*/ 812588 h 1660321"/>
                <a:gd name="connsiteX85" fmla="*/ 1510186 w 1920955"/>
                <a:gd name="connsiteY85" fmla="*/ 779251 h 1660321"/>
                <a:gd name="connsiteX86" fmla="*/ 1476849 w 1920955"/>
                <a:gd name="connsiteY86" fmla="*/ 745913 h 1660321"/>
                <a:gd name="connsiteX87" fmla="*/ 1481611 w 1920955"/>
                <a:gd name="connsiteY87" fmla="*/ 722101 h 1660321"/>
                <a:gd name="connsiteX88" fmla="*/ 1572099 w 1920955"/>
                <a:gd name="connsiteY88" fmla="*/ 760201 h 1660321"/>
                <a:gd name="connsiteX89" fmla="*/ 1624486 w 1920955"/>
                <a:gd name="connsiteY89" fmla="*/ 693526 h 1660321"/>
                <a:gd name="connsiteX90" fmla="*/ 1614961 w 1920955"/>
                <a:gd name="connsiteY90" fmla="*/ 550651 h 1660321"/>
                <a:gd name="connsiteX91" fmla="*/ 1610199 w 1920955"/>
                <a:gd name="connsiteY91" fmla="*/ 412538 h 1660321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60500"/>
                <a:gd name="connsiteX1" fmla="*/ 1567336 w 1920955"/>
                <a:gd name="connsiteY1" fmla="*/ 369676 h 1660500"/>
                <a:gd name="connsiteX2" fmla="*/ 1467324 w 1920955"/>
                <a:gd name="connsiteY2" fmla="*/ 345863 h 1660500"/>
                <a:gd name="connsiteX3" fmla="*/ 1419699 w 1920955"/>
                <a:gd name="connsiteY3" fmla="*/ 317288 h 1660500"/>
                <a:gd name="connsiteX4" fmla="*/ 1367311 w 1920955"/>
                <a:gd name="connsiteY4" fmla="*/ 160126 h 1660500"/>
                <a:gd name="connsiteX5" fmla="*/ 1338736 w 1920955"/>
                <a:gd name="connsiteY5" fmla="*/ 12488 h 1660500"/>
                <a:gd name="connsiteX6" fmla="*/ 1267299 w 1920955"/>
                <a:gd name="connsiteY6" fmla="*/ 12488 h 1660500"/>
                <a:gd name="connsiteX7" fmla="*/ 1214911 w 1920955"/>
                <a:gd name="connsiteY7" fmla="*/ 50588 h 1660500"/>
                <a:gd name="connsiteX8" fmla="*/ 1214911 w 1920955"/>
                <a:gd name="connsiteY8" fmla="*/ 155363 h 1660500"/>
                <a:gd name="connsiteX9" fmla="*/ 1186336 w 1920955"/>
                <a:gd name="connsiteY9" fmla="*/ 183938 h 1660500"/>
                <a:gd name="connsiteX10" fmla="*/ 1176811 w 1920955"/>
                <a:gd name="connsiteY10" fmla="*/ 255376 h 1660500"/>
                <a:gd name="connsiteX11" fmla="*/ 1114899 w 1920955"/>
                <a:gd name="connsiteY11" fmla="*/ 298238 h 1660500"/>
                <a:gd name="connsiteX12" fmla="*/ 1005361 w 1920955"/>
                <a:gd name="connsiteY12" fmla="*/ 312526 h 1660500"/>
                <a:gd name="connsiteX13" fmla="*/ 962499 w 1920955"/>
                <a:gd name="connsiteY13" fmla="*/ 355388 h 1660500"/>
                <a:gd name="connsiteX14" fmla="*/ 838674 w 1920955"/>
                <a:gd name="connsiteY14" fmla="*/ 355388 h 1660500"/>
                <a:gd name="connsiteX15" fmla="*/ 781524 w 1920955"/>
                <a:gd name="connsiteY15" fmla="*/ 426826 h 1660500"/>
                <a:gd name="connsiteX16" fmla="*/ 781524 w 1920955"/>
                <a:gd name="connsiteY16" fmla="*/ 460163 h 1660500"/>
                <a:gd name="connsiteX17" fmla="*/ 743424 w 1920955"/>
                <a:gd name="connsiteY17" fmla="*/ 483976 h 1660500"/>
                <a:gd name="connsiteX18" fmla="*/ 671986 w 1920955"/>
                <a:gd name="connsiteY18" fmla="*/ 417301 h 1660500"/>
                <a:gd name="connsiteX19" fmla="*/ 519586 w 1920955"/>
                <a:gd name="connsiteY19" fmla="*/ 412538 h 1660500"/>
                <a:gd name="connsiteX20" fmla="*/ 457674 w 1920955"/>
                <a:gd name="connsiteY20" fmla="*/ 431588 h 1660500"/>
                <a:gd name="connsiteX21" fmla="*/ 419574 w 1920955"/>
                <a:gd name="connsiteY21" fmla="*/ 417301 h 1660500"/>
                <a:gd name="connsiteX22" fmla="*/ 400524 w 1920955"/>
                <a:gd name="connsiteY22" fmla="*/ 355388 h 1660500"/>
                <a:gd name="connsiteX23" fmla="*/ 333849 w 1920955"/>
                <a:gd name="connsiteY23" fmla="*/ 303001 h 1660500"/>
                <a:gd name="connsiteX24" fmla="*/ 286224 w 1920955"/>
                <a:gd name="connsiteY24" fmla="*/ 236326 h 1660500"/>
                <a:gd name="connsiteX25" fmla="*/ 143349 w 1920955"/>
                <a:gd name="connsiteY25" fmla="*/ 255376 h 1660500"/>
                <a:gd name="connsiteX26" fmla="*/ 124299 w 1920955"/>
                <a:gd name="connsiteY26" fmla="*/ 331576 h 1660500"/>
                <a:gd name="connsiteX27" fmla="*/ 110011 w 1920955"/>
                <a:gd name="connsiteY27" fmla="*/ 364913 h 1660500"/>
                <a:gd name="connsiteX28" fmla="*/ 133824 w 1920955"/>
                <a:gd name="connsiteY28" fmla="*/ 412538 h 1660500"/>
                <a:gd name="connsiteX29" fmla="*/ 81436 w 1920955"/>
                <a:gd name="connsiteY29" fmla="*/ 450638 h 1660500"/>
                <a:gd name="connsiteX30" fmla="*/ 33811 w 1920955"/>
                <a:gd name="connsiteY30" fmla="*/ 445876 h 1660500"/>
                <a:gd name="connsiteX31" fmla="*/ 33811 w 1920955"/>
                <a:gd name="connsiteY31" fmla="*/ 517313 h 1660500"/>
                <a:gd name="connsiteX32" fmla="*/ 474 w 1920955"/>
                <a:gd name="connsiteY32" fmla="*/ 622088 h 1660500"/>
                <a:gd name="connsiteX33" fmla="*/ 62386 w 1920955"/>
                <a:gd name="connsiteY33" fmla="*/ 698288 h 1660500"/>
                <a:gd name="connsiteX34" fmla="*/ 111977 w 1920955"/>
                <a:gd name="connsiteY34" fmla="*/ 678550 h 1660500"/>
                <a:gd name="connsiteX35" fmla="*/ 112334 w 1920955"/>
                <a:gd name="connsiteY35" fmla="*/ 748809 h 1660500"/>
                <a:gd name="connsiteX36" fmla="*/ 167161 w 1920955"/>
                <a:gd name="connsiteY36" fmla="*/ 779251 h 1660500"/>
                <a:gd name="connsiteX37" fmla="*/ 236159 w 1920955"/>
                <a:gd name="connsiteY37" fmla="*/ 789463 h 1660500"/>
                <a:gd name="connsiteX38" fmla="*/ 271462 w 1920955"/>
                <a:gd name="connsiteY38" fmla="*/ 845434 h 1660500"/>
                <a:gd name="connsiteX39" fmla="*/ 270869 w 1920955"/>
                <a:gd name="connsiteY39" fmla="*/ 890506 h 1660500"/>
                <a:gd name="connsiteX40" fmla="*/ 295393 w 1920955"/>
                <a:gd name="connsiteY40" fmla="*/ 929981 h 1660500"/>
                <a:gd name="connsiteX41" fmla="*/ 341051 w 1920955"/>
                <a:gd name="connsiteY41" fmla="*/ 968573 h 1660500"/>
                <a:gd name="connsiteX42" fmla="*/ 426184 w 1920955"/>
                <a:gd name="connsiteY42" fmla="*/ 1022825 h 1660500"/>
                <a:gd name="connsiteX43" fmla="*/ 461961 w 1920955"/>
                <a:gd name="connsiteY43" fmla="*/ 1093918 h 1660500"/>
                <a:gd name="connsiteX44" fmla="*/ 441064 w 1920955"/>
                <a:gd name="connsiteY44" fmla="*/ 1163491 h 1660500"/>
                <a:gd name="connsiteX45" fmla="*/ 519111 w 1920955"/>
                <a:gd name="connsiteY45" fmla="*/ 1219954 h 1660500"/>
                <a:gd name="connsiteX46" fmla="*/ 591143 w 1920955"/>
                <a:gd name="connsiteY46" fmla="*/ 1252948 h 1660500"/>
                <a:gd name="connsiteX47" fmla="*/ 571974 w 1920955"/>
                <a:gd name="connsiteY47" fmla="*/ 1312651 h 1660500"/>
                <a:gd name="connsiteX48" fmla="*/ 662461 w 1920955"/>
                <a:gd name="connsiteY48" fmla="*/ 1465051 h 1660500"/>
                <a:gd name="connsiteX49" fmla="*/ 755271 w 1920955"/>
                <a:gd name="connsiteY49" fmla="*/ 1538205 h 1660500"/>
                <a:gd name="connsiteX50" fmla="*/ 805336 w 1920955"/>
                <a:gd name="connsiteY50" fmla="*/ 1488863 h 1660500"/>
                <a:gd name="connsiteX51" fmla="*/ 869926 w 1920955"/>
                <a:gd name="connsiteY51" fmla="*/ 1516260 h 1660500"/>
                <a:gd name="connsiteX52" fmla="*/ 924399 w 1920955"/>
                <a:gd name="connsiteY52" fmla="*/ 1484101 h 1660500"/>
                <a:gd name="connsiteX53" fmla="*/ 941246 w 1920955"/>
                <a:gd name="connsiteY53" fmla="*/ 1441925 h 1660500"/>
                <a:gd name="connsiteX54" fmla="*/ 1005123 w 1920955"/>
                <a:gd name="connsiteY54" fmla="*/ 1528337 h 1660500"/>
                <a:gd name="connsiteX55" fmla="*/ 1050190 w 1920955"/>
                <a:gd name="connsiteY55" fmla="*/ 1599431 h 1660500"/>
                <a:gd name="connsiteX56" fmla="*/ 1100611 w 1920955"/>
                <a:gd name="connsiteY56" fmla="*/ 1660313 h 1660500"/>
                <a:gd name="connsiteX57" fmla="*/ 1133949 w 1920955"/>
                <a:gd name="connsiteY57" fmla="*/ 1579351 h 1660500"/>
                <a:gd name="connsiteX58" fmla="*/ 1176811 w 1920955"/>
                <a:gd name="connsiteY58" fmla="*/ 1598401 h 1660500"/>
                <a:gd name="connsiteX59" fmla="*/ 1210149 w 1920955"/>
                <a:gd name="connsiteY59" fmla="*/ 1617451 h 1660500"/>
                <a:gd name="connsiteX60" fmla="*/ 1233961 w 1920955"/>
                <a:gd name="connsiteY60" fmla="*/ 1579351 h 1660500"/>
                <a:gd name="connsiteX61" fmla="*/ 1267299 w 1920955"/>
                <a:gd name="connsiteY61" fmla="*/ 1655551 h 1660500"/>
                <a:gd name="connsiteX62" fmla="*/ 1348261 w 1920955"/>
                <a:gd name="connsiteY62" fmla="*/ 1626976 h 1660500"/>
                <a:gd name="connsiteX63" fmla="*/ 1414936 w 1920955"/>
                <a:gd name="connsiteY63" fmla="*/ 1555538 h 1660500"/>
                <a:gd name="connsiteX64" fmla="*/ 1433986 w 1920955"/>
                <a:gd name="connsiteY64" fmla="*/ 1607926 h 1660500"/>
                <a:gd name="connsiteX65" fmla="*/ 1410174 w 1920955"/>
                <a:gd name="connsiteY65" fmla="*/ 1612688 h 1660500"/>
                <a:gd name="connsiteX66" fmla="*/ 1543524 w 1920955"/>
                <a:gd name="connsiteY66" fmla="*/ 1579351 h 1660500"/>
                <a:gd name="connsiteX67" fmla="*/ 1581624 w 1920955"/>
                <a:gd name="connsiteY67" fmla="*/ 1507913 h 1660500"/>
                <a:gd name="connsiteX68" fmla="*/ 1643536 w 1920955"/>
                <a:gd name="connsiteY68" fmla="*/ 1412663 h 1660500"/>
                <a:gd name="connsiteX69" fmla="*/ 1714974 w 1920955"/>
                <a:gd name="connsiteY69" fmla="*/ 1384088 h 1660500"/>
                <a:gd name="connsiteX70" fmla="*/ 1772124 w 1920955"/>
                <a:gd name="connsiteY70" fmla="*/ 1379326 h 1660500"/>
                <a:gd name="connsiteX71" fmla="*/ 1772124 w 1920955"/>
                <a:gd name="connsiteY71" fmla="*/ 1450763 h 1660500"/>
                <a:gd name="connsiteX72" fmla="*/ 1886424 w 1920955"/>
                <a:gd name="connsiteY72" fmla="*/ 1446001 h 1660500"/>
                <a:gd name="connsiteX73" fmla="*/ 1919761 w 1920955"/>
                <a:gd name="connsiteY73" fmla="*/ 1441238 h 1660500"/>
                <a:gd name="connsiteX74" fmla="*/ 1853086 w 1920955"/>
                <a:gd name="connsiteY74" fmla="*/ 1398376 h 1660500"/>
                <a:gd name="connsiteX75" fmla="*/ 1853086 w 1920955"/>
                <a:gd name="connsiteY75" fmla="*/ 1303126 h 1660500"/>
                <a:gd name="connsiteX76" fmla="*/ 1853086 w 1920955"/>
                <a:gd name="connsiteY76" fmla="*/ 1245976 h 1660500"/>
                <a:gd name="connsiteX77" fmla="*/ 1810224 w 1920955"/>
                <a:gd name="connsiteY77" fmla="*/ 1236451 h 1660500"/>
                <a:gd name="connsiteX78" fmla="*/ 1734024 w 1920955"/>
                <a:gd name="connsiteY78" fmla="*/ 1155488 h 1660500"/>
                <a:gd name="connsiteX79" fmla="*/ 1695924 w 1920955"/>
                <a:gd name="connsiteY79" fmla="*/ 974513 h 1660500"/>
                <a:gd name="connsiteX80" fmla="*/ 1643536 w 1920955"/>
                <a:gd name="connsiteY80" fmla="*/ 941176 h 1660500"/>
                <a:gd name="connsiteX81" fmla="*/ 1605436 w 1920955"/>
                <a:gd name="connsiteY81" fmla="*/ 884026 h 1660500"/>
                <a:gd name="connsiteX82" fmla="*/ 1557811 w 1920955"/>
                <a:gd name="connsiteY82" fmla="*/ 836401 h 1660500"/>
                <a:gd name="connsiteX83" fmla="*/ 1505424 w 1920955"/>
                <a:gd name="connsiteY83" fmla="*/ 817351 h 1660500"/>
                <a:gd name="connsiteX84" fmla="*/ 1453036 w 1920955"/>
                <a:gd name="connsiteY84" fmla="*/ 812588 h 1660500"/>
                <a:gd name="connsiteX85" fmla="*/ 1510186 w 1920955"/>
                <a:gd name="connsiteY85" fmla="*/ 779251 h 1660500"/>
                <a:gd name="connsiteX86" fmla="*/ 1476849 w 1920955"/>
                <a:gd name="connsiteY86" fmla="*/ 745913 h 1660500"/>
                <a:gd name="connsiteX87" fmla="*/ 1481611 w 1920955"/>
                <a:gd name="connsiteY87" fmla="*/ 722101 h 1660500"/>
                <a:gd name="connsiteX88" fmla="*/ 1572099 w 1920955"/>
                <a:gd name="connsiteY88" fmla="*/ 760201 h 1660500"/>
                <a:gd name="connsiteX89" fmla="*/ 1624486 w 1920955"/>
                <a:gd name="connsiteY89" fmla="*/ 693526 h 1660500"/>
                <a:gd name="connsiteX90" fmla="*/ 1614961 w 1920955"/>
                <a:gd name="connsiteY90" fmla="*/ 550651 h 1660500"/>
                <a:gd name="connsiteX91" fmla="*/ 1610199 w 1920955"/>
                <a:gd name="connsiteY91" fmla="*/ 412538 h 1660500"/>
                <a:gd name="connsiteX0" fmla="*/ 1610199 w 1920955"/>
                <a:gd name="connsiteY0" fmla="*/ 412538 h 1657354"/>
                <a:gd name="connsiteX1" fmla="*/ 1567336 w 1920955"/>
                <a:gd name="connsiteY1" fmla="*/ 369676 h 1657354"/>
                <a:gd name="connsiteX2" fmla="*/ 1467324 w 1920955"/>
                <a:gd name="connsiteY2" fmla="*/ 345863 h 1657354"/>
                <a:gd name="connsiteX3" fmla="*/ 1419699 w 1920955"/>
                <a:gd name="connsiteY3" fmla="*/ 317288 h 1657354"/>
                <a:gd name="connsiteX4" fmla="*/ 1367311 w 1920955"/>
                <a:gd name="connsiteY4" fmla="*/ 160126 h 1657354"/>
                <a:gd name="connsiteX5" fmla="*/ 1338736 w 1920955"/>
                <a:gd name="connsiteY5" fmla="*/ 12488 h 1657354"/>
                <a:gd name="connsiteX6" fmla="*/ 1267299 w 1920955"/>
                <a:gd name="connsiteY6" fmla="*/ 12488 h 1657354"/>
                <a:gd name="connsiteX7" fmla="*/ 1214911 w 1920955"/>
                <a:gd name="connsiteY7" fmla="*/ 50588 h 1657354"/>
                <a:gd name="connsiteX8" fmla="*/ 1214911 w 1920955"/>
                <a:gd name="connsiteY8" fmla="*/ 155363 h 1657354"/>
                <a:gd name="connsiteX9" fmla="*/ 1186336 w 1920955"/>
                <a:gd name="connsiteY9" fmla="*/ 183938 h 1657354"/>
                <a:gd name="connsiteX10" fmla="*/ 1176811 w 1920955"/>
                <a:gd name="connsiteY10" fmla="*/ 255376 h 1657354"/>
                <a:gd name="connsiteX11" fmla="*/ 1114899 w 1920955"/>
                <a:gd name="connsiteY11" fmla="*/ 298238 h 1657354"/>
                <a:gd name="connsiteX12" fmla="*/ 1005361 w 1920955"/>
                <a:gd name="connsiteY12" fmla="*/ 312526 h 1657354"/>
                <a:gd name="connsiteX13" fmla="*/ 962499 w 1920955"/>
                <a:gd name="connsiteY13" fmla="*/ 355388 h 1657354"/>
                <a:gd name="connsiteX14" fmla="*/ 838674 w 1920955"/>
                <a:gd name="connsiteY14" fmla="*/ 355388 h 1657354"/>
                <a:gd name="connsiteX15" fmla="*/ 781524 w 1920955"/>
                <a:gd name="connsiteY15" fmla="*/ 426826 h 1657354"/>
                <a:gd name="connsiteX16" fmla="*/ 781524 w 1920955"/>
                <a:gd name="connsiteY16" fmla="*/ 460163 h 1657354"/>
                <a:gd name="connsiteX17" fmla="*/ 743424 w 1920955"/>
                <a:gd name="connsiteY17" fmla="*/ 483976 h 1657354"/>
                <a:gd name="connsiteX18" fmla="*/ 671986 w 1920955"/>
                <a:gd name="connsiteY18" fmla="*/ 417301 h 1657354"/>
                <a:gd name="connsiteX19" fmla="*/ 519586 w 1920955"/>
                <a:gd name="connsiteY19" fmla="*/ 412538 h 1657354"/>
                <a:gd name="connsiteX20" fmla="*/ 457674 w 1920955"/>
                <a:gd name="connsiteY20" fmla="*/ 431588 h 1657354"/>
                <a:gd name="connsiteX21" fmla="*/ 419574 w 1920955"/>
                <a:gd name="connsiteY21" fmla="*/ 417301 h 1657354"/>
                <a:gd name="connsiteX22" fmla="*/ 400524 w 1920955"/>
                <a:gd name="connsiteY22" fmla="*/ 355388 h 1657354"/>
                <a:gd name="connsiteX23" fmla="*/ 333849 w 1920955"/>
                <a:gd name="connsiteY23" fmla="*/ 303001 h 1657354"/>
                <a:gd name="connsiteX24" fmla="*/ 286224 w 1920955"/>
                <a:gd name="connsiteY24" fmla="*/ 236326 h 1657354"/>
                <a:gd name="connsiteX25" fmla="*/ 143349 w 1920955"/>
                <a:gd name="connsiteY25" fmla="*/ 255376 h 1657354"/>
                <a:gd name="connsiteX26" fmla="*/ 124299 w 1920955"/>
                <a:gd name="connsiteY26" fmla="*/ 331576 h 1657354"/>
                <a:gd name="connsiteX27" fmla="*/ 110011 w 1920955"/>
                <a:gd name="connsiteY27" fmla="*/ 364913 h 1657354"/>
                <a:gd name="connsiteX28" fmla="*/ 133824 w 1920955"/>
                <a:gd name="connsiteY28" fmla="*/ 412538 h 1657354"/>
                <a:gd name="connsiteX29" fmla="*/ 81436 w 1920955"/>
                <a:gd name="connsiteY29" fmla="*/ 450638 h 1657354"/>
                <a:gd name="connsiteX30" fmla="*/ 33811 w 1920955"/>
                <a:gd name="connsiteY30" fmla="*/ 445876 h 1657354"/>
                <a:gd name="connsiteX31" fmla="*/ 33811 w 1920955"/>
                <a:gd name="connsiteY31" fmla="*/ 517313 h 1657354"/>
                <a:gd name="connsiteX32" fmla="*/ 474 w 1920955"/>
                <a:gd name="connsiteY32" fmla="*/ 622088 h 1657354"/>
                <a:gd name="connsiteX33" fmla="*/ 62386 w 1920955"/>
                <a:gd name="connsiteY33" fmla="*/ 698288 h 1657354"/>
                <a:gd name="connsiteX34" fmla="*/ 111977 w 1920955"/>
                <a:gd name="connsiteY34" fmla="*/ 678550 h 1657354"/>
                <a:gd name="connsiteX35" fmla="*/ 112334 w 1920955"/>
                <a:gd name="connsiteY35" fmla="*/ 748809 h 1657354"/>
                <a:gd name="connsiteX36" fmla="*/ 167161 w 1920955"/>
                <a:gd name="connsiteY36" fmla="*/ 779251 h 1657354"/>
                <a:gd name="connsiteX37" fmla="*/ 236159 w 1920955"/>
                <a:gd name="connsiteY37" fmla="*/ 789463 h 1657354"/>
                <a:gd name="connsiteX38" fmla="*/ 271462 w 1920955"/>
                <a:gd name="connsiteY38" fmla="*/ 845434 h 1657354"/>
                <a:gd name="connsiteX39" fmla="*/ 270869 w 1920955"/>
                <a:gd name="connsiteY39" fmla="*/ 890506 h 1657354"/>
                <a:gd name="connsiteX40" fmla="*/ 295393 w 1920955"/>
                <a:gd name="connsiteY40" fmla="*/ 929981 h 1657354"/>
                <a:gd name="connsiteX41" fmla="*/ 341051 w 1920955"/>
                <a:gd name="connsiteY41" fmla="*/ 968573 h 1657354"/>
                <a:gd name="connsiteX42" fmla="*/ 426184 w 1920955"/>
                <a:gd name="connsiteY42" fmla="*/ 1022825 h 1657354"/>
                <a:gd name="connsiteX43" fmla="*/ 461961 w 1920955"/>
                <a:gd name="connsiteY43" fmla="*/ 1093918 h 1657354"/>
                <a:gd name="connsiteX44" fmla="*/ 441064 w 1920955"/>
                <a:gd name="connsiteY44" fmla="*/ 1163491 h 1657354"/>
                <a:gd name="connsiteX45" fmla="*/ 519111 w 1920955"/>
                <a:gd name="connsiteY45" fmla="*/ 1219954 h 1657354"/>
                <a:gd name="connsiteX46" fmla="*/ 591143 w 1920955"/>
                <a:gd name="connsiteY46" fmla="*/ 1252948 h 1657354"/>
                <a:gd name="connsiteX47" fmla="*/ 571974 w 1920955"/>
                <a:gd name="connsiteY47" fmla="*/ 1312651 h 1657354"/>
                <a:gd name="connsiteX48" fmla="*/ 662461 w 1920955"/>
                <a:gd name="connsiteY48" fmla="*/ 1465051 h 1657354"/>
                <a:gd name="connsiteX49" fmla="*/ 755271 w 1920955"/>
                <a:gd name="connsiteY49" fmla="*/ 1538205 h 1657354"/>
                <a:gd name="connsiteX50" fmla="*/ 805336 w 1920955"/>
                <a:gd name="connsiteY50" fmla="*/ 1488863 h 1657354"/>
                <a:gd name="connsiteX51" fmla="*/ 869926 w 1920955"/>
                <a:gd name="connsiteY51" fmla="*/ 1516260 h 1657354"/>
                <a:gd name="connsiteX52" fmla="*/ 924399 w 1920955"/>
                <a:gd name="connsiteY52" fmla="*/ 1484101 h 1657354"/>
                <a:gd name="connsiteX53" fmla="*/ 941246 w 1920955"/>
                <a:gd name="connsiteY53" fmla="*/ 1441925 h 1657354"/>
                <a:gd name="connsiteX54" fmla="*/ 1005123 w 1920955"/>
                <a:gd name="connsiteY54" fmla="*/ 1528337 h 1657354"/>
                <a:gd name="connsiteX55" fmla="*/ 1050190 w 1920955"/>
                <a:gd name="connsiteY55" fmla="*/ 1599431 h 1657354"/>
                <a:gd name="connsiteX56" fmla="*/ 1103052 w 1920955"/>
                <a:gd name="connsiteY56" fmla="*/ 1611805 h 1657354"/>
                <a:gd name="connsiteX57" fmla="*/ 1133949 w 1920955"/>
                <a:gd name="connsiteY57" fmla="*/ 1579351 h 1657354"/>
                <a:gd name="connsiteX58" fmla="*/ 1176811 w 1920955"/>
                <a:gd name="connsiteY58" fmla="*/ 1598401 h 1657354"/>
                <a:gd name="connsiteX59" fmla="*/ 1210149 w 1920955"/>
                <a:gd name="connsiteY59" fmla="*/ 1617451 h 1657354"/>
                <a:gd name="connsiteX60" fmla="*/ 1233961 w 1920955"/>
                <a:gd name="connsiteY60" fmla="*/ 1579351 h 1657354"/>
                <a:gd name="connsiteX61" fmla="*/ 1267299 w 1920955"/>
                <a:gd name="connsiteY61" fmla="*/ 1655551 h 1657354"/>
                <a:gd name="connsiteX62" fmla="*/ 1348261 w 1920955"/>
                <a:gd name="connsiteY62" fmla="*/ 1626976 h 1657354"/>
                <a:gd name="connsiteX63" fmla="*/ 1414936 w 1920955"/>
                <a:gd name="connsiteY63" fmla="*/ 1555538 h 1657354"/>
                <a:gd name="connsiteX64" fmla="*/ 1433986 w 1920955"/>
                <a:gd name="connsiteY64" fmla="*/ 1607926 h 1657354"/>
                <a:gd name="connsiteX65" fmla="*/ 1410174 w 1920955"/>
                <a:gd name="connsiteY65" fmla="*/ 1612688 h 1657354"/>
                <a:gd name="connsiteX66" fmla="*/ 1543524 w 1920955"/>
                <a:gd name="connsiteY66" fmla="*/ 1579351 h 1657354"/>
                <a:gd name="connsiteX67" fmla="*/ 1581624 w 1920955"/>
                <a:gd name="connsiteY67" fmla="*/ 1507913 h 1657354"/>
                <a:gd name="connsiteX68" fmla="*/ 1643536 w 1920955"/>
                <a:gd name="connsiteY68" fmla="*/ 1412663 h 1657354"/>
                <a:gd name="connsiteX69" fmla="*/ 1714974 w 1920955"/>
                <a:gd name="connsiteY69" fmla="*/ 1384088 h 1657354"/>
                <a:gd name="connsiteX70" fmla="*/ 1772124 w 1920955"/>
                <a:gd name="connsiteY70" fmla="*/ 1379326 h 1657354"/>
                <a:gd name="connsiteX71" fmla="*/ 1772124 w 1920955"/>
                <a:gd name="connsiteY71" fmla="*/ 1450763 h 1657354"/>
                <a:gd name="connsiteX72" fmla="*/ 1886424 w 1920955"/>
                <a:gd name="connsiteY72" fmla="*/ 1446001 h 1657354"/>
                <a:gd name="connsiteX73" fmla="*/ 1919761 w 1920955"/>
                <a:gd name="connsiteY73" fmla="*/ 1441238 h 1657354"/>
                <a:gd name="connsiteX74" fmla="*/ 1853086 w 1920955"/>
                <a:gd name="connsiteY74" fmla="*/ 1398376 h 1657354"/>
                <a:gd name="connsiteX75" fmla="*/ 1853086 w 1920955"/>
                <a:gd name="connsiteY75" fmla="*/ 1303126 h 1657354"/>
                <a:gd name="connsiteX76" fmla="*/ 1853086 w 1920955"/>
                <a:gd name="connsiteY76" fmla="*/ 1245976 h 1657354"/>
                <a:gd name="connsiteX77" fmla="*/ 1810224 w 1920955"/>
                <a:gd name="connsiteY77" fmla="*/ 1236451 h 1657354"/>
                <a:gd name="connsiteX78" fmla="*/ 1734024 w 1920955"/>
                <a:gd name="connsiteY78" fmla="*/ 1155488 h 1657354"/>
                <a:gd name="connsiteX79" fmla="*/ 1695924 w 1920955"/>
                <a:gd name="connsiteY79" fmla="*/ 974513 h 1657354"/>
                <a:gd name="connsiteX80" fmla="*/ 1643536 w 1920955"/>
                <a:gd name="connsiteY80" fmla="*/ 941176 h 1657354"/>
                <a:gd name="connsiteX81" fmla="*/ 1605436 w 1920955"/>
                <a:gd name="connsiteY81" fmla="*/ 884026 h 1657354"/>
                <a:gd name="connsiteX82" fmla="*/ 1557811 w 1920955"/>
                <a:gd name="connsiteY82" fmla="*/ 836401 h 1657354"/>
                <a:gd name="connsiteX83" fmla="*/ 1505424 w 1920955"/>
                <a:gd name="connsiteY83" fmla="*/ 817351 h 1657354"/>
                <a:gd name="connsiteX84" fmla="*/ 1453036 w 1920955"/>
                <a:gd name="connsiteY84" fmla="*/ 812588 h 1657354"/>
                <a:gd name="connsiteX85" fmla="*/ 1510186 w 1920955"/>
                <a:gd name="connsiteY85" fmla="*/ 779251 h 1657354"/>
                <a:gd name="connsiteX86" fmla="*/ 1476849 w 1920955"/>
                <a:gd name="connsiteY86" fmla="*/ 745913 h 1657354"/>
                <a:gd name="connsiteX87" fmla="*/ 1481611 w 1920955"/>
                <a:gd name="connsiteY87" fmla="*/ 722101 h 1657354"/>
                <a:gd name="connsiteX88" fmla="*/ 1572099 w 1920955"/>
                <a:gd name="connsiteY88" fmla="*/ 760201 h 1657354"/>
                <a:gd name="connsiteX89" fmla="*/ 1624486 w 1920955"/>
                <a:gd name="connsiteY89" fmla="*/ 693526 h 1657354"/>
                <a:gd name="connsiteX90" fmla="*/ 1614961 w 1920955"/>
                <a:gd name="connsiteY90" fmla="*/ 550651 h 1657354"/>
                <a:gd name="connsiteX91" fmla="*/ 1610199 w 1920955"/>
                <a:gd name="connsiteY91" fmla="*/ 412538 h 1657354"/>
                <a:gd name="connsiteX0" fmla="*/ 1610199 w 1920955"/>
                <a:gd name="connsiteY0" fmla="*/ 412538 h 1696167"/>
                <a:gd name="connsiteX1" fmla="*/ 1567336 w 1920955"/>
                <a:gd name="connsiteY1" fmla="*/ 369676 h 1696167"/>
                <a:gd name="connsiteX2" fmla="*/ 1467324 w 1920955"/>
                <a:gd name="connsiteY2" fmla="*/ 345863 h 1696167"/>
                <a:gd name="connsiteX3" fmla="*/ 1419699 w 1920955"/>
                <a:gd name="connsiteY3" fmla="*/ 317288 h 1696167"/>
                <a:gd name="connsiteX4" fmla="*/ 1367311 w 1920955"/>
                <a:gd name="connsiteY4" fmla="*/ 160126 h 1696167"/>
                <a:gd name="connsiteX5" fmla="*/ 1338736 w 1920955"/>
                <a:gd name="connsiteY5" fmla="*/ 12488 h 1696167"/>
                <a:gd name="connsiteX6" fmla="*/ 1267299 w 1920955"/>
                <a:gd name="connsiteY6" fmla="*/ 12488 h 1696167"/>
                <a:gd name="connsiteX7" fmla="*/ 1214911 w 1920955"/>
                <a:gd name="connsiteY7" fmla="*/ 50588 h 1696167"/>
                <a:gd name="connsiteX8" fmla="*/ 1214911 w 1920955"/>
                <a:gd name="connsiteY8" fmla="*/ 155363 h 1696167"/>
                <a:gd name="connsiteX9" fmla="*/ 1186336 w 1920955"/>
                <a:gd name="connsiteY9" fmla="*/ 183938 h 1696167"/>
                <a:gd name="connsiteX10" fmla="*/ 1176811 w 1920955"/>
                <a:gd name="connsiteY10" fmla="*/ 255376 h 1696167"/>
                <a:gd name="connsiteX11" fmla="*/ 1114899 w 1920955"/>
                <a:gd name="connsiteY11" fmla="*/ 298238 h 1696167"/>
                <a:gd name="connsiteX12" fmla="*/ 1005361 w 1920955"/>
                <a:gd name="connsiteY12" fmla="*/ 312526 h 1696167"/>
                <a:gd name="connsiteX13" fmla="*/ 962499 w 1920955"/>
                <a:gd name="connsiteY13" fmla="*/ 355388 h 1696167"/>
                <a:gd name="connsiteX14" fmla="*/ 838674 w 1920955"/>
                <a:gd name="connsiteY14" fmla="*/ 355388 h 1696167"/>
                <a:gd name="connsiteX15" fmla="*/ 781524 w 1920955"/>
                <a:gd name="connsiteY15" fmla="*/ 426826 h 1696167"/>
                <a:gd name="connsiteX16" fmla="*/ 781524 w 1920955"/>
                <a:gd name="connsiteY16" fmla="*/ 460163 h 1696167"/>
                <a:gd name="connsiteX17" fmla="*/ 743424 w 1920955"/>
                <a:gd name="connsiteY17" fmla="*/ 483976 h 1696167"/>
                <a:gd name="connsiteX18" fmla="*/ 671986 w 1920955"/>
                <a:gd name="connsiteY18" fmla="*/ 417301 h 1696167"/>
                <a:gd name="connsiteX19" fmla="*/ 519586 w 1920955"/>
                <a:gd name="connsiteY19" fmla="*/ 412538 h 1696167"/>
                <a:gd name="connsiteX20" fmla="*/ 457674 w 1920955"/>
                <a:gd name="connsiteY20" fmla="*/ 431588 h 1696167"/>
                <a:gd name="connsiteX21" fmla="*/ 419574 w 1920955"/>
                <a:gd name="connsiteY21" fmla="*/ 417301 h 1696167"/>
                <a:gd name="connsiteX22" fmla="*/ 400524 w 1920955"/>
                <a:gd name="connsiteY22" fmla="*/ 355388 h 1696167"/>
                <a:gd name="connsiteX23" fmla="*/ 333849 w 1920955"/>
                <a:gd name="connsiteY23" fmla="*/ 303001 h 1696167"/>
                <a:gd name="connsiteX24" fmla="*/ 286224 w 1920955"/>
                <a:gd name="connsiteY24" fmla="*/ 236326 h 1696167"/>
                <a:gd name="connsiteX25" fmla="*/ 143349 w 1920955"/>
                <a:gd name="connsiteY25" fmla="*/ 255376 h 1696167"/>
                <a:gd name="connsiteX26" fmla="*/ 124299 w 1920955"/>
                <a:gd name="connsiteY26" fmla="*/ 331576 h 1696167"/>
                <a:gd name="connsiteX27" fmla="*/ 110011 w 1920955"/>
                <a:gd name="connsiteY27" fmla="*/ 364913 h 1696167"/>
                <a:gd name="connsiteX28" fmla="*/ 133824 w 1920955"/>
                <a:gd name="connsiteY28" fmla="*/ 412538 h 1696167"/>
                <a:gd name="connsiteX29" fmla="*/ 81436 w 1920955"/>
                <a:gd name="connsiteY29" fmla="*/ 450638 h 1696167"/>
                <a:gd name="connsiteX30" fmla="*/ 33811 w 1920955"/>
                <a:gd name="connsiteY30" fmla="*/ 445876 h 1696167"/>
                <a:gd name="connsiteX31" fmla="*/ 33811 w 1920955"/>
                <a:gd name="connsiteY31" fmla="*/ 517313 h 1696167"/>
                <a:gd name="connsiteX32" fmla="*/ 474 w 1920955"/>
                <a:gd name="connsiteY32" fmla="*/ 622088 h 1696167"/>
                <a:gd name="connsiteX33" fmla="*/ 62386 w 1920955"/>
                <a:gd name="connsiteY33" fmla="*/ 698288 h 1696167"/>
                <a:gd name="connsiteX34" fmla="*/ 111977 w 1920955"/>
                <a:gd name="connsiteY34" fmla="*/ 678550 h 1696167"/>
                <a:gd name="connsiteX35" fmla="*/ 112334 w 1920955"/>
                <a:gd name="connsiteY35" fmla="*/ 748809 h 1696167"/>
                <a:gd name="connsiteX36" fmla="*/ 167161 w 1920955"/>
                <a:gd name="connsiteY36" fmla="*/ 779251 h 1696167"/>
                <a:gd name="connsiteX37" fmla="*/ 236159 w 1920955"/>
                <a:gd name="connsiteY37" fmla="*/ 789463 h 1696167"/>
                <a:gd name="connsiteX38" fmla="*/ 271462 w 1920955"/>
                <a:gd name="connsiteY38" fmla="*/ 845434 h 1696167"/>
                <a:gd name="connsiteX39" fmla="*/ 270869 w 1920955"/>
                <a:gd name="connsiteY39" fmla="*/ 890506 h 1696167"/>
                <a:gd name="connsiteX40" fmla="*/ 295393 w 1920955"/>
                <a:gd name="connsiteY40" fmla="*/ 929981 h 1696167"/>
                <a:gd name="connsiteX41" fmla="*/ 341051 w 1920955"/>
                <a:gd name="connsiteY41" fmla="*/ 968573 h 1696167"/>
                <a:gd name="connsiteX42" fmla="*/ 426184 w 1920955"/>
                <a:gd name="connsiteY42" fmla="*/ 1022825 h 1696167"/>
                <a:gd name="connsiteX43" fmla="*/ 461961 w 1920955"/>
                <a:gd name="connsiteY43" fmla="*/ 1093918 h 1696167"/>
                <a:gd name="connsiteX44" fmla="*/ 441064 w 1920955"/>
                <a:gd name="connsiteY44" fmla="*/ 1163491 h 1696167"/>
                <a:gd name="connsiteX45" fmla="*/ 519111 w 1920955"/>
                <a:gd name="connsiteY45" fmla="*/ 1219954 h 1696167"/>
                <a:gd name="connsiteX46" fmla="*/ 591143 w 1920955"/>
                <a:gd name="connsiteY46" fmla="*/ 1252948 h 1696167"/>
                <a:gd name="connsiteX47" fmla="*/ 571974 w 1920955"/>
                <a:gd name="connsiteY47" fmla="*/ 1312651 h 1696167"/>
                <a:gd name="connsiteX48" fmla="*/ 662461 w 1920955"/>
                <a:gd name="connsiteY48" fmla="*/ 1465051 h 1696167"/>
                <a:gd name="connsiteX49" fmla="*/ 755271 w 1920955"/>
                <a:gd name="connsiteY49" fmla="*/ 1538205 h 1696167"/>
                <a:gd name="connsiteX50" fmla="*/ 805336 w 1920955"/>
                <a:gd name="connsiteY50" fmla="*/ 1488863 h 1696167"/>
                <a:gd name="connsiteX51" fmla="*/ 869926 w 1920955"/>
                <a:gd name="connsiteY51" fmla="*/ 1516260 h 1696167"/>
                <a:gd name="connsiteX52" fmla="*/ 924399 w 1920955"/>
                <a:gd name="connsiteY52" fmla="*/ 1484101 h 1696167"/>
                <a:gd name="connsiteX53" fmla="*/ 941246 w 1920955"/>
                <a:gd name="connsiteY53" fmla="*/ 1441925 h 1696167"/>
                <a:gd name="connsiteX54" fmla="*/ 1005123 w 1920955"/>
                <a:gd name="connsiteY54" fmla="*/ 1528337 h 1696167"/>
                <a:gd name="connsiteX55" fmla="*/ 1050190 w 1920955"/>
                <a:gd name="connsiteY55" fmla="*/ 1599431 h 1696167"/>
                <a:gd name="connsiteX56" fmla="*/ 1132339 w 1920955"/>
                <a:gd name="connsiteY56" fmla="*/ 1696055 h 1696167"/>
                <a:gd name="connsiteX57" fmla="*/ 1133949 w 1920955"/>
                <a:gd name="connsiteY57" fmla="*/ 1579351 h 1696167"/>
                <a:gd name="connsiteX58" fmla="*/ 1176811 w 1920955"/>
                <a:gd name="connsiteY58" fmla="*/ 1598401 h 1696167"/>
                <a:gd name="connsiteX59" fmla="*/ 1210149 w 1920955"/>
                <a:gd name="connsiteY59" fmla="*/ 1617451 h 1696167"/>
                <a:gd name="connsiteX60" fmla="*/ 1233961 w 1920955"/>
                <a:gd name="connsiteY60" fmla="*/ 1579351 h 1696167"/>
                <a:gd name="connsiteX61" fmla="*/ 1267299 w 1920955"/>
                <a:gd name="connsiteY61" fmla="*/ 1655551 h 1696167"/>
                <a:gd name="connsiteX62" fmla="*/ 1348261 w 1920955"/>
                <a:gd name="connsiteY62" fmla="*/ 1626976 h 1696167"/>
                <a:gd name="connsiteX63" fmla="*/ 1414936 w 1920955"/>
                <a:gd name="connsiteY63" fmla="*/ 1555538 h 1696167"/>
                <a:gd name="connsiteX64" fmla="*/ 1433986 w 1920955"/>
                <a:gd name="connsiteY64" fmla="*/ 1607926 h 1696167"/>
                <a:gd name="connsiteX65" fmla="*/ 1410174 w 1920955"/>
                <a:gd name="connsiteY65" fmla="*/ 1612688 h 1696167"/>
                <a:gd name="connsiteX66" fmla="*/ 1543524 w 1920955"/>
                <a:gd name="connsiteY66" fmla="*/ 1579351 h 1696167"/>
                <a:gd name="connsiteX67" fmla="*/ 1581624 w 1920955"/>
                <a:gd name="connsiteY67" fmla="*/ 1507913 h 1696167"/>
                <a:gd name="connsiteX68" fmla="*/ 1643536 w 1920955"/>
                <a:gd name="connsiteY68" fmla="*/ 1412663 h 1696167"/>
                <a:gd name="connsiteX69" fmla="*/ 1714974 w 1920955"/>
                <a:gd name="connsiteY69" fmla="*/ 1384088 h 1696167"/>
                <a:gd name="connsiteX70" fmla="*/ 1772124 w 1920955"/>
                <a:gd name="connsiteY70" fmla="*/ 1379326 h 1696167"/>
                <a:gd name="connsiteX71" fmla="*/ 1772124 w 1920955"/>
                <a:gd name="connsiteY71" fmla="*/ 1450763 h 1696167"/>
                <a:gd name="connsiteX72" fmla="*/ 1886424 w 1920955"/>
                <a:gd name="connsiteY72" fmla="*/ 1446001 h 1696167"/>
                <a:gd name="connsiteX73" fmla="*/ 1919761 w 1920955"/>
                <a:gd name="connsiteY73" fmla="*/ 1441238 h 1696167"/>
                <a:gd name="connsiteX74" fmla="*/ 1853086 w 1920955"/>
                <a:gd name="connsiteY74" fmla="*/ 1398376 h 1696167"/>
                <a:gd name="connsiteX75" fmla="*/ 1853086 w 1920955"/>
                <a:gd name="connsiteY75" fmla="*/ 1303126 h 1696167"/>
                <a:gd name="connsiteX76" fmla="*/ 1853086 w 1920955"/>
                <a:gd name="connsiteY76" fmla="*/ 1245976 h 1696167"/>
                <a:gd name="connsiteX77" fmla="*/ 1810224 w 1920955"/>
                <a:gd name="connsiteY77" fmla="*/ 1236451 h 1696167"/>
                <a:gd name="connsiteX78" fmla="*/ 1734024 w 1920955"/>
                <a:gd name="connsiteY78" fmla="*/ 1155488 h 1696167"/>
                <a:gd name="connsiteX79" fmla="*/ 1695924 w 1920955"/>
                <a:gd name="connsiteY79" fmla="*/ 974513 h 1696167"/>
                <a:gd name="connsiteX80" fmla="*/ 1643536 w 1920955"/>
                <a:gd name="connsiteY80" fmla="*/ 941176 h 1696167"/>
                <a:gd name="connsiteX81" fmla="*/ 1605436 w 1920955"/>
                <a:gd name="connsiteY81" fmla="*/ 884026 h 1696167"/>
                <a:gd name="connsiteX82" fmla="*/ 1557811 w 1920955"/>
                <a:gd name="connsiteY82" fmla="*/ 836401 h 1696167"/>
                <a:gd name="connsiteX83" fmla="*/ 1505424 w 1920955"/>
                <a:gd name="connsiteY83" fmla="*/ 817351 h 1696167"/>
                <a:gd name="connsiteX84" fmla="*/ 1453036 w 1920955"/>
                <a:gd name="connsiteY84" fmla="*/ 812588 h 1696167"/>
                <a:gd name="connsiteX85" fmla="*/ 1510186 w 1920955"/>
                <a:gd name="connsiteY85" fmla="*/ 779251 h 1696167"/>
                <a:gd name="connsiteX86" fmla="*/ 1476849 w 1920955"/>
                <a:gd name="connsiteY86" fmla="*/ 745913 h 1696167"/>
                <a:gd name="connsiteX87" fmla="*/ 1481611 w 1920955"/>
                <a:gd name="connsiteY87" fmla="*/ 722101 h 1696167"/>
                <a:gd name="connsiteX88" fmla="*/ 1572099 w 1920955"/>
                <a:gd name="connsiteY88" fmla="*/ 760201 h 1696167"/>
                <a:gd name="connsiteX89" fmla="*/ 1624486 w 1920955"/>
                <a:gd name="connsiteY89" fmla="*/ 693526 h 1696167"/>
                <a:gd name="connsiteX90" fmla="*/ 1614961 w 1920955"/>
                <a:gd name="connsiteY90" fmla="*/ 550651 h 1696167"/>
                <a:gd name="connsiteX91" fmla="*/ 1610199 w 1920955"/>
                <a:gd name="connsiteY91" fmla="*/ 412538 h 1696167"/>
                <a:gd name="connsiteX0" fmla="*/ 1610199 w 1920955"/>
                <a:gd name="connsiteY0" fmla="*/ 412538 h 1696335"/>
                <a:gd name="connsiteX1" fmla="*/ 1567336 w 1920955"/>
                <a:gd name="connsiteY1" fmla="*/ 369676 h 1696335"/>
                <a:gd name="connsiteX2" fmla="*/ 1467324 w 1920955"/>
                <a:gd name="connsiteY2" fmla="*/ 345863 h 1696335"/>
                <a:gd name="connsiteX3" fmla="*/ 1419699 w 1920955"/>
                <a:gd name="connsiteY3" fmla="*/ 317288 h 1696335"/>
                <a:gd name="connsiteX4" fmla="*/ 1367311 w 1920955"/>
                <a:gd name="connsiteY4" fmla="*/ 160126 h 1696335"/>
                <a:gd name="connsiteX5" fmla="*/ 1338736 w 1920955"/>
                <a:gd name="connsiteY5" fmla="*/ 12488 h 1696335"/>
                <a:gd name="connsiteX6" fmla="*/ 1267299 w 1920955"/>
                <a:gd name="connsiteY6" fmla="*/ 12488 h 1696335"/>
                <a:gd name="connsiteX7" fmla="*/ 1214911 w 1920955"/>
                <a:gd name="connsiteY7" fmla="*/ 50588 h 1696335"/>
                <a:gd name="connsiteX8" fmla="*/ 1214911 w 1920955"/>
                <a:gd name="connsiteY8" fmla="*/ 155363 h 1696335"/>
                <a:gd name="connsiteX9" fmla="*/ 1186336 w 1920955"/>
                <a:gd name="connsiteY9" fmla="*/ 183938 h 1696335"/>
                <a:gd name="connsiteX10" fmla="*/ 1176811 w 1920955"/>
                <a:gd name="connsiteY10" fmla="*/ 255376 h 1696335"/>
                <a:gd name="connsiteX11" fmla="*/ 1114899 w 1920955"/>
                <a:gd name="connsiteY11" fmla="*/ 298238 h 1696335"/>
                <a:gd name="connsiteX12" fmla="*/ 1005361 w 1920955"/>
                <a:gd name="connsiteY12" fmla="*/ 312526 h 1696335"/>
                <a:gd name="connsiteX13" fmla="*/ 962499 w 1920955"/>
                <a:gd name="connsiteY13" fmla="*/ 355388 h 1696335"/>
                <a:gd name="connsiteX14" fmla="*/ 838674 w 1920955"/>
                <a:gd name="connsiteY14" fmla="*/ 355388 h 1696335"/>
                <a:gd name="connsiteX15" fmla="*/ 781524 w 1920955"/>
                <a:gd name="connsiteY15" fmla="*/ 426826 h 1696335"/>
                <a:gd name="connsiteX16" fmla="*/ 781524 w 1920955"/>
                <a:gd name="connsiteY16" fmla="*/ 460163 h 1696335"/>
                <a:gd name="connsiteX17" fmla="*/ 743424 w 1920955"/>
                <a:gd name="connsiteY17" fmla="*/ 483976 h 1696335"/>
                <a:gd name="connsiteX18" fmla="*/ 671986 w 1920955"/>
                <a:gd name="connsiteY18" fmla="*/ 417301 h 1696335"/>
                <a:gd name="connsiteX19" fmla="*/ 519586 w 1920955"/>
                <a:gd name="connsiteY19" fmla="*/ 412538 h 1696335"/>
                <a:gd name="connsiteX20" fmla="*/ 457674 w 1920955"/>
                <a:gd name="connsiteY20" fmla="*/ 431588 h 1696335"/>
                <a:gd name="connsiteX21" fmla="*/ 419574 w 1920955"/>
                <a:gd name="connsiteY21" fmla="*/ 417301 h 1696335"/>
                <a:gd name="connsiteX22" fmla="*/ 400524 w 1920955"/>
                <a:gd name="connsiteY22" fmla="*/ 355388 h 1696335"/>
                <a:gd name="connsiteX23" fmla="*/ 333849 w 1920955"/>
                <a:gd name="connsiteY23" fmla="*/ 303001 h 1696335"/>
                <a:gd name="connsiteX24" fmla="*/ 286224 w 1920955"/>
                <a:gd name="connsiteY24" fmla="*/ 236326 h 1696335"/>
                <a:gd name="connsiteX25" fmla="*/ 143349 w 1920955"/>
                <a:gd name="connsiteY25" fmla="*/ 255376 h 1696335"/>
                <a:gd name="connsiteX26" fmla="*/ 124299 w 1920955"/>
                <a:gd name="connsiteY26" fmla="*/ 331576 h 1696335"/>
                <a:gd name="connsiteX27" fmla="*/ 110011 w 1920955"/>
                <a:gd name="connsiteY27" fmla="*/ 364913 h 1696335"/>
                <a:gd name="connsiteX28" fmla="*/ 133824 w 1920955"/>
                <a:gd name="connsiteY28" fmla="*/ 412538 h 1696335"/>
                <a:gd name="connsiteX29" fmla="*/ 81436 w 1920955"/>
                <a:gd name="connsiteY29" fmla="*/ 450638 h 1696335"/>
                <a:gd name="connsiteX30" fmla="*/ 33811 w 1920955"/>
                <a:gd name="connsiteY30" fmla="*/ 445876 h 1696335"/>
                <a:gd name="connsiteX31" fmla="*/ 33811 w 1920955"/>
                <a:gd name="connsiteY31" fmla="*/ 517313 h 1696335"/>
                <a:gd name="connsiteX32" fmla="*/ 474 w 1920955"/>
                <a:gd name="connsiteY32" fmla="*/ 622088 h 1696335"/>
                <a:gd name="connsiteX33" fmla="*/ 62386 w 1920955"/>
                <a:gd name="connsiteY33" fmla="*/ 698288 h 1696335"/>
                <a:gd name="connsiteX34" fmla="*/ 111977 w 1920955"/>
                <a:gd name="connsiteY34" fmla="*/ 678550 h 1696335"/>
                <a:gd name="connsiteX35" fmla="*/ 112334 w 1920955"/>
                <a:gd name="connsiteY35" fmla="*/ 748809 h 1696335"/>
                <a:gd name="connsiteX36" fmla="*/ 167161 w 1920955"/>
                <a:gd name="connsiteY36" fmla="*/ 779251 h 1696335"/>
                <a:gd name="connsiteX37" fmla="*/ 236159 w 1920955"/>
                <a:gd name="connsiteY37" fmla="*/ 789463 h 1696335"/>
                <a:gd name="connsiteX38" fmla="*/ 271462 w 1920955"/>
                <a:gd name="connsiteY38" fmla="*/ 845434 h 1696335"/>
                <a:gd name="connsiteX39" fmla="*/ 270869 w 1920955"/>
                <a:gd name="connsiteY39" fmla="*/ 890506 h 1696335"/>
                <a:gd name="connsiteX40" fmla="*/ 295393 w 1920955"/>
                <a:gd name="connsiteY40" fmla="*/ 929981 h 1696335"/>
                <a:gd name="connsiteX41" fmla="*/ 341051 w 1920955"/>
                <a:gd name="connsiteY41" fmla="*/ 968573 h 1696335"/>
                <a:gd name="connsiteX42" fmla="*/ 426184 w 1920955"/>
                <a:gd name="connsiteY42" fmla="*/ 1022825 h 1696335"/>
                <a:gd name="connsiteX43" fmla="*/ 461961 w 1920955"/>
                <a:gd name="connsiteY43" fmla="*/ 1093918 h 1696335"/>
                <a:gd name="connsiteX44" fmla="*/ 441064 w 1920955"/>
                <a:gd name="connsiteY44" fmla="*/ 1163491 h 1696335"/>
                <a:gd name="connsiteX45" fmla="*/ 519111 w 1920955"/>
                <a:gd name="connsiteY45" fmla="*/ 1219954 h 1696335"/>
                <a:gd name="connsiteX46" fmla="*/ 591143 w 1920955"/>
                <a:gd name="connsiteY46" fmla="*/ 1252948 h 1696335"/>
                <a:gd name="connsiteX47" fmla="*/ 571974 w 1920955"/>
                <a:gd name="connsiteY47" fmla="*/ 1312651 h 1696335"/>
                <a:gd name="connsiteX48" fmla="*/ 662461 w 1920955"/>
                <a:gd name="connsiteY48" fmla="*/ 1465051 h 1696335"/>
                <a:gd name="connsiteX49" fmla="*/ 755271 w 1920955"/>
                <a:gd name="connsiteY49" fmla="*/ 1538205 h 1696335"/>
                <a:gd name="connsiteX50" fmla="*/ 805336 w 1920955"/>
                <a:gd name="connsiteY50" fmla="*/ 1488863 h 1696335"/>
                <a:gd name="connsiteX51" fmla="*/ 869926 w 1920955"/>
                <a:gd name="connsiteY51" fmla="*/ 1516260 h 1696335"/>
                <a:gd name="connsiteX52" fmla="*/ 924399 w 1920955"/>
                <a:gd name="connsiteY52" fmla="*/ 1484101 h 1696335"/>
                <a:gd name="connsiteX53" fmla="*/ 941246 w 1920955"/>
                <a:gd name="connsiteY53" fmla="*/ 1441925 h 1696335"/>
                <a:gd name="connsiteX54" fmla="*/ 1005123 w 1920955"/>
                <a:gd name="connsiteY54" fmla="*/ 1528337 h 1696335"/>
                <a:gd name="connsiteX55" fmla="*/ 1050190 w 1920955"/>
                <a:gd name="connsiteY55" fmla="*/ 1599431 h 1696335"/>
                <a:gd name="connsiteX56" fmla="*/ 1132339 w 1920955"/>
                <a:gd name="connsiteY56" fmla="*/ 1696055 h 1696335"/>
                <a:gd name="connsiteX57" fmla="*/ 1151034 w 1920955"/>
                <a:gd name="connsiteY57" fmla="*/ 1627859 h 1696335"/>
                <a:gd name="connsiteX58" fmla="*/ 1176811 w 1920955"/>
                <a:gd name="connsiteY58" fmla="*/ 1598401 h 1696335"/>
                <a:gd name="connsiteX59" fmla="*/ 1210149 w 1920955"/>
                <a:gd name="connsiteY59" fmla="*/ 1617451 h 1696335"/>
                <a:gd name="connsiteX60" fmla="*/ 1233961 w 1920955"/>
                <a:gd name="connsiteY60" fmla="*/ 1579351 h 1696335"/>
                <a:gd name="connsiteX61" fmla="*/ 1267299 w 1920955"/>
                <a:gd name="connsiteY61" fmla="*/ 1655551 h 1696335"/>
                <a:gd name="connsiteX62" fmla="*/ 1348261 w 1920955"/>
                <a:gd name="connsiteY62" fmla="*/ 1626976 h 1696335"/>
                <a:gd name="connsiteX63" fmla="*/ 1414936 w 1920955"/>
                <a:gd name="connsiteY63" fmla="*/ 1555538 h 1696335"/>
                <a:gd name="connsiteX64" fmla="*/ 1433986 w 1920955"/>
                <a:gd name="connsiteY64" fmla="*/ 1607926 h 1696335"/>
                <a:gd name="connsiteX65" fmla="*/ 1410174 w 1920955"/>
                <a:gd name="connsiteY65" fmla="*/ 1612688 h 1696335"/>
                <a:gd name="connsiteX66" fmla="*/ 1543524 w 1920955"/>
                <a:gd name="connsiteY66" fmla="*/ 1579351 h 1696335"/>
                <a:gd name="connsiteX67" fmla="*/ 1581624 w 1920955"/>
                <a:gd name="connsiteY67" fmla="*/ 1507913 h 1696335"/>
                <a:gd name="connsiteX68" fmla="*/ 1643536 w 1920955"/>
                <a:gd name="connsiteY68" fmla="*/ 1412663 h 1696335"/>
                <a:gd name="connsiteX69" fmla="*/ 1714974 w 1920955"/>
                <a:gd name="connsiteY69" fmla="*/ 1384088 h 1696335"/>
                <a:gd name="connsiteX70" fmla="*/ 1772124 w 1920955"/>
                <a:gd name="connsiteY70" fmla="*/ 1379326 h 1696335"/>
                <a:gd name="connsiteX71" fmla="*/ 1772124 w 1920955"/>
                <a:gd name="connsiteY71" fmla="*/ 1450763 h 1696335"/>
                <a:gd name="connsiteX72" fmla="*/ 1886424 w 1920955"/>
                <a:gd name="connsiteY72" fmla="*/ 1446001 h 1696335"/>
                <a:gd name="connsiteX73" fmla="*/ 1919761 w 1920955"/>
                <a:gd name="connsiteY73" fmla="*/ 1441238 h 1696335"/>
                <a:gd name="connsiteX74" fmla="*/ 1853086 w 1920955"/>
                <a:gd name="connsiteY74" fmla="*/ 1398376 h 1696335"/>
                <a:gd name="connsiteX75" fmla="*/ 1853086 w 1920955"/>
                <a:gd name="connsiteY75" fmla="*/ 1303126 h 1696335"/>
                <a:gd name="connsiteX76" fmla="*/ 1853086 w 1920955"/>
                <a:gd name="connsiteY76" fmla="*/ 1245976 h 1696335"/>
                <a:gd name="connsiteX77" fmla="*/ 1810224 w 1920955"/>
                <a:gd name="connsiteY77" fmla="*/ 1236451 h 1696335"/>
                <a:gd name="connsiteX78" fmla="*/ 1734024 w 1920955"/>
                <a:gd name="connsiteY78" fmla="*/ 1155488 h 1696335"/>
                <a:gd name="connsiteX79" fmla="*/ 1695924 w 1920955"/>
                <a:gd name="connsiteY79" fmla="*/ 974513 h 1696335"/>
                <a:gd name="connsiteX80" fmla="*/ 1643536 w 1920955"/>
                <a:gd name="connsiteY80" fmla="*/ 941176 h 1696335"/>
                <a:gd name="connsiteX81" fmla="*/ 1605436 w 1920955"/>
                <a:gd name="connsiteY81" fmla="*/ 884026 h 1696335"/>
                <a:gd name="connsiteX82" fmla="*/ 1557811 w 1920955"/>
                <a:gd name="connsiteY82" fmla="*/ 836401 h 1696335"/>
                <a:gd name="connsiteX83" fmla="*/ 1505424 w 1920955"/>
                <a:gd name="connsiteY83" fmla="*/ 817351 h 1696335"/>
                <a:gd name="connsiteX84" fmla="*/ 1453036 w 1920955"/>
                <a:gd name="connsiteY84" fmla="*/ 812588 h 1696335"/>
                <a:gd name="connsiteX85" fmla="*/ 1510186 w 1920955"/>
                <a:gd name="connsiteY85" fmla="*/ 779251 h 1696335"/>
                <a:gd name="connsiteX86" fmla="*/ 1476849 w 1920955"/>
                <a:gd name="connsiteY86" fmla="*/ 745913 h 1696335"/>
                <a:gd name="connsiteX87" fmla="*/ 1481611 w 1920955"/>
                <a:gd name="connsiteY87" fmla="*/ 722101 h 1696335"/>
                <a:gd name="connsiteX88" fmla="*/ 1572099 w 1920955"/>
                <a:gd name="connsiteY88" fmla="*/ 760201 h 1696335"/>
                <a:gd name="connsiteX89" fmla="*/ 1624486 w 1920955"/>
                <a:gd name="connsiteY89" fmla="*/ 693526 h 1696335"/>
                <a:gd name="connsiteX90" fmla="*/ 1614961 w 1920955"/>
                <a:gd name="connsiteY90" fmla="*/ 550651 h 1696335"/>
                <a:gd name="connsiteX91" fmla="*/ 1610199 w 1920955"/>
                <a:gd name="connsiteY91" fmla="*/ 412538 h 1696335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51"/>
                <a:gd name="connsiteX1" fmla="*/ 1567336 w 1920955"/>
                <a:gd name="connsiteY1" fmla="*/ 369676 h 1691251"/>
                <a:gd name="connsiteX2" fmla="*/ 1467324 w 1920955"/>
                <a:gd name="connsiteY2" fmla="*/ 345863 h 1691251"/>
                <a:gd name="connsiteX3" fmla="*/ 1419699 w 1920955"/>
                <a:gd name="connsiteY3" fmla="*/ 317288 h 1691251"/>
                <a:gd name="connsiteX4" fmla="*/ 1367311 w 1920955"/>
                <a:gd name="connsiteY4" fmla="*/ 160126 h 1691251"/>
                <a:gd name="connsiteX5" fmla="*/ 1338736 w 1920955"/>
                <a:gd name="connsiteY5" fmla="*/ 12488 h 1691251"/>
                <a:gd name="connsiteX6" fmla="*/ 1267299 w 1920955"/>
                <a:gd name="connsiteY6" fmla="*/ 12488 h 1691251"/>
                <a:gd name="connsiteX7" fmla="*/ 1214911 w 1920955"/>
                <a:gd name="connsiteY7" fmla="*/ 50588 h 1691251"/>
                <a:gd name="connsiteX8" fmla="*/ 1214911 w 1920955"/>
                <a:gd name="connsiteY8" fmla="*/ 155363 h 1691251"/>
                <a:gd name="connsiteX9" fmla="*/ 1186336 w 1920955"/>
                <a:gd name="connsiteY9" fmla="*/ 183938 h 1691251"/>
                <a:gd name="connsiteX10" fmla="*/ 1176811 w 1920955"/>
                <a:gd name="connsiteY10" fmla="*/ 255376 h 1691251"/>
                <a:gd name="connsiteX11" fmla="*/ 1114899 w 1920955"/>
                <a:gd name="connsiteY11" fmla="*/ 298238 h 1691251"/>
                <a:gd name="connsiteX12" fmla="*/ 1005361 w 1920955"/>
                <a:gd name="connsiteY12" fmla="*/ 312526 h 1691251"/>
                <a:gd name="connsiteX13" fmla="*/ 962499 w 1920955"/>
                <a:gd name="connsiteY13" fmla="*/ 355388 h 1691251"/>
                <a:gd name="connsiteX14" fmla="*/ 838674 w 1920955"/>
                <a:gd name="connsiteY14" fmla="*/ 355388 h 1691251"/>
                <a:gd name="connsiteX15" fmla="*/ 781524 w 1920955"/>
                <a:gd name="connsiteY15" fmla="*/ 426826 h 1691251"/>
                <a:gd name="connsiteX16" fmla="*/ 781524 w 1920955"/>
                <a:gd name="connsiteY16" fmla="*/ 460163 h 1691251"/>
                <a:gd name="connsiteX17" fmla="*/ 743424 w 1920955"/>
                <a:gd name="connsiteY17" fmla="*/ 483976 h 1691251"/>
                <a:gd name="connsiteX18" fmla="*/ 671986 w 1920955"/>
                <a:gd name="connsiteY18" fmla="*/ 417301 h 1691251"/>
                <a:gd name="connsiteX19" fmla="*/ 519586 w 1920955"/>
                <a:gd name="connsiteY19" fmla="*/ 412538 h 1691251"/>
                <a:gd name="connsiteX20" fmla="*/ 457674 w 1920955"/>
                <a:gd name="connsiteY20" fmla="*/ 431588 h 1691251"/>
                <a:gd name="connsiteX21" fmla="*/ 419574 w 1920955"/>
                <a:gd name="connsiteY21" fmla="*/ 417301 h 1691251"/>
                <a:gd name="connsiteX22" fmla="*/ 400524 w 1920955"/>
                <a:gd name="connsiteY22" fmla="*/ 355388 h 1691251"/>
                <a:gd name="connsiteX23" fmla="*/ 333849 w 1920955"/>
                <a:gd name="connsiteY23" fmla="*/ 303001 h 1691251"/>
                <a:gd name="connsiteX24" fmla="*/ 286224 w 1920955"/>
                <a:gd name="connsiteY24" fmla="*/ 236326 h 1691251"/>
                <a:gd name="connsiteX25" fmla="*/ 143349 w 1920955"/>
                <a:gd name="connsiteY25" fmla="*/ 255376 h 1691251"/>
                <a:gd name="connsiteX26" fmla="*/ 124299 w 1920955"/>
                <a:gd name="connsiteY26" fmla="*/ 331576 h 1691251"/>
                <a:gd name="connsiteX27" fmla="*/ 110011 w 1920955"/>
                <a:gd name="connsiteY27" fmla="*/ 364913 h 1691251"/>
                <a:gd name="connsiteX28" fmla="*/ 133824 w 1920955"/>
                <a:gd name="connsiteY28" fmla="*/ 412538 h 1691251"/>
                <a:gd name="connsiteX29" fmla="*/ 81436 w 1920955"/>
                <a:gd name="connsiteY29" fmla="*/ 450638 h 1691251"/>
                <a:gd name="connsiteX30" fmla="*/ 33811 w 1920955"/>
                <a:gd name="connsiteY30" fmla="*/ 445876 h 1691251"/>
                <a:gd name="connsiteX31" fmla="*/ 33811 w 1920955"/>
                <a:gd name="connsiteY31" fmla="*/ 517313 h 1691251"/>
                <a:gd name="connsiteX32" fmla="*/ 474 w 1920955"/>
                <a:gd name="connsiteY32" fmla="*/ 622088 h 1691251"/>
                <a:gd name="connsiteX33" fmla="*/ 62386 w 1920955"/>
                <a:gd name="connsiteY33" fmla="*/ 698288 h 1691251"/>
                <a:gd name="connsiteX34" fmla="*/ 111977 w 1920955"/>
                <a:gd name="connsiteY34" fmla="*/ 678550 h 1691251"/>
                <a:gd name="connsiteX35" fmla="*/ 112334 w 1920955"/>
                <a:gd name="connsiteY35" fmla="*/ 748809 h 1691251"/>
                <a:gd name="connsiteX36" fmla="*/ 167161 w 1920955"/>
                <a:gd name="connsiteY36" fmla="*/ 779251 h 1691251"/>
                <a:gd name="connsiteX37" fmla="*/ 236159 w 1920955"/>
                <a:gd name="connsiteY37" fmla="*/ 789463 h 1691251"/>
                <a:gd name="connsiteX38" fmla="*/ 271462 w 1920955"/>
                <a:gd name="connsiteY38" fmla="*/ 845434 h 1691251"/>
                <a:gd name="connsiteX39" fmla="*/ 270869 w 1920955"/>
                <a:gd name="connsiteY39" fmla="*/ 890506 h 1691251"/>
                <a:gd name="connsiteX40" fmla="*/ 295393 w 1920955"/>
                <a:gd name="connsiteY40" fmla="*/ 929981 h 1691251"/>
                <a:gd name="connsiteX41" fmla="*/ 341051 w 1920955"/>
                <a:gd name="connsiteY41" fmla="*/ 968573 h 1691251"/>
                <a:gd name="connsiteX42" fmla="*/ 426184 w 1920955"/>
                <a:gd name="connsiteY42" fmla="*/ 1022825 h 1691251"/>
                <a:gd name="connsiteX43" fmla="*/ 461961 w 1920955"/>
                <a:gd name="connsiteY43" fmla="*/ 1093918 h 1691251"/>
                <a:gd name="connsiteX44" fmla="*/ 441064 w 1920955"/>
                <a:gd name="connsiteY44" fmla="*/ 1163491 h 1691251"/>
                <a:gd name="connsiteX45" fmla="*/ 519111 w 1920955"/>
                <a:gd name="connsiteY45" fmla="*/ 1219954 h 1691251"/>
                <a:gd name="connsiteX46" fmla="*/ 591143 w 1920955"/>
                <a:gd name="connsiteY46" fmla="*/ 1252948 h 1691251"/>
                <a:gd name="connsiteX47" fmla="*/ 571974 w 1920955"/>
                <a:gd name="connsiteY47" fmla="*/ 1312651 h 1691251"/>
                <a:gd name="connsiteX48" fmla="*/ 662461 w 1920955"/>
                <a:gd name="connsiteY48" fmla="*/ 1465051 h 1691251"/>
                <a:gd name="connsiteX49" fmla="*/ 755271 w 1920955"/>
                <a:gd name="connsiteY49" fmla="*/ 1538205 h 1691251"/>
                <a:gd name="connsiteX50" fmla="*/ 805336 w 1920955"/>
                <a:gd name="connsiteY50" fmla="*/ 1488863 h 1691251"/>
                <a:gd name="connsiteX51" fmla="*/ 869926 w 1920955"/>
                <a:gd name="connsiteY51" fmla="*/ 1516260 h 1691251"/>
                <a:gd name="connsiteX52" fmla="*/ 924399 w 1920955"/>
                <a:gd name="connsiteY52" fmla="*/ 1484101 h 1691251"/>
                <a:gd name="connsiteX53" fmla="*/ 941246 w 1920955"/>
                <a:gd name="connsiteY53" fmla="*/ 1441925 h 1691251"/>
                <a:gd name="connsiteX54" fmla="*/ 1005123 w 1920955"/>
                <a:gd name="connsiteY54" fmla="*/ 1528337 h 1691251"/>
                <a:gd name="connsiteX55" fmla="*/ 1050190 w 1920955"/>
                <a:gd name="connsiteY55" fmla="*/ 1599431 h 1691251"/>
                <a:gd name="connsiteX56" fmla="*/ 1120136 w 1920955"/>
                <a:gd name="connsiteY56" fmla="*/ 1690950 h 1691251"/>
                <a:gd name="connsiteX57" fmla="*/ 1151034 w 1920955"/>
                <a:gd name="connsiteY57" fmla="*/ 1627859 h 1691251"/>
                <a:gd name="connsiteX58" fmla="*/ 1176811 w 1920955"/>
                <a:gd name="connsiteY58" fmla="*/ 1598401 h 1691251"/>
                <a:gd name="connsiteX59" fmla="*/ 1210149 w 1920955"/>
                <a:gd name="connsiteY59" fmla="*/ 1617451 h 1691251"/>
                <a:gd name="connsiteX60" fmla="*/ 1233961 w 1920955"/>
                <a:gd name="connsiteY60" fmla="*/ 1579351 h 1691251"/>
                <a:gd name="connsiteX61" fmla="*/ 1267299 w 1920955"/>
                <a:gd name="connsiteY61" fmla="*/ 1655551 h 1691251"/>
                <a:gd name="connsiteX62" fmla="*/ 1348261 w 1920955"/>
                <a:gd name="connsiteY62" fmla="*/ 1626976 h 1691251"/>
                <a:gd name="connsiteX63" fmla="*/ 1414936 w 1920955"/>
                <a:gd name="connsiteY63" fmla="*/ 1555538 h 1691251"/>
                <a:gd name="connsiteX64" fmla="*/ 1433986 w 1920955"/>
                <a:gd name="connsiteY64" fmla="*/ 1607926 h 1691251"/>
                <a:gd name="connsiteX65" fmla="*/ 1410174 w 1920955"/>
                <a:gd name="connsiteY65" fmla="*/ 1612688 h 1691251"/>
                <a:gd name="connsiteX66" fmla="*/ 1543524 w 1920955"/>
                <a:gd name="connsiteY66" fmla="*/ 1579351 h 1691251"/>
                <a:gd name="connsiteX67" fmla="*/ 1581624 w 1920955"/>
                <a:gd name="connsiteY67" fmla="*/ 1507913 h 1691251"/>
                <a:gd name="connsiteX68" fmla="*/ 1643536 w 1920955"/>
                <a:gd name="connsiteY68" fmla="*/ 1412663 h 1691251"/>
                <a:gd name="connsiteX69" fmla="*/ 1714974 w 1920955"/>
                <a:gd name="connsiteY69" fmla="*/ 1384088 h 1691251"/>
                <a:gd name="connsiteX70" fmla="*/ 1772124 w 1920955"/>
                <a:gd name="connsiteY70" fmla="*/ 1379326 h 1691251"/>
                <a:gd name="connsiteX71" fmla="*/ 1772124 w 1920955"/>
                <a:gd name="connsiteY71" fmla="*/ 1450763 h 1691251"/>
                <a:gd name="connsiteX72" fmla="*/ 1886424 w 1920955"/>
                <a:gd name="connsiteY72" fmla="*/ 1446001 h 1691251"/>
                <a:gd name="connsiteX73" fmla="*/ 1919761 w 1920955"/>
                <a:gd name="connsiteY73" fmla="*/ 1441238 h 1691251"/>
                <a:gd name="connsiteX74" fmla="*/ 1853086 w 1920955"/>
                <a:gd name="connsiteY74" fmla="*/ 1398376 h 1691251"/>
                <a:gd name="connsiteX75" fmla="*/ 1853086 w 1920955"/>
                <a:gd name="connsiteY75" fmla="*/ 1303126 h 1691251"/>
                <a:gd name="connsiteX76" fmla="*/ 1853086 w 1920955"/>
                <a:gd name="connsiteY76" fmla="*/ 1245976 h 1691251"/>
                <a:gd name="connsiteX77" fmla="*/ 1810224 w 1920955"/>
                <a:gd name="connsiteY77" fmla="*/ 1236451 h 1691251"/>
                <a:gd name="connsiteX78" fmla="*/ 1734024 w 1920955"/>
                <a:gd name="connsiteY78" fmla="*/ 1155488 h 1691251"/>
                <a:gd name="connsiteX79" fmla="*/ 1695924 w 1920955"/>
                <a:gd name="connsiteY79" fmla="*/ 974513 h 1691251"/>
                <a:gd name="connsiteX80" fmla="*/ 1643536 w 1920955"/>
                <a:gd name="connsiteY80" fmla="*/ 941176 h 1691251"/>
                <a:gd name="connsiteX81" fmla="*/ 1605436 w 1920955"/>
                <a:gd name="connsiteY81" fmla="*/ 884026 h 1691251"/>
                <a:gd name="connsiteX82" fmla="*/ 1557811 w 1920955"/>
                <a:gd name="connsiteY82" fmla="*/ 836401 h 1691251"/>
                <a:gd name="connsiteX83" fmla="*/ 1505424 w 1920955"/>
                <a:gd name="connsiteY83" fmla="*/ 817351 h 1691251"/>
                <a:gd name="connsiteX84" fmla="*/ 1453036 w 1920955"/>
                <a:gd name="connsiteY84" fmla="*/ 812588 h 1691251"/>
                <a:gd name="connsiteX85" fmla="*/ 1510186 w 1920955"/>
                <a:gd name="connsiteY85" fmla="*/ 779251 h 1691251"/>
                <a:gd name="connsiteX86" fmla="*/ 1476849 w 1920955"/>
                <a:gd name="connsiteY86" fmla="*/ 745913 h 1691251"/>
                <a:gd name="connsiteX87" fmla="*/ 1481611 w 1920955"/>
                <a:gd name="connsiteY87" fmla="*/ 722101 h 1691251"/>
                <a:gd name="connsiteX88" fmla="*/ 1572099 w 1920955"/>
                <a:gd name="connsiteY88" fmla="*/ 760201 h 1691251"/>
                <a:gd name="connsiteX89" fmla="*/ 1624486 w 1920955"/>
                <a:gd name="connsiteY89" fmla="*/ 693526 h 1691251"/>
                <a:gd name="connsiteX90" fmla="*/ 1614961 w 1920955"/>
                <a:gd name="connsiteY90" fmla="*/ 550651 h 1691251"/>
                <a:gd name="connsiteX91" fmla="*/ 1610199 w 1920955"/>
                <a:gd name="connsiteY91" fmla="*/ 412538 h 1691251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10149 w 1920955"/>
                <a:gd name="connsiteY59" fmla="*/ 1617451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33961 w 1920955"/>
                <a:gd name="connsiteY60" fmla="*/ 1579351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67299 w 1920955"/>
                <a:gd name="connsiteY61" fmla="*/ 1655551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08789 w 1920955"/>
                <a:gd name="connsiteY61" fmla="*/ 1594278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311230 w 1920955"/>
                <a:gd name="connsiteY61" fmla="*/ 1681082 h 1691232"/>
                <a:gd name="connsiteX62" fmla="*/ 1348261 w 1920955"/>
                <a:gd name="connsiteY62" fmla="*/ 1626976 h 1691232"/>
                <a:gd name="connsiteX63" fmla="*/ 1414936 w 1920955"/>
                <a:gd name="connsiteY63" fmla="*/ 1555538 h 1691232"/>
                <a:gd name="connsiteX64" fmla="*/ 1433986 w 1920955"/>
                <a:gd name="connsiteY64" fmla="*/ 1607926 h 1691232"/>
                <a:gd name="connsiteX65" fmla="*/ 1410174 w 1920955"/>
                <a:gd name="connsiteY65" fmla="*/ 1612688 h 1691232"/>
                <a:gd name="connsiteX66" fmla="*/ 1543524 w 1920955"/>
                <a:gd name="connsiteY66" fmla="*/ 1579351 h 1691232"/>
                <a:gd name="connsiteX67" fmla="*/ 1581624 w 1920955"/>
                <a:gd name="connsiteY67" fmla="*/ 1507913 h 1691232"/>
                <a:gd name="connsiteX68" fmla="*/ 1643536 w 1920955"/>
                <a:gd name="connsiteY68" fmla="*/ 1412663 h 1691232"/>
                <a:gd name="connsiteX69" fmla="*/ 1714974 w 1920955"/>
                <a:gd name="connsiteY69" fmla="*/ 1384088 h 1691232"/>
                <a:gd name="connsiteX70" fmla="*/ 1772124 w 1920955"/>
                <a:gd name="connsiteY70" fmla="*/ 1379326 h 1691232"/>
                <a:gd name="connsiteX71" fmla="*/ 1772124 w 1920955"/>
                <a:gd name="connsiteY71" fmla="*/ 1450763 h 1691232"/>
                <a:gd name="connsiteX72" fmla="*/ 1886424 w 1920955"/>
                <a:gd name="connsiteY72" fmla="*/ 1446001 h 1691232"/>
                <a:gd name="connsiteX73" fmla="*/ 1919761 w 1920955"/>
                <a:gd name="connsiteY73" fmla="*/ 1441238 h 1691232"/>
                <a:gd name="connsiteX74" fmla="*/ 1853086 w 1920955"/>
                <a:gd name="connsiteY74" fmla="*/ 1398376 h 1691232"/>
                <a:gd name="connsiteX75" fmla="*/ 1853086 w 1920955"/>
                <a:gd name="connsiteY75" fmla="*/ 1303126 h 1691232"/>
                <a:gd name="connsiteX76" fmla="*/ 1853086 w 1920955"/>
                <a:gd name="connsiteY76" fmla="*/ 1245976 h 1691232"/>
                <a:gd name="connsiteX77" fmla="*/ 1810224 w 1920955"/>
                <a:gd name="connsiteY77" fmla="*/ 1236451 h 1691232"/>
                <a:gd name="connsiteX78" fmla="*/ 1734024 w 1920955"/>
                <a:gd name="connsiteY78" fmla="*/ 1155488 h 1691232"/>
                <a:gd name="connsiteX79" fmla="*/ 1695924 w 1920955"/>
                <a:gd name="connsiteY79" fmla="*/ 974513 h 1691232"/>
                <a:gd name="connsiteX80" fmla="*/ 1643536 w 1920955"/>
                <a:gd name="connsiteY80" fmla="*/ 941176 h 1691232"/>
                <a:gd name="connsiteX81" fmla="*/ 1605436 w 1920955"/>
                <a:gd name="connsiteY81" fmla="*/ 884026 h 1691232"/>
                <a:gd name="connsiteX82" fmla="*/ 1557811 w 1920955"/>
                <a:gd name="connsiteY82" fmla="*/ 836401 h 1691232"/>
                <a:gd name="connsiteX83" fmla="*/ 1505424 w 1920955"/>
                <a:gd name="connsiteY83" fmla="*/ 817351 h 1691232"/>
                <a:gd name="connsiteX84" fmla="*/ 1453036 w 1920955"/>
                <a:gd name="connsiteY84" fmla="*/ 812588 h 1691232"/>
                <a:gd name="connsiteX85" fmla="*/ 1510186 w 1920955"/>
                <a:gd name="connsiteY85" fmla="*/ 779251 h 1691232"/>
                <a:gd name="connsiteX86" fmla="*/ 1476849 w 1920955"/>
                <a:gd name="connsiteY86" fmla="*/ 745913 h 1691232"/>
                <a:gd name="connsiteX87" fmla="*/ 1481611 w 1920955"/>
                <a:gd name="connsiteY87" fmla="*/ 722101 h 1691232"/>
                <a:gd name="connsiteX88" fmla="*/ 1572099 w 1920955"/>
                <a:gd name="connsiteY88" fmla="*/ 760201 h 1691232"/>
                <a:gd name="connsiteX89" fmla="*/ 1624486 w 1920955"/>
                <a:gd name="connsiteY89" fmla="*/ 693526 h 1691232"/>
                <a:gd name="connsiteX90" fmla="*/ 1614961 w 1920955"/>
                <a:gd name="connsiteY90" fmla="*/ 550651 h 1691232"/>
                <a:gd name="connsiteX91" fmla="*/ 1610199 w 1920955"/>
                <a:gd name="connsiteY91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48261 w 1920955"/>
                <a:gd name="connsiteY63" fmla="*/ 1626976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3986 w 1920955"/>
                <a:gd name="connsiteY65" fmla="*/ 1607926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68155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38868 w 1920955"/>
                <a:gd name="connsiteY65" fmla="*/ 1595161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10174 w 1920955"/>
                <a:gd name="connsiteY66" fmla="*/ 1612688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4936 w 1920955"/>
                <a:gd name="connsiteY64" fmla="*/ 1555538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76071 w 1920955"/>
                <a:gd name="connsiteY66" fmla="*/ 1622900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505358 w 1920955"/>
                <a:gd name="connsiteY66" fmla="*/ 164843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5477 w 1920955"/>
                <a:gd name="connsiteY65" fmla="*/ 1541547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43524 w 1920955"/>
                <a:gd name="connsiteY67" fmla="*/ 1579351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1624 w 1920955"/>
                <a:gd name="connsiteY68" fmla="*/ 1507913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43536 w 1920955"/>
                <a:gd name="connsiteY69" fmla="*/ 1412663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4065 w 1920955"/>
                <a:gd name="connsiteY68" fmla="*/ 1525784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72124 w 1920955"/>
                <a:gd name="connsiteY71" fmla="*/ 1379326 h 1691232"/>
                <a:gd name="connsiteX72" fmla="*/ 1772124 w 1920955"/>
                <a:gd name="connsiteY72" fmla="*/ 1450763 h 1691232"/>
                <a:gd name="connsiteX73" fmla="*/ 1886424 w 1920955"/>
                <a:gd name="connsiteY73" fmla="*/ 1446001 h 1691232"/>
                <a:gd name="connsiteX74" fmla="*/ 1919761 w 1920955"/>
                <a:gd name="connsiteY74" fmla="*/ 1441238 h 1691232"/>
                <a:gd name="connsiteX75" fmla="*/ 1853086 w 1920955"/>
                <a:gd name="connsiteY75" fmla="*/ 1398376 h 1691232"/>
                <a:gd name="connsiteX76" fmla="*/ 1853086 w 1920955"/>
                <a:gd name="connsiteY76" fmla="*/ 1303126 h 1691232"/>
                <a:gd name="connsiteX77" fmla="*/ 1853086 w 1920955"/>
                <a:gd name="connsiteY77" fmla="*/ 1245976 h 1691232"/>
                <a:gd name="connsiteX78" fmla="*/ 1810224 w 1920955"/>
                <a:gd name="connsiteY78" fmla="*/ 1236451 h 1691232"/>
                <a:gd name="connsiteX79" fmla="*/ 1734024 w 1920955"/>
                <a:gd name="connsiteY79" fmla="*/ 1155488 h 1691232"/>
                <a:gd name="connsiteX80" fmla="*/ 1695924 w 1920955"/>
                <a:gd name="connsiteY80" fmla="*/ 974513 h 1691232"/>
                <a:gd name="connsiteX81" fmla="*/ 1643536 w 1920955"/>
                <a:gd name="connsiteY81" fmla="*/ 941176 h 1691232"/>
                <a:gd name="connsiteX82" fmla="*/ 1605436 w 1920955"/>
                <a:gd name="connsiteY82" fmla="*/ 884026 h 1691232"/>
                <a:gd name="connsiteX83" fmla="*/ 1557811 w 1920955"/>
                <a:gd name="connsiteY83" fmla="*/ 836401 h 1691232"/>
                <a:gd name="connsiteX84" fmla="*/ 1505424 w 1920955"/>
                <a:gd name="connsiteY84" fmla="*/ 817351 h 1691232"/>
                <a:gd name="connsiteX85" fmla="*/ 1453036 w 1920955"/>
                <a:gd name="connsiteY85" fmla="*/ 812588 h 1691232"/>
                <a:gd name="connsiteX86" fmla="*/ 1510186 w 1920955"/>
                <a:gd name="connsiteY86" fmla="*/ 779251 h 1691232"/>
                <a:gd name="connsiteX87" fmla="*/ 1476849 w 1920955"/>
                <a:gd name="connsiteY87" fmla="*/ 745913 h 1691232"/>
                <a:gd name="connsiteX88" fmla="*/ 1481611 w 1920955"/>
                <a:gd name="connsiteY88" fmla="*/ 722101 h 1691232"/>
                <a:gd name="connsiteX89" fmla="*/ 1572099 w 1920955"/>
                <a:gd name="connsiteY89" fmla="*/ 760201 h 1691232"/>
                <a:gd name="connsiteX90" fmla="*/ 1624486 w 1920955"/>
                <a:gd name="connsiteY90" fmla="*/ 693526 h 1691232"/>
                <a:gd name="connsiteX91" fmla="*/ 1614961 w 1920955"/>
                <a:gd name="connsiteY91" fmla="*/ 550651 h 1691232"/>
                <a:gd name="connsiteX92" fmla="*/ 1610199 w 1920955"/>
                <a:gd name="connsiteY92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21378 w 1920955"/>
                <a:gd name="connsiteY71" fmla="*/ 1402701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384088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36021 w 1920955"/>
                <a:gd name="connsiteY71" fmla="*/ 1379724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772124 w 1920955"/>
                <a:gd name="connsiteY72" fmla="*/ 1379326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03851 w 1920955"/>
                <a:gd name="connsiteY72" fmla="*/ 1369114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955"/>
                <a:gd name="connsiteY0" fmla="*/ 412538 h 1691232"/>
                <a:gd name="connsiteX1" fmla="*/ 1567336 w 1920955"/>
                <a:gd name="connsiteY1" fmla="*/ 369676 h 1691232"/>
                <a:gd name="connsiteX2" fmla="*/ 1467324 w 1920955"/>
                <a:gd name="connsiteY2" fmla="*/ 345863 h 1691232"/>
                <a:gd name="connsiteX3" fmla="*/ 1419699 w 1920955"/>
                <a:gd name="connsiteY3" fmla="*/ 317288 h 1691232"/>
                <a:gd name="connsiteX4" fmla="*/ 1367311 w 1920955"/>
                <a:gd name="connsiteY4" fmla="*/ 160126 h 1691232"/>
                <a:gd name="connsiteX5" fmla="*/ 1338736 w 1920955"/>
                <a:gd name="connsiteY5" fmla="*/ 12488 h 1691232"/>
                <a:gd name="connsiteX6" fmla="*/ 1267299 w 1920955"/>
                <a:gd name="connsiteY6" fmla="*/ 12488 h 1691232"/>
                <a:gd name="connsiteX7" fmla="*/ 1214911 w 1920955"/>
                <a:gd name="connsiteY7" fmla="*/ 50588 h 1691232"/>
                <a:gd name="connsiteX8" fmla="*/ 1214911 w 1920955"/>
                <a:gd name="connsiteY8" fmla="*/ 155363 h 1691232"/>
                <a:gd name="connsiteX9" fmla="*/ 1186336 w 1920955"/>
                <a:gd name="connsiteY9" fmla="*/ 183938 h 1691232"/>
                <a:gd name="connsiteX10" fmla="*/ 1176811 w 1920955"/>
                <a:gd name="connsiteY10" fmla="*/ 255376 h 1691232"/>
                <a:gd name="connsiteX11" fmla="*/ 1114899 w 1920955"/>
                <a:gd name="connsiteY11" fmla="*/ 298238 h 1691232"/>
                <a:gd name="connsiteX12" fmla="*/ 1005361 w 1920955"/>
                <a:gd name="connsiteY12" fmla="*/ 312526 h 1691232"/>
                <a:gd name="connsiteX13" fmla="*/ 962499 w 1920955"/>
                <a:gd name="connsiteY13" fmla="*/ 355388 h 1691232"/>
                <a:gd name="connsiteX14" fmla="*/ 838674 w 1920955"/>
                <a:gd name="connsiteY14" fmla="*/ 355388 h 1691232"/>
                <a:gd name="connsiteX15" fmla="*/ 781524 w 1920955"/>
                <a:gd name="connsiteY15" fmla="*/ 426826 h 1691232"/>
                <a:gd name="connsiteX16" fmla="*/ 781524 w 1920955"/>
                <a:gd name="connsiteY16" fmla="*/ 460163 h 1691232"/>
                <a:gd name="connsiteX17" fmla="*/ 743424 w 1920955"/>
                <a:gd name="connsiteY17" fmla="*/ 483976 h 1691232"/>
                <a:gd name="connsiteX18" fmla="*/ 671986 w 1920955"/>
                <a:gd name="connsiteY18" fmla="*/ 417301 h 1691232"/>
                <a:gd name="connsiteX19" fmla="*/ 519586 w 1920955"/>
                <a:gd name="connsiteY19" fmla="*/ 412538 h 1691232"/>
                <a:gd name="connsiteX20" fmla="*/ 457674 w 1920955"/>
                <a:gd name="connsiteY20" fmla="*/ 431588 h 1691232"/>
                <a:gd name="connsiteX21" fmla="*/ 419574 w 1920955"/>
                <a:gd name="connsiteY21" fmla="*/ 417301 h 1691232"/>
                <a:gd name="connsiteX22" fmla="*/ 400524 w 1920955"/>
                <a:gd name="connsiteY22" fmla="*/ 355388 h 1691232"/>
                <a:gd name="connsiteX23" fmla="*/ 333849 w 1920955"/>
                <a:gd name="connsiteY23" fmla="*/ 303001 h 1691232"/>
                <a:gd name="connsiteX24" fmla="*/ 286224 w 1920955"/>
                <a:gd name="connsiteY24" fmla="*/ 236326 h 1691232"/>
                <a:gd name="connsiteX25" fmla="*/ 143349 w 1920955"/>
                <a:gd name="connsiteY25" fmla="*/ 255376 h 1691232"/>
                <a:gd name="connsiteX26" fmla="*/ 124299 w 1920955"/>
                <a:gd name="connsiteY26" fmla="*/ 331576 h 1691232"/>
                <a:gd name="connsiteX27" fmla="*/ 110011 w 1920955"/>
                <a:gd name="connsiteY27" fmla="*/ 364913 h 1691232"/>
                <a:gd name="connsiteX28" fmla="*/ 133824 w 1920955"/>
                <a:gd name="connsiteY28" fmla="*/ 412538 h 1691232"/>
                <a:gd name="connsiteX29" fmla="*/ 81436 w 1920955"/>
                <a:gd name="connsiteY29" fmla="*/ 450638 h 1691232"/>
                <a:gd name="connsiteX30" fmla="*/ 33811 w 1920955"/>
                <a:gd name="connsiteY30" fmla="*/ 445876 h 1691232"/>
                <a:gd name="connsiteX31" fmla="*/ 33811 w 1920955"/>
                <a:gd name="connsiteY31" fmla="*/ 517313 h 1691232"/>
                <a:gd name="connsiteX32" fmla="*/ 474 w 1920955"/>
                <a:gd name="connsiteY32" fmla="*/ 622088 h 1691232"/>
                <a:gd name="connsiteX33" fmla="*/ 62386 w 1920955"/>
                <a:gd name="connsiteY33" fmla="*/ 698288 h 1691232"/>
                <a:gd name="connsiteX34" fmla="*/ 111977 w 1920955"/>
                <a:gd name="connsiteY34" fmla="*/ 678550 h 1691232"/>
                <a:gd name="connsiteX35" fmla="*/ 112334 w 1920955"/>
                <a:gd name="connsiteY35" fmla="*/ 748809 h 1691232"/>
                <a:gd name="connsiteX36" fmla="*/ 167161 w 1920955"/>
                <a:gd name="connsiteY36" fmla="*/ 779251 h 1691232"/>
                <a:gd name="connsiteX37" fmla="*/ 236159 w 1920955"/>
                <a:gd name="connsiteY37" fmla="*/ 789463 h 1691232"/>
                <a:gd name="connsiteX38" fmla="*/ 271462 w 1920955"/>
                <a:gd name="connsiteY38" fmla="*/ 845434 h 1691232"/>
                <a:gd name="connsiteX39" fmla="*/ 270869 w 1920955"/>
                <a:gd name="connsiteY39" fmla="*/ 890506 h 1691232"/>
                <a:gd name="connsiteX40" fmla="*/ 295393 w 1920955"/>
                <a:gd name="connsiteY40" fmla="*/ 929981 h 1691232"/>
                <a:gd name="connsiteX41" fmla="*/ 341051 w 1920955"/>
                <a:gd name="connsiteY41" fmla="*/ 968573 h 1691232"/>
                <a:gd name="connsiteX42" fmla="*/ 426184 w 1920955"/>
                <a:gd name="connsiteY42" fmla="*/ 1022825 h 1691232"/>
                <a:gd name="connsiteX43" fmla="*/ 461961 w 1920955"/>
                <a:gd name="connsiteY43" fmla="*/ 1093918 h 1691232"/>
                <a:gd name="connsiteX44" fmla="*/ 441064 w 1920955"/>
                <a:gd name="connsiteY44" fmla="*/ 1163491 h 1691232"/>
                <a:gd name="connsiteX45" fmla="*/ 519111 w 1920955"/>
                <a:gd name="connsiteY45" fmla="*/ 1219954 h 1691232"/>
                <a:gd name="connsiteX46" fmla="*/ 591143 w 1920955"/>
                <a:gd name="connsiteY46" fmla="*/ 1252948 h 1691232"/>
                <a:gd name="connsiteX47" fmla="*/ 571974 w 1920955"/>
                <a:gd name="connsiteY47" fmla="*/ 1312651 h 1691232"/>
                <a:gd name="connsiteX48" fmla="*/ 662461 w 1920955"/>
                <a:gd name="connsiteY48" fmla="*/ 1465051 h 1691232"/>
                <a:gd name="connsiteX49" fmla="*/ 755271 w 1920955"/>
                <a:gd name="connsiteY49" fmla="*/ 1538205 h 1691232"/>
                <a:gd name="connsiteX50" fmla="*/ 805336 w 1920955"/>
                <a:gd name="connsiteY50" fmla="*/ 1488863 h 1691232"/>
                <a:gd name="connsiteX51" fmla="*/ 869926 w 1920955"/>
                <a:gd name="connsiteY51" fmla="*/ 1516260 h 1691232"/>
                <a:gd name="connsiteX52" fmla="*/ 924399 w 1920955"/>
                <a:gd name="connsiteY52" fmla="*/ 1484101 h 1691232"/>
                <a:gd name="connsiteX53" fmla="*/ 941246 w 1920955"/>
                <a:gd name="connsiteY53" fmla="*/ 1441925 h 1691232"/>
                <a:gd name="connsiteX54" fmla="*/ 1005123 w 1920955"/>
                <a:gd name="connsiteY54" fmla="*/ 1528337 h 1691232"/>
                <a:gd name="connsiteX55" fmla="*/ 1050190 w 1920955"/>
                <a:gd name="connsiteY55" fmla="*/ 1599431 h 1691232"/>
                <a:gd name="connsiteX56" fmla="*/ 1120136 w 1920955"/>
                <a:gd name="connsiteY56" fmla="*/ 1690950 h 1691232"/>
                <a:gd name="connsiteX57" fmla="*/ 1151034 w 1920955"/>
                <a:gd name="connsiteY57" fmla="*/ 1627859 h 1691232"/>
                <a:gd name="connsiteX58" fmla="*/ 1181693 w 1920955"/>
                <a:gd name="connsiteY58" fmla="*/ 1621379 h 1691232"/>
                <a:gd name="connsiteX59" fmla="*/ 1224792 w 1920955"/>
                <a:gd name="connsiteY59" fmla="*/ 1650642 h 1691232"/>
                <a:gd name="connsiteX60" fmla="*/ 1258367 w 1920955"/>
                <a:gd name="connsiteY60" fmla="*/ 1609988 h 1691232"/>
                <a:gd name="connsiteX61" fmla="*/ 1277188 w 1920955"/>
                <a:gd name="connsiteY61" fmla="*/ 1614605 h 1691232"/>
                <a:gd name="connsiteX62" fmla="*/ 1311230 w 1920955"/>
                <a:gd name="connsiteY62" fmla="*/ 1681082 h 1691232"/>
                <a:gd name="connsiteX63" fmla="*/ 1367786 w 1920955"/>
                <a:gd name="connsiteY63" fmla="*/ 1657613 h 1691232"/>
                <a:gd name="connsiteX64" fmla="*/ 1419818 w 1920955"/>
                <a:gd name="connsiteY64" fmla="*/ 1601492 h 1691232"/>
                <a:gd name="connsiteX65" fmla="*/ 1470595 w 1920955"/>
                <a:gd name="connsiteY65" fmla="*/ 1584949 h 1691232"/>
                <a:gd name="connsiteX66" fmla="*/ 1488274 w 1920955"/>
                <a:gd name="connsiteY66" fmla="*/ 1640771 h 1691232"/>
                <a:gd name="connsiteX67" fmla="*/ 1558169 w 1920955"/>
                <a:gd name="connsiteY67" fmla="*/ 1615093 h 1691232"/>
                <a:gd name="connsiteX68" fmla="*/ 1588947 w 1920955"/>
                <a:gd name="connsiteY68" fmla="*/ 1528337 h 1691232"/>
                <a:gd name="connsiteX69" fmla="*/ 1670383 w 1920955"/>
                <a:gd name="connsiteY69" fmla="*/ 1438195 h 1691232"/>
                <a:gd name="connsiteX70" fmla="*/ 1714974 w 1920955"/>
                <a:gd name="connsiteY70" fmla="*/ 1407065 h 1691232"/>
                <a:gd name="connsiteX71" fmla="*/ 1743343 w 1920955"/>
                <a:gd name="connsiteY71" fmla="*/ 1410360 h 1691232"/>
                <a:gd name="connsiteX72" fmla="*/ 1828257 w 1920955"/>
                <a:gd name="connsiteY72" fmla="*/ 1328265 h 1691232"/>
                <a:gd name="connsiteX73" fmla="*/ 1772124 w 1920955"/>
                <a:gd name="connsiteY73" fmla="*/ 1450763 h 1691232"/>
                <a:gd name="connsiteX74" fmla="*/ 1886424 w 1920955"/>
                <a:gd name="connsiteY74" fmla="*/ 1446001 h 1691232"/>
                <a:gd name="connsiteX75" fmla="*/ 1919761 w 1920955"/>
                <a:gd name="connsiteY75" fmla="*/ 1441238 h 1691232"/>
                <a:gd name="connsiteX76" fmla="*/ 1853086 w 1920955"/>
                <a:gd name="connsiteY76" fmla="*/ 1398376 h 1691232"/>
                <a:gd name="connsiteX77" fmla="*/ 1853086 w 1920955"/>
                <a:gd name="connsiteY77" fmla="*/ 1303126 h 1691232"/>
                <a:gd name="connsiteX78" fmla="*/ 1853086 w 1920955"/>
                <a:gd name="connsiteY78" fmla="*/ 1245976 h 1691232"/>
                <a:gd name="connsiteX79" fmla="*/ 1810224 w 1920955"/>
                <a:gd name="connsiteY79" fmla="*/ 1236451 h 1691232"/>
                <a:gd name="connsiteX80" fmla="*/ 1734024 w 1920955"/>
                <a:gd name="connsiteY80" fmla="*/ 1155488 h 1691232"/>
                <a:gd name="connsiteX81" fmla="*/ 1695924 w 1920955"/>
                <a:gd name="connsiteY81" fmla="*/ 974513 h 1691232"/>
                <a:gd name="connsiteX82" fmla="*/ 1643536 w 1920955"/>
                <a:gd name="connsiteY82" fmla="*/ 941176 h 1691232"/>
                <a:gd name="connsiteX83" fmla="*/ 1605436 w 1920955"/>
                <a:gd name="connsiteY83" fmla="*/ 884026 h 1691232"/>
                <a:gd name="connsiteX84" fmla="*/ 1557811 w 1920955"/>
                <a:gd name="connsiteY84" fmla="*/ 836401 h 1691232"/>
                <a:gd name="connsiteX85" fmla="*/ 1505424 w 1920955"/>
                <a:gd name="connsiteY85" fmla="*/ 817351 h 1691232"/>
                <a:gd name="connsiteX86" fmla="*/ 1453036 w 1920955"/>
                <a:gd name="connsiteY86" fmla="*/ 812588 h 1691232"/>
                <a:gd name="connsiteX87" fmla="*/ 1510186 w 1920955"/>
                <a:gd name="connsiteY87" fmla="*/ 779251 h 1691232"/>
                <a:gd name="connsiteX88" fmla="*/ 1476849 w 1920955"/>
                <a:gd name="connsiteY88" fmla="*/ 745913 h 1691232"/>
                <a:gd name="connsiteX89" fmla="*/ 1481611 w 1920955"/>
                <a:gd name="connsiteY89" fmla="*/ 722101 h 1691232"/>
                <a:gd name="connsiteX90" fmla="*/ 1572099 w 1920955"/>
                <a:gd name="connsiteY90" fmla="*/ 760201 h 1691232"/>
                <a:gd name="connsiteX91" fmla="*/ 1624486 w 1920955"/>
                <a:gd name="connsiteY91" fmla="*/ 693526 h 1691232"/>
                <a:gd name="connsiteX92" fmla="*/ 1614961 w 1920955"/>
                <a:gd name="connsiteY92" fmla="*/ 550651 h 1691232"/>
                <a:gd name="connsiteX93" fmla="*/ 1610199 w 1920955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28257 w 1920409"/>
                <a:gd name="connsiteY72" fmla="*/ 1328265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409"/>
                <a:gd name="connsiteY0" fmla="*/ 412538 h 1691232"/>
                <a:gd name="connsiteX1" fmla="*/ 1567336 w 1920409"/>
                <a:gd name="connsiteY1" fmla="*/ 369676 h 1691232"/>
                <a:gd name="connsiteX2" fmla="*/ 1467324 w 1920409"/>
                <a:gd name="connsiteY2" fmla="*/ 345863 h 1691232"/>
                <a:gd name="connsiteX3" fmla="*/ 1419699 w 1920409"/>
                <a:gd name="connsiteY3" fmla="*/ 317288 h 1691232"/>
                <a:gd name="connsiteX4" fmla="*/ 1367311 w 1920409"/>
                <a:gd name="connsiteY4" fmla="*/ 160126 h 1691232"/>
                <a:gd name="connsiteX5" fmla="*/ 1338736 w 1920409"/>
                <a:gd name="connsiteY5" fmla="*/ 12488 h 1691232"/>
                <a:gd name="connsiteX6" fmla="*/ 1267299 w 1920409"/>
                <a:gd name="connsiteY6" fmla="*/ 12488 h 1691232"/>
                <a:gd name="connsiteX7" fmla="*/ 1214911 w 1920409"/>
                <a:gd name="connsiteY7" fmla="*/ 50588 h 1691232"/>
                <a:gd name="connsiteX8" fmla="*/ 1214911 w 1920409"/>
                <a:gd name="connsiteY8" fmla="*/ 155363 h 1691232"/>
                <a:gd name="connsiteX9" fmla="*/ 1186336 w 1920409"/>
                <a:gd name="connsiteY9" fmla="*/ 183938 h 1691232"/>
                <a:gd name="connsiteX10" fmla="*/ 1176811 w 1920409"/>
                <a:gd name="connsiteY10" fmla="*/ 255376 h 1691232"/>
                <a:gd name="connsiteX11" fmla="*/ 1114899 w 1920409"/>
                <a:gd name="connsiteY11" fmla="*/ 298238 h 1691232"/>
                <a:gd name="connsiteX12" fmla="*/ 1005361 w 1920409"/>
                <a:gd name="connsiteY12" fmla="*/ 312526 h 1691232"/>
                <a:gd name="connsiteX13" fmla="*/ 962499 w 1920409"/>
                <a:gd name="connsiteY13" fmla="*/ 355388 h 1691232"/>
                <a:gd name="connsiteX14" fmla="*/ 838674 w 1920409"/>
                <a:gd name="connsiteY14" fmla="*/ 355388 h 1691232"/>
                <a:gd name="connsiteX15" fmla="*/ 781524 w 1920409"/>
                <a:gd name="connsiteY15" fmla="*/ 426826 h 1691232"/>
                <a:gd name="connsiteX16" fmla="*/ 781524 w 1920409"/>
                <a:gd name="connsiteY16" fmla="*/ 460163 h 1691232"/>
                <a:gd name="connsiteX17" fmla="*/ 743424 w 1920409"/>
                <a:gd name="connsiteY17" fmla="*/ 483976 h 1691232"/>
                <a:gd name="connsiteX18" fmla="*/ 671986 w 1920409"/>
                <a:gd name="connsiteY18" fmla="*/ 417301 h 1691232"/>
                <a:gd name="connsiteX19" fmla="*/ 519586 w 1920409"/>
                <a:gd name="connsiteY19" fmla="*/ 412538 h 1691232"/>
                <a:gd name="connsiteX20" fmla="*/ 457674 w 1920409"/>
                <a:gd name="connsiteY20" fmla="*/ 431588 h 1691232"/>
                <a:gd name="connsiteX21" fmla="*/ 419574 w 1920409"/>
                <a:gd name="connsiteY21" fmla="*/ 417301 h 1691232"/>
                <a:gd name="connsiteX22" fmla="*/ 400524 w 1920409"/>
                <a:gd name="connsiteY22" fmla="*/ 355388 h 1691232"/>
                <a:gd name="connsiteX23" fmla="*/ 333849 w 1920409"/>
                <a:gd name="connsiteY23" fmla="*/ 303001 h 1691232"/>
                <a:gd name="connsiteX24" fmla="*/ 286224 w 1920409"/>
                <a:gd name="connsiteY24" fmla="*/ 236326 h 1691232"/>
                <a:gd name="connsiteX25" fmla="*/ 143349 w 1920409"/>
                <a:gd name="connsiteY25" fmla="*/ 255376 h 1691232"/>
                <a:gd name="connsiteX26" fmla="*/ 124299 w 1920409"/>
                <a:gd name="connsiteY26" fmla="*/ 331576 h 1691232"/>
                <a:gd name="connsiteX27" fmla="*/ 110011 w 1920409"/>
                <a:gd name="connsiteY27" fmla="*/ 364913 h 1691232"/>
                <a:gd name="connsiteX28" fmla="*/ 133824 w 1920409"/>
                <a:gd name="connsiteY28" fmla="*/ 412538 h 1691232"/>
                <a:gd name="connsiteX29" fmla="*/ 81436 w 1920409"/>
                <a:gd name="connsiteY29" fmla="*/ 450638 h 1691232"/>
                <a:gd name="connsiteX30" fmla="*/ 33811 w 1920409"/>
                <a:gd name="connsiteY30" fmla="*/ 445876 h 1691232"/>
                <a:gd name="connsiteX31" fmla="*/ 33811 w 1920409"/>
                <a:gd name="connsiteY31" fmla="*/ 517313 h 1691232"/>
                <a:gd name="connsiteX32" fmla="*/ 474 w 1920409"/>
                <a:gd name="connsiteY32" fmla="*/ 622088 h 1691232"/>
                <a:gd name="connsiteX33" fmla="*/ 62386 w 1920409"/>
                <a:gd name="connsiteY33" fmla="*/ 698288 h 1691232"/>
                <a:gd name="connsiteX34" fmla="*/ 111977 w 1920409"/>
                <a:gd name="connsiteY34" fmla="*/ 678550 h 1691232"/>
                <a:gd name="connsiteX35" fmla="*/ 112334 w 1920409"/>
                <a:gd name="connsiteY35" fmla="*/ 748809 h 1691232"/>
                <a:gd name="connsiteX36" fmla="*/ 167161 w 1920409"/>
                <a:gd name="connsiteY36" fmla="*/ 779251 h 1691232"/>
                <a:gd name="connsiteX37" fmla="*/ 236159 w 1920409"/>
                <a:gd name="connsiteY37" fmla="*/ 789463 h 1691232"/>
                <a:gd name="connsiteX38" fmla="*/ 271462 w 1920409"/>
                <a:gd name="connsiteY38" fmla="*/ 845434 h 1691232"/>
                <a:gd name="connsiteX39" fmla="*/ 270869 w 1920409"/>
                <a:gd name="connsiteY39" fmla="*/ 890506 h 1691232"/>
                <a:gd name="connsiteX40" fmla="*/ 295393 w 1920409"/>
                <a:gd name="connsiteY40" fmla="*/ 929981 h 1691232"/>
                <a:gd name="connsiteX41" fmla="*/ 341051 w 1920409"/>
                <a:gd name="connsiteY41" fmla="*/ 968573 h 1691232"/>
                <a:gd name="connsiteX42" fmla="*/ 426184 w 1920409"/>
                <a:gd name="connsiteY42" fmla="*/ 1022825 h 1691232"/>
                <a:gd name="connsiteX43" fmla="*/ 461961 w 1920409"/>
                <a:gd name="connsiteY43" fmla="*/ 1093918 h 1691232"/>
                <a:gd name="connsiteX44" fmla="*/ 441064 w 1920409"/>
                <a:gd name="connsiteY44" fmla="*/ 1163491 h 1691232"/>
                <a:gd name="connsiteX45" fmla="*/ 519111 w 1920409"/>
                <a:gd name="connsiteY45" fmla="*/ 1219954 h 1691232"/>
                <a:gd name="connsiteX46" fmla="*/ 591143 w 1920409"/>
                <a:gd name="connsiteY46" fmla="*/ 1252948 h 1691232"/>
                <a:gd name="connsiteX47" fmla="*/ 571974 w 1920409"/>
                <a:gd name="connsiteY47" fmla="*/ 1312651 h 1691232"/>
                <a:gd name="connsiteX48" fmla="*/ 662461 w 1920409"/>
                <a:gd name="connsiteY48" fmla="*/ 1465051 h 1691232"/>
                <a:gd name="connsiteX49" fmla="*/ 755271 w 1920409"/>
                <a:gd name="connsiteY49" fmla="*/ 1538205 h 1691232"/>
                <a:gd name="connsiteX50" fmla="*/ 805336 w 1920409"/>
                <a:gd name="connsiteY50" fmla="*/ 1488863 h 1691232"/>
                <a:gd name="connsiteX51" fmla="*/ 869926 w 1920409"/>
                <a:gd name="connsiteY51" fmla="*/ 1516260 h 1691232"/>
                <a:gd name="connsiteX52" fmla="*/ 924399 w 1920409"/>
                <a:gd name="connsiteY52" fmla="*/ 1484101 h 1691232"/>
                <a:gd name="connsiteX53" fmla="*/ 941246 w 1920409"/>
                <a:gd name="connsiteY53" fmla="*/ 1441925 h 1691232"/>
                <a:gd name="connsiteX54" fmla="*/ 1005123 w 1920409"/>
                <a:gd name="connsiteY54" fmla="*/ 1528337 h 1691232"/>
                <a:gd name="connsiteX55" fmla="*/ 1050190 w 1920409"/>
                <a:gd name="connsiteY55" fmla="*/ 1599431 h 1691232"/>
                <a:gd name="connsiteX56" fmla="*/ 1120136 w 1920409"/>
                <a:gd name="connsiteY56" fmla="*/ 1690950 h 1691232"/>
                <a:gd name="connsiteX57" fmla="*/ 1151034 w 1920409"/>
                <a:gd name="connsiteY57" fmla="*/ 1627859 h 1691232"/>
                <a:gd name="connsiteX58" fmla="*/ 1181693 w 1920409"/>
                <a:gd name="connsiteY58" fmla="*/ 1621379 h 1691232"/>
                <a:gd name="connsiteX59" fmla="*/ 1224792 w 1920409"/>
                <a:gd name="connsiteY59" fmla="*/ 1650642 h 1691232"/>
                <a:gd name="connsiteX60" fmla="*/ 1258367 w 1920409"/>
                <a:gd name="connsiteY60" fmla="*/ 1609988 h 1691232"/>
                <a:gd name="connsiteX61" fmla="*/ 1277188 w 1920409"/>
                <a:gd name="connsiteY61" fmla="*/ 1614605 h 1691232"/>
                <a:gd name="connsiteX62" fmla="*/ 1311230 w 1920409"/>
                <a:gd name="connsiteY62" fmla="*/ 1681082 h 1691232"/>
                <a:gd name="connsiteX63" fmla="*/ 1367786 w 1920409"/>
                <a:gd name="connsiteY63" fmla="*/ 1657613 h 1691232"/>
                <a:gd name="connsiteX64" fmla="*/ 1419818 w 1920409"/>
                <a:gd name="connsiteY64" fmla="*/ 1601492 h 1691232"/>
                <a:gd name="connsiteX65" fmla="*/ 1470595 w 1920409"/>
                <a:gd name="connsiteY65" fmla="*/ 1584949 h 1691232"/>
                <a:gd name="connsiteX66" fmla="*/ 1488274 w 1920409"/>
                <a:gd name="connsiteY66" fmla="*/ 1640771 h 1691232"/>
                <a:gd name="connsiteX67" fmla="*/ 1558169 w 1920409"/>
                <a:gd name="connsiteY67" fmla="*/ 1615093 h 1691232"/>
                <a:gd name="connsiteX68" fmla="*/ 1588947 w 1920409"/>
                <a:gd name="connsiteY68" fmla="*/ 1528337 h 1691232"/>
                <a:gd name="connsiteX69" fmla="*/ 1670383 w 1920409"/>
                <a:gd name="connsiteY69" fmla="*/ 1438195 h 1691232"/>
                <a:gd name="connsiteX70" fmla="*/ 1714974 w 1920409"/>
                <a:gd name="connsiteY70" fmla="*/ 1407065 h 1691232"/>
                <a:gd name="connsiteX71" fmla="*/ 1743343 w 1920409"/>
                <a:gd name="connsiteY71" fmla="*/ 1410360 h 1691232"/>
                <a:gd name="connsiteX72" fmla="*/ 1833138 w 1920409"/>
                <a:gd name="connsiteY72" fmla="*/ 1402304 h 1691232"/>
                <a:gd name="connsiteX73" fmla="*/ 1877070 w 1920409"/>
                <a:gd name="connsiteY73" fmla="*/ 1542673 h 1691232"/>
                <a:gd name="connsiteX74" fmla="*/ 1886424 w 1920409"/>
                <a:gd name="connsiteY74" fmla="*/ 1446001 h 1691232"/>
                <a:gd name="connsiteX75" fmla="*/ 1919761 w 1920409"/>
                <a:gd name="connsiteY75" fmla="*/ 1441238 h 1691232"/>
                <a:gd name="connsiteX76" fmla="*/ 1853086 w 1920409"/>
                <a:gd name="connsiteY76" fmla="*/ 1398376 h 1691232"/>
                <a:gd name="connsiteX77" fmla="*/ 1853086 w 1920409"/>
                <a:gd name="connsiteY77" fmla="*/ 1303126 h 1691232"/>
                <a:gd name="connsiteX78" fmla="*/ 1853086 w 1920409"/>
                <a:gd name="connsiteY78" fmla="*/ 1245976 h 1691232"/>
                <a:gd name="connsiteX79" fmla="*/ 1810224 w 1920409"/>
                <a:gd name="connsiteY79" fmla="*/ 1236451 h 1691232"/>
                <a:gd name="connsiteX80" fmla="*/ 1734024 w 1920409"/>
                <a:gd name="connsiteY80" fmla="*/ 1155488 h 1691232"/>
                <a:gd name="connsiteX81" fmla="*/ 1695924 w 1920409"/>
                <a:gd name="connsiteY81" fmla="*/ 974513 h 1691232"/>
                <a:gd name="connsiteX82" fmla="*/ 1643536 w 1920409"/>
                <a:gd name="connsiteY82" fmla="*/ 941176 h 1691232"/>
                <a:gd name="connsiteX83" fmla="*/ 1605436 w 1920409"/>
                <a:gd name="connsiteY83" fmla="*/ 884026 h 1691232"/>
                <a:gd name="connsiteX84" fmla="*/ 1557811 w 1920409"/>
                <a:gd name="connsiteY84" fmla="*/ 836401 h 1691232"/>
                <a:gd name="connsiteX85" fmla="*/ 1505424 w 1920409"/>
                <a:gd name="connsiteY85" fmla="*/ 817351 h 1691232"/>
                <a:gd name="connsiteX86" fmla="*/ 1453036 w 1920409"/>
                <a:gd name="connsiteY86" fmla="*/ 812588 h 1691232"/>
                <a:gd name="connsiteX87" fmla="*/ 1510186 w 1920409"/>
                <a:gd name="connsiteY87" fmla="*/ 779251 h 1691232"/>
                <a:gd name="connsiteX88" fmla="*/ 1476849 w 1920409"/>
                <a:gd name="connsiteY88" fmla="*/ 745913 h 1691232"/>
                <a:gd name="connsiteX89" fmla="*/ 1481611 w 1920409"/>
                <a:gd name="connsiteY89" fmla="*/ 722101 h 1691232"/>
                <a:gd name="connsiteX90" fmla="*/ 1572099 w 1920409"/>
                <a:gd name="connsiteY90" fmla="*/ 760201 h 1691232"/>
                <a:gd name="connsiteX91" fmla="*/ 1624486 w 1920409"/>
                <a:gd name="connsiteY91" fmla="*/ 693526 h 1691232"/>
                <a:gd name="connsiteX92" fmla="*/ 1614961 w 1920409"/>
                <a:gd name="connsiteY92" fmla="*/ 550651 h 1691232"/>
                <a:gd name="connsiteX93" fmla="*/ 1610199 w 1920409"/>
                <a:gd name="connsiteY93" fmla="*/ 412538 h 1691232"/>
                <a:gd name="connsiteX0" fmla="*/ 1610199 w 1920650"/>
                <a:gd name="connsiteY0" fmla="*/ 412538 h 1691232"/>
                <a:gd name="connsiteX1" fmla="*/ 1567336 w 1920650"/>
                <a:gd name="connsiteY1" fmla="*/ 369676 h 1691232"/>
                <a:gd name="connsiteX2" fmla="*/ 1467324 w 1920650"/>
                <a:gd name="connsiteY2" fmla="*/ 345863 h 1691232"/>
                <a:gd name="connsiteX3" fmla="*/ 1419699 w 1920650"/>
                <a:gd name="connsiteY3" fmla="*/ 317288 h 1691232"/>
                <a:gd name="connsiteX4" fmla="*/ 1367311 w 1920650"/>
                <a:gd name="connsiteY4" fmla="*/ 160126 h 1691232"/>
                <a:gd name="connsiteX5" fmla="*/ 1338736 w 1920650"/>
                <a:gd name="connsiteY5" fmla="*/ 12488 h 1691232"/>
                <a:gd name="connsiteX6" fmla="*/ 1267299 w 1920650"/>
                <a:gd name="connsiteY6" fmla="*/ 12488 h 1691232"/>
                <a:gd name="connsiteX7" fmla="*/ 1214911 w 1920650"/>
                <a:gd name="connsiteY7" fmla="*/ 50588 h 1691232"/>
                <a:gd name="connsiteX8" fmla="*/ 1214911 w 1920650"/>
                <a:gd name="connsiteY8" fmla="*/ 155363 h 1691232"/>
                <a:gd name="connsiteX9" fmla="*/ 1186336 w 1920650"/>
                <a:gd name="connsiteY9" fmla="*/ 183938 h 1691232"/>
                <a:gd name="connsiteX10" fmla="*/ 1176811 w 1920650"/>
                <a:gd name="connsiteY10" fmla="*/ 255376 h 1691232"/>
                <a:gd name="connsiteX11" fmla="*/ 1114899 w 1920650"/>
                <a:gd name="connsiteY11" fmla="*/ 298238 h 1691232"/>
                <a:gd name="connsiteX12" fmla="*/ 1005361 w 1920650"/>
                <a:gd name="connsiteY12" fmla="*/ 312526 h 1691232"/>
                <a:gd name="connsiteX13" fmla="*/ 962499 w 1920650"/>
                <a:gd name="connsiteY13" fmla="*/ 355388 h 1691232"/>
                <a:gd name="connsiteX14" fmla="*/ 838674 w 1920650"/>
                <a:gd name="connsiteY14" fmla="*/ 355388 h 1691232"/>
                <a:gd name="connsiteX15" fmla="*/ 781524 w 1920650"/>
                <a:gd name="connsiteY15" fmla="*/ 426826 h 1691232"/>
                <a:gd name="connsiteX16" fmla="*/ 781524 w 1920650"/>
                <a:gd name="connsiteY16" fmla="*/ 460163 h 1691232"/>
                <a:gd name="connsiteX17" fmla="*/ 743424 w 1920650"/>
                <a:gd name="connsiteY17" fmla="*/ 483976 h 1691232"/>
                <a:gd name="connsiteX18" fmla="*/ 671986 w 1920650"/>
                <a:gd name="connsiteY18" fmla="*/ 417301 h 1691232"/>
                <a:gd name="connsiteX19" fmla="*/ 519586 w 1920650"/>
                <a:gd name="connsiteY19" fmla="*/ 412538 h 1691232"/>
                <a:gd name="connsiteX20" fmla="*/ 457674 w 1920650"/>
                <a:gd name="connsiteY20" fmla="*/ 431588 h 1691232"/>
                <a:gd name="connsiteX21" fmla="*/ 419574 w 1920650"/>
                <a:gd name="connsiteY21" fmla="*/ 417301 h 1691232"/>
                <a:gd name="connsiteX22" fmla="*/ 400524 w 1920650"/>
                <a:gd name="connsiteY22" fmla="*/ 355388 h 1691232"/>
                <a:gd name="connsiteX23" fmla="*/ 333849 w 1920650"/>
                <a:gd name="connsiteY23" fmla="*/ 303001 h 1691232"/>
                <a:gd name="connsiteX24" fmla="*/ 286224 w 1920650"/>
                <a:gd name="connsiteY24" fmla="*/ 236326 h 1691232"/>
                <a:gd name="connsiteX25" fmla="*/ 143349 w 1920650"/>
                <a:gd name="connsiteY25" fmla="*/ 255376 h 1691232"/>
                <a:gd name="connsiteX26" fmla="*/ 124299 w 1920650"/>
                <a:gd name="connsiteY26" fmla="*/ 331576 h 1691232"/>
                <a:gd name="connsiteX27" fmla="*/ 110011 w 1920650"/>
                <a:gd name="connsiteY27" fmla="*/ 364913 h 1691232"/>
                <a:gd name="connsiteX28" fmla="*/ 133824 w 1920650"/>
                <a:gd name="connsiteY28" fmla="*/ 412538 h 1691232"/>
                <a:gd name="connsiteX29" fmla="*/ 81436 w 1920650"/>
                <a:gd name="connsiteY29" fmla="*/ 450638 h 1691232"/>
                <a:gd name="connsiteX30" fmla="*/ 33811 w 1920650"/>
                <a:gd name="connsiteY30" fmla="*/ 445876 h 1691232"/>
                <a:gd name="connsiteX31" fmla="*/ 33811 w 1920650"/>
                <a:gd name="connsiteY31" fmla="*/ 517313 h 1691232"/>
                <a:gd name="connsiteX32" fmla="*/ 474 w 1920650"/>
                <a:gd name="connsiteY32" fmla="*/ 622088 h 1691232"/>
                <a:gd name="connsiteX33" fmla="*/ 62386 w 1920650"/>
                <a:gd name="connsiteY33" fmla="*/ 698288 h 1691232"/>
                <a:gd name="connsiteX34" fmla="*/ 111977 w 1920650"/>
                <a:gd name="connsiteY34" fmla="*/ 678550 h 1691232"/>
                <a:gd name="connsiteX35" fmla="*/ 112334 w 1920650"/>
                <a:gd name="connsiteY35" fmla="*/ 748809 h 1691232"/>
                <a:gd name="connsiteX36" fmla="*/ 167161 w 1920650"/>
                <a:gd name="connsiteY36" fmla="*/ 779251 h 1691232"/>
                <a:gd name="connsiteX37" fmla="*/ 236159 w 1920650"/>
                <a:gd name="connsiteY37" fmla="*/ 789463 h 1691232"/>
                <a:gd name="connsiteX38" fmla="*/ 271462 w 1920650"/>
                <a:gd name="connsiteY38" fmla="*/ 845434 h 1691232"/>
                <a:gd name="connsiteX39" fmla="*/ 270869 w 1920650"/>
                <a:gd name="connsiteY39" fmla="*/ 890506 h 1691232"/>
                <a:gd name="connsiteX40" fmla="*/ 295393 w 1920650"/>
                <a:gd name="connsiteY40" fmla="*/ 929981 h 1691232"/>
                <a:gd name="connsiteX41" fmla="*/ 341051 w 1920650"/>
                <a:gd name="connsiteY41" fmla="*/ 968573 h 1691232"/>
                <a:gd name="connsiteX42" fmla="*/ 426184 w 1920650"/>
                <a:gd name="connsiteY42" fmla="*/ 1022825 h 1691232"/>
                <a:gd name="connsiteX43" fmla="*/ 461961 w 1920650"/>
                <a:gd name="connsiteY43" fmla="*/ 1093918 h 1691232"/>
                <a:gd name="connsiteX44" fmla="*/ 441064 w 1920650"/>
                <a:gd name="connsiteY44" fmla="*/ 1163491 h 1691232"/>
                <a:gd name="connsiteX45" fmla="*/ 519111 w 1920650"/>
                <a:gd name="connsiteY45" fmla="*/ 1219954 h 1691232"/>
                <a:gd name="connsiteX46" fmla="*/ 591143 w 1920650"/>
                <a:gd name="connsiteY46" fmla="*/ 1252948 h 1691232"/>
                <a:gd name="connsiteX47" fmla="*/ 571974 w 1920650"/>
                <a:gd name="connsiteY47" fmla="*/ 1312651 h 1691232"/>
                <a:gd name="connsiteX48" fmla="*/ 662461 w 1920650"/>
                <a:gd name="connsiteY48" fmla="*/ 1465051 h 1691232"/>
                <a:gd name="connsiteX49" fmla="*/ 755271 w 1920650"/>
                <a:gd name="connsiteY49" fmla="*/ 1538205 h 1691232"/>
                <a:gd name="connsiteX50" fmla="*/ 805336 w 1920650"/>
                <a:gd name="connsiteY50" fmla="*/ 1488863 h 1691232"/>
                <a:gd name="connsiteX51" fmla="*/ 869926 w 1920650"/>
                <a:gd name="connsiteY51" fmla="*/ 1516260 h 1691232"/>
                <a:gd name="connsiteX52" fmla="*/ 924399 w 1920650"/>
                <a:gd name="connsiteY52" fmla="*/ 1484101 h 1691232"/>
                <a:gd name="connsiteX53" fmla="*/ 941246 w 1920650"/>
                <a:gd name="connsiteY53" fmla="*/ 1441925 h 1691232"/>
                <a:gd name="connsiteX54" fmla="*/ 1005123 w 1920650"/>
                <a:gd name="connsiteY54" fmla="*/ 1528337 h 1691232"/>
                <a:gd name="connsiteX55" fmla="*/ 1050190 w 1920650"/>
                <a:gd name="connsiteY55" fmla="*/ 1599431 h 1691232"/>
                <a:gd name="connsiteX56" fmla="*/ 1120136 w 1920650"/>
                <a:gd name="connsiteY56" fmla="*/ 1690950 h 1691232"/>
                <a:gd name="connsiteX57" fmla="*/ 1151034 w 1920650"/>
                <a:gd name="connsiteY57" fmla="*/ 1627859 h 1691232"/>
                <a:gd name="connsiteX58" fmla="*/ 1181693 w 1920650"/>
                <a:gd name="connsiteY58" fmla="*/ 1621379 h 1691232"/>
                <a:gd name="connsiteX59" fmla="*/ 1224792 w 1920650"/>
                <a:gd name="connsiteY59" fmla="*/ 1650642 h 1691232"/>
                <a:gd name="connsiteX60" fmla="*/ 1258367 w 1920650"/>
                <a:gd name="connsiteY60" fmla="*/ 1609988 h 1691232"/>
                <a:gd name="connsiteX61" fmla="*/ 1277188 w 1920650"/>
                <a:gd name="connsiteY61" fmla="*/ 1614605 h 1691232"/>
                <a:gd name="connsiteX62" fmla="*/ 1311230 w 1920650"/>
                <a:gd name="connsiteY62" fmla="*/ 1681082 h 1691232"/>
                <a:gd name="connsiteX63" fmla="*/ 1367786 w 1920650"/>
                <a:gd name="connsiteY63" fmla="*/ 1657613 h 1691232"/>
                <a:gd name="connsiteX64" fmla="*/ 1419818 w 1920650"/>
                <a:gd name="connsiteY64" fmla="*/ 1601492 h 1691232"/>
                <a:gd name="connsiteX65" fmla="*/ 1470595 w 1920650"/>
                <a:gd name="connsiteY65" fmla="*/ 1584949 h 1691232"/>
                <a:gd name="connsiteX66" fmla="*/ 1488274 w 1920650"/>
                <a:gd name="connsiteY66" fmla="*/ 1640771 h 1691232"/>
                <a:gd name="connsiteX67" fmla="*/ 1558169 w 1920650"/>
                <a:gd name="connsiteY67" fmla="*/ 1615093 h 1691232"/>
                <a:gd name="connsiteX68" fmla="*/ 1588947 w 1920650"/>
                <a:gd name="connsiteY68" fmla="*/ 1528337 h 1691232"/>
                <a:gd name="connsiteX69" fmla="*/ 1670383 w 1920650"/>
                <a:gd name="connsiteY69" fmla="*/ 1438195 h 1691232"/>
                <a:gd name="connsiteX70" fmla="*/ 1714974 w 1920650"/>
                <a:gd name="connsiteY70" fmla="*/ 1407065 h 1691232"/>
                <a:gd name="connsiteX71" fmla="*/ 1743343 w 1920650"/>
                <a:gd name="connsiteY71" fmla="*/ 1410360 h 1691232"/>
                <a:gd name="connsiteX72" fmla="*/ 1833138 w 1920650"/>
                <a:gd name="connsiteY72" fmla="*/ 1402304 h 1691232"/>
                <a:gd name="connsiteX73" fmla="*/ 1816054 w 1920650"/>
                <a:gd name="connsiteY73" fmla="*/ 1453316 h 1691232"/>
                <a:gd name="connsiteX74" fmla="*/ 1886424 w 1920650"/>
                <a:gd name="connsiteY74" fmla="*/ 1446001 h 1691232"/>
                <a:gd name="connsiteX75" fmla="*/ 1919761 w 1920650"/>
                <a:gd name="connsiteY75" fmla="*/ 1441238 h 1691232"/>
                <a:gd name="connsiteX76" fmla="*/ 1853086 w 1920650"/>
                <a:gd name="connsiteY76" fmla="*/ 1398376 h 1691232"/>
                <a:gd name="connsiteX77" fmla="*/ 1853086 w 1920650"/>
                <a:gd name="connsiteY77" fmla="*/ 1303126 h 1691232"/>
                <a:gd name="connsiteX78" fmla="*/ 1853086 w 1920650"/>
                <a:gd name="connsiteY78" fmla="*/ 1245976 h 1691232"/>
                <a:gd name="connsiteX79" fmla="*/ 1810224 w 1920650"/>
                <a:gd name="connsiteY79" fmla="*/ 1236451 h 1691232"/>
                <a:gd name="connsiteX80" fmla="*/ 1734024 w 1920650"/>
                <a:gd name="connsiteY80" fmla="*/ 1155488 h 1691232"/>
                <a:gd name="connsiteX81" fmla="*/ 1695924 w 1920650"/>
                <a:gd name="connsiteY81" fmla="*/ 974513 h 1691232"/>
                <a:gd name="connsiteX82" fmla="*/ 1643536 w 1920650"/>
                <a:gd name="connsiteY82" fmla="*/ 941176 h 1691232"/>
                <a:gd name="connsiteX83" fmla="*/ 1605436 w 1920650"/>
                <a:gd name="connsiteY83" fmla="*/ 884026 h 1691232"/>
                <a:gd name="connsiteX84" fmla="*/ 1557811 w 1920650"/>
                <a:gd name="connsiteY84" fmla="*/ 836401 h 1691232"/>
                <a:gd name="connsiteX85" fmla="*/ 1505424 w 1920650"/>
                <a:gd name="connsiteY85" fmla="*/ 817351 h 1691232"/>
                <a:gd name="connsiteX86" fmla="*/ 1453036 w 1920650"/>
                <a:gd name="connsiteY86" fmla="*/ 812588 h 1691232"/>
                <a:gd name="connsiteX87" fmla="*/ 1510186 w 1920650"/>
                <a:gd name="connsiteY87" fmla="*/ 779251 h 1691232"/>
                <a:gd name="connsiteX88" fmla="*/ 1476849 w 1920650"/>
                <a:gd name="connsiteY88" fmla="*/ 745913 h 1691232"/>
                <a:gd name="connsiteX89" fmla="*/ 1481611 w 1920650"/>
                <a:gd name="connsiteY89" fmla="*/ 722101 h 1691232"/>
                <a:gd name="connsiteX90" fmla="*/ 1572099 w 1920650"/>
                <a:gd name="connsiteY90" fmla="*/ 760201 h 1691232"/>
                <a:gd name="connsiteX91" fmla="*/ 1624486 w 1920650"/>
                <a:gd name="connsiteY91" fmla="*/ 693526 h 1691232"/>
                <a:gd name="connsiteX92" fmla="*/ 1614961 w 1920650"/>
                <a:gd name="connsiteY92" fmla="*/ 550651 h 1691232"/>
                <a:gd name="connsiteX93" fmla="*/ 1610199 w 1920650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33138 w 1920031"/>
                <a:gd name="connsiteY72" fmla="*/ 1402304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920031"/>
                <a:gd name="connsiteY0" fmla="*/ 412538 h 1691232"/>
                <a:gd name="connsiteX1" fmla="*/ 1567336 w 1920031"/>
                <a:gd name="connsiteY1" fmla="*/ 369676 h 1691232"/>
                <a:gd name="connsiteX2" fmla="*/ 1467324 w 1920031"/>
                <a:gd name="connsiteY2" fmla="*/ 345863 h 1691232"/>
                <a:gd name="connsiteX3" fmla="*/ 1419699 w 1920031"/>
                <a:gd name="connsiteY3" fmla="*/ 317288 h 1691232"/>
                <a:gd name="connsiteX4" fmla="*/ 1367311 w 1920031"/>
                <a:gd name="connsiteY4" fmla="*/ 160126 h 1691232"/>
                <a:gd name="connsiteX5" fmla="*/ 1338736 w 1920031"/>
                <a:gd name="connsiteY5" fmla="*/ 12488 h 1691232"/>
                <a:gd name="connsiteX6" fmla="*/ 1267299 w 1920031"/>
                <a:gd name="connsiteY6" fmla="*/ 12488 h 1691232"/>
                <a:gd name="connsiteX7" fmla="*/ 1214911 w 1920031"/>
                <a:gd name="connsiteY7" fmla="*/ 50588 h 1691232"/>
                <a:gd name="connsiteX8" fmla="*/ 1214911 w 1920031"/>
                <a:gd name="connsiteY8" fmla="*/ 155363 h 1691232"/>
                <a:gd name="connsiteX9" fmla="*/ 1186336 w 1920031"/>
                <a:gd name="connsiteY9" fmla="*/ 183938 h 1691232"/>
                <a:gd name="connsiteX10" fmla="*/ 1176811 w 1920031"/>
                <a:gd name="connsiteY10" fmla="*/ 255376 h 1691232"/>
                <a:gd name="connsiteX11" fmla="*/ 1114899 w 1920031"/>
                <a:gd name="connsiteY11" fmla="*/ 298238 h 1691232"/>
                <a:gd name="connsiteX12" fmla="*/ 1005361 w 1920031"/>
                <a:gd name="connsiteY12" fmla="*/ 312526 h 1691232"/>
                <a:gd name="connsiteX13" fmla="*/ 962499 w 1920031"/>
                <a:gd name="connsiteY13" fmla="*/ 355388 h 1691232"/>
                <a:gd name="connsiteX14" fmla="*/ 838674 w 1920031"/>
                <a:gd name="connsiteY14" fmla="*/ 355388 h 1691232"/>
                <a:gd name="connsiteX15" fmla="*/ 781524 w 1920031"/>
                <a:gd name="connsiteY15" fmla="*/ 426826 h 1691232"/>
                <a:gd name="connsiteX16" fmla="*/ 781524 w 1920031"/>
                <a:gd name="connsiteY16" fmla="*/ 460163 h 1691232"/>
                <a:gd name="connsiteX17" fmla="*/ 743424 w 1920031"/>
                <a:gd name="connsiteY17" fmla="*/ 483976 h 1691232"/>
                <a:gd name="connsiteX18" fmla="*/ 671986 w 1920031"/>
                <a:gd name="connsiteY18" fmla="*/ 417301 h 1691232"/>
                <a:gd name="connsiteX19" fmla="*/ 519586 w 1920031"/>
                <a:gd name="connsiteY19" fmla="*/ 412538 h 1691232"/>
                <a:gd name="connsiteX20" fmla="*/ 457674 w 1920031"/>
                <a:gd name="connsiteY20" fmla="*/ 431588 h 1691232"/>
                <a:gd name="connsiteX21" fmla="*/ 419574 w 1920031"/>
                <a:gd name="connsiteY21" fmla="*/ 417301 h 1691232"/>
                <a:gd name="connsiteX22" fmla="*/ 400524 w 1920031"/>
                <a:gd name="connsiteY22" fmla="*/ 355388 h 1691232"/>
                <a:gd name="connsiteX23" fmla="*/ 333849 w 1920031"/>
                <a:gd name="connsiteY23" fmla="*/ 303001 h 1691232"/>
                <a:gd name="connsiteX24" fmla="*/ 286224 w 1920031"/>
                <a:gd name="connsiteY24" fmla="*/ 236326 h 1691232"/>
                <a:gd name="connsiteX25" fmla="*/ 143349 w 1920031"/>
                <a:gd name="connsiteY25" fmla="*/ 255376 h 1691232"/>
                <a:gd name="connsiteX26" fmla="*/ 124299 w 1920031"/>
                <a:gd name="connsiteY26" fmla="*/ 331576 h 1691232"/>
                <a:gd name="connsiteX27" fmla="*/ 110011 w 1920031"/>
                <a:gd name="connsiteY27" fmla="*/ 364913 h 1691232"/>
                <a:gd name="connsiteX28" fmla="*/ 133824 w 1920031"/>
                <a:gd name="connsiteY28" fmla="*/ 412538 h 1691232"/>
                <a:gd name="connsiteX29" fmla="*/ 81436 w 1920031"/>
                <a:gd name="connsiteY29" fmla="*/ 450638 h 1691232"/>
                <a:gd name="connsiteX30" fmla="*/ 33811 w 1920031"/>
                <a:gd name="connsiteY30" fmla="*/ 445876 h 1691232"/>
                <a:gd name="connsiteX31" fmla="*/ 33811 w 1920031"/>
                <a:gd name="connsiteY31" fmla="*/ 517313 h 1691232"/>
                <a:gd name="connsiteX32" fmla="*/ 474 w 1920031"/>
                <a:gd name="connsiteY32" fmla="*/ 622088 h 1691232"/>
                <a:gd name="connsiteX33" fmla="*/ 62386 w 1920031"/>
                <a:gd name="connsiteY33" fmla="*/ 698288 h 1691232"/>
                <a:gd name="connsiteX34" fmla="*/ 111977 w 1920031"/>
                <a:gd name="connsiteY34" fmla="*/ 678550 h 1691232"/>
                <a:gd name="connsiteX35" fmla="*/ 112334 w 1920031"/>
                <a:gd name="connsiteY35" fmla="*/ 748809 h 1691232"/>
                <a:gd name="connsiteX36" fmla="*/ 167161 w 1920031"/>
                <a:gd name="connsiteY36" fmla="*/ 779251 h 1691232"/>
                <a:gd name="connsiteX37" fmla="*/ 236159 w 1920031"/>
                <a:gd name="connsiteY37" fmla="*/ 789463 h 1691232"/>
                <a:gd name="connsiteX38" fmla="*/ 271462 w 1920031"/>
                <a:gd name="connsiteY38" fmla="*/ 845434 h 1691232"/>
                <a:gd name="connsiteX39" fmla="*/ 270869 w 1920031"/>
                <a:gd name="connsiteY39" fmla="*/ 890506 h 1691232"/>
                <a:gd name="connsiteX40" fmla="*/ 295393 w 1920031"/>
                <a:gd name="connsiteY40" fmla="*/ 929981 h 1691232"/>
                <a:gd name="connsiteX41" fmla="*/ 341051 w 1920031"/>
                <a:gd name="connsiteY41" fmla="*/ 968573 h 1691232"/>
                <a:gd name="connsiteX42" fmla="*/ 426184 w 1920031"/>
                <a:gd name="connsiteY42" fmla="*/ 1022825 h 1691232"/>
                <a:gd name="connsiteX43" fmla="*/ 461961 w 1920031"/>
                <a:gd name="connsiteY43" fmla="*/ 1093918 h 1691232"/>
                <a:gd name="connsiteX44" fmla="*/ 441064 w 1920031"/>
                <a:gd name="connsiteY44" fmla="*/ 1163491 h 1691232"/>
                <a:gd name="connsiteX45" fmla="*/ 519111 w 1920031"/>
                <a:gd name="connsiteY45" fmla="*/ 1219954 h 1691232"/>
                <a:gd name="connsiteX46" fmla="*/ 591143 w 1920031"/>
                <a:gd name="connsiteY46" fmla="*/ 1252948 h 1691232"/>
                <a:gd name="connsiteX47" fmla="*/ 571974 w 1920031"/>
                <a:gd name="connsiteY47" fmla="*/ 1312651 h 1691232"/>
                <a:gd name="connsiteX48" fmla="*/ 662461 w 1920031"/>
                <a:gd name="connsiteY48" fmla="*/ 1465051 h 1691232"/>
                <a:gd name="connsiteX49" fmla="*/ 755271 w 1920031"/>
                <a:gd name="connsiteY49" fmla="*/ 1538205 h 1691232"/>
                <a:gd name="connsiteX50" fmla="*/ 805336 w 1920031"/>
                <a:gd name="connsiteY50" fmla="*/ 1488863 h 1691232"/>
                <a:gd name="connsiteX51" fmla="*/ 869926 w 1920031"/>
                <a:gd name="connsiteY51" fmla="*/ 1516260 h 1691232"/>
                <a:gd name="connsiteX52" fmla="*/ 924399 w 1920031"/>
                <a:gd name="connsiteY52" fmla="*/ 1484101 h 1691232"/>
                <a:gd name="connsiteX53" fmla="*/ 941246 w 1920031"/>
                <a:gd name="connsiteY53" fmla="*/ 1441925 h 1691232"/>
                <a:gd name="connsiteX54" fmla="*/ 1005123 w 1920031"/>
                <a:gd name="connsiteY54" fmla="*/ 1528337 h 1691232"/>
                <a:gd name="connsiteX55" fmla="*/ 1050190 w 1920031"/>
                <a:gd name="connsiteY55" fmla="*/ 1599431 h 1691232"/>
                <a:gd name="connsiteX56" fmla="*/ 1120136 w 1920031"/>
                <a:gd name="connsiteY56" fmla="*/ 1690950 h 1691232"/>
                <a:gd name="connsiteX57" fmla="*/ 1151034 w 1920031"/>
                <a:gd name="connsiteY57" fmla="*/ 1627859 h 1691232"/>
                <a:gd name="connsiteX58" fmla="*/ 1181693 w 1920031"/>
                <a:gd name="connsiteY58" fmla="*/ 1621379 h 1691232"/>
                <a:gd name="connsiteX59" fmla="*/ 1224792 w 1920031"/>
                <a:gd name="connsiteY59" fmla="*/ 1650642 h 1691232"/>
                <a:gd name="connsiteX60" fmla="*/ 1258367 w 1920031"/>
                <a:gd name="connsiteY60" fmla="*/ 1609988 h 1691232"/>
                <a:gd name="connsiteX61" fmla="*/ 1277188 w 1920031"/>
                <a:gd name="connsiteY61" fmla="*/ 1614605 h 1691232"/>
                <a:gd name="connsiteX62" fmla="*/ 1311230 w 1920031"/>
                <a:gd name="connsiteY62" fmla="*/ 1681082 h 1691232"/>
                <a:gd name="connsiteX63" fmla="*/ 1367786 w 1920031"/>
                <a:gd name="connsiteY63" fmla="*/ 1657613 h 1691232"/>
                <a:gd name="connsiteX64" fmla="*/ 1419818 w 1920031"/>
                <a:gd name="connsiteY64" fmla="*/ 1601492 h 1691232"/>
                <a:gd name="connsiteX65" fmla="*/ 1470595 w 1920031"/>
                <a:gd name="connsiteY65" fmla="*/ 1584949 h 1691232"/>
                <a:gd name="connsiteX66" fmla="*/ 1488274 w 1920031"/>
                <a:gd name="connsiteY66" fmla="*/ 1640771 h 1691232"/>
                <a:gd name="connsiteX67" fmla="*/ 1558169 w 1920031"/>
                <a:gd name="connsiteY67" fmla="*/ 1615093 h 1691232"/>
                <a:gd name="connsiteX68" fmla="*/ 1588947 w 1920031"/>
                <a:gd name="connsiteY68" fmla="*/ 1528337 h 1691232"/>
                <a:gd name="connsiteX69" fmla="*/ 1670383 w 1920031"/>
                <a:gd name="connsiteY69" fmla="*/ 1438195 h 1691232"/>
                <a:gd name="connsiteX70" fmla="*/ 1714974 w 1920031"/>
                <a:gd name="connsiteY70" fmla="*/ 1407065 h 1691232"/>
                <a:gd name="connsiteX71" fmla="*/ 1743343 w 1920031"/>
                <a:gd name="connsiteY71" fmla="*/ 1410360 h 1691232"/>
                <a:gd name="connsiteX72" fmla="*/ 1820935 w 1920031"/>
                <a:gd name="connsiteY72" fmla="*/ 1399752 h 1691232"/>
                <a:gd name="connsiteX73" fmla="*/ 1816054 w 1920031"/>
                <a:gd name="connsiteY73" fmla="*/ 1453316 h 1691232"/>
                <a:gd name="connsiteX74" fmla="*/ 1874221 w 1920031"/>
                <a:gd name="connsiteY74" fmla="*/ 1476637 h 1691232"/>
                <a:gd name="connsiteX75" fmla="*/ 1919761 w 1920031"/>
                <a:gd name="connsiteY75" fmla="*/ 1441238 h 1691232"/>
                <a:gd name="connsiteX76" fmla="*/ 1853086 w 1920031"/>
                <a:gd name="connsiteY76" fmla="*/ 1398376 h 1691232"/>
                <a:gd name="connsiteX77" fmla="*/ 1853086 w 1920031"/>
                <a:gd name="connsiteY77" fmla="*/ 1303126 h 1691232"/>
                <a:gd name="connsiteX78" fmla="*/ 1853086 w 1920031"/>
                <a:gd name="connsiteY78" fmla="*/ 1245976 h 1691232"/>
                <a:gd name="connsiteX79" fmla="*/ 1810224 w 1920031"/>
                <a:gd name="connsiteY79" fmla="*/ 1236451 h 1691232"/>
                <a:gd name="connsiteX80" fmla="*/ 1734024 w 1920031"/>
                <a:gd name="connsiteY80" fmla="*/ 1155488 h 1691232"/>
                <a:gd name="connsiteX81" fmla="*/ 1695924 w 1920031"/>
                <a:gd name="connsiteY81" fmla="*/ 974513 h 1691232"/>
                <a:gd name="connsiteX82" fmla="*/ 1643536 w 1920031"/>
                <a:gd name="connsiteY82" fmla="*/ 941176 h 1691232"/>
                <a:gd name="connsiteX83" fmla="*/ 1605436 w 1920031"/>
                <a:gd name="connsiteY83" fmla="*/ 884026 h 1691232"/>
                <a:gd name="connsiteX84" fmla="*/ 1557811 w 1920031"/>
                <a:gd name="connsiteY84" fmla="*/ 836401 h 1691232"/>
                <a:gd name="connsiteX85" fmla="*/ 1505424 w 1920031"/>
                <a:gd name="connsiteY85" fmla="*/ 817351 h 1691232"/>
                <a:gd name="connsiteX86" fmla="*/ 1453036 w 1920031"/>
                <a:gd name="connsiteY86" fmla="*/ 812588 h 1691232"/>
                <a:gd name="connsiteX87" fmla="*/ 1510186 w 1920031"/>
                <a:gd name="connsiteY87" fmla="*/ 779251 h 1691232"/>
                <a:gd name="connsiteX88" fmla="*/ 1476849 w 1920031"/>
                <a:gd name="connsiteY88" fmla="*/ 745913 h 1691232"/>
                <a:gd name="connsiteX89" fmla="*/ 1481611 w 1920031"/>
                <a:gd name="connsiteY89" fmla="*/ 722101 h 1691232"/>
                <a:gd name="connsiteX90" fmla="*/ 1572099 w 1920031"/>
                <a:gd name="connsiteY90" fmla="*/ 760201 h 1691232"/>
                <a:gd name="connsiteX91" fmla="*/ 1624486 w 1920031"/>
                <a:gd name="connsiteY91" fmla="*/ 693526 h 1691232"/>
                <a:gd name="connsiteX92" fmla="*/ 1614961 w 1920031"/>
                <a:gd name="connsiteY92" fmla="*/ 550651 h 1691232"/>
                <a:gd name="connsiteX93" fmla="*/ 1610199 w 1920031"/>
                <a:gd name="connsiteY93" fmla="*/ 412538 h 1691232"/>
                <a:gd name="connsiteX0" fmla="*/ 1610199 w 1880151"/>
                <a:gd name="connsiteY0" fmla="*/ 412538 h 1691232"/>
                <a:gd name="connsiteX1" fmla="*/ 1567336 w 1880151"/>
                <a:gd name="connsiteY1" fmla="*/ 369676 h 1691232"/>
                <a:gd name="connsiteX2" fmla="*/ 1467324 w 1880151"/>
                <a:gd name="connsiteY2" fmla="*/ 345863 h 1691232"/>
                <a:gd name="connsiteX3" fmla="*/ 1419699 w 1880151"/>
                <a:gd name="connsiteY3" fmla="*/ 317288 h 1691232"/>
                <a:gd name="connsiteX4" fmla="*/ 1367311 w 1880151"/>
                <a:gd name="connsiteY4" fmla="*/ 160126 h 1691232"/>
                <a:gd name="connsiteX5" fmla="*/ 1338736 w 1880151"/>
                <a:gd name="connsiteY5" fmla="*/ 12488 h 1691232"/>
                <a:gd name="connsiteX6" fmla="*/ 1267299 w 1880151"/>
                <a:gd name="connsiteY6" fmla="*/ 12488 h 1691232"/>
                <a:gd name="connsiteX7" fmla="*/ 1214911 w 1880151"/>
                <a:gd name="connsiteY7" fmla="*/ 50588 h 1691232"/>
                <a:gd name="connsiteX8" fmla="*/ 1214911 w 1880151"/>
                <a:gd name="connsiteY8" fmla="*/ 155363 h 1691232"/>
                <a:gd name="connsiteX9" fmla="*/ 1186336 w 1880151"/>
                <a:gd name="connsiteY9" fmla="*/ 183938 h 1691232"/>
                <a:gd name="connsiteX10" fmla="*/ 1176811 w 1880151"/>
                <a:gd name="connsiteY10" fmla="*/ 255376 h 1691232"/>
                <a:gd name="connsiteX11" fmla="*/ 1114899 w 1880151"/>
                <a:gd name="connsiteY11" fmla="*/ 298238 h 1691232"/>
                <a:gd name="connsiteX12" fmla="*/ 1005361 w 1880151"/>
                <a:gd name="connsiteY12" fmla="*/ 312526 h 1691232"/>
                <a:gd name="connsiteX13" fmla="*/ 962499 w 1880151"/>
                <a:gd name="connsiteY13" fmla="*/ 355388 h 1691232"/>
                <a:gd name="connsiteX14" fmla="*/ 838674 w 1880151"/>
                <a:gd name="connsiteY14" fmla="*/ 355388 h 1691232"/>
                <a:gd name="connsiteX15" fmla="*/ 781524 w 1880151"/>
                <a:gd name="connsiteY15" fmla="*/ 426826 h 1691232"/>
                <a:gd name="connsiteX16" fmla="*/ 781524 w 1880151"/>
                <a:gd name="connsiteY16" fmla="*/ 460163 h 1691232"/>
                <a:gd name="connsiteX17" fmla="*/ 743424 w 1880151"/>
                <a:gd name="connsiteY17" fmla="*/ 483976 h 1691232"/>
                <a:gd name="connsiteX18" fmla="*/ 671986 w 1880151"/>
                <a:gd name="connsiteY18" fmla="*/ 417301 h 1691232"/>
                <a:gd name="connsiteX19" fmla="*/ 519586 w 1880151"/>
                <a:gd name="connsiteY19" fmla="*/ 412538 h 1691232"/>
                <a:gd name="connsiteX20" fmla="*/ 457674 w 1880151"/>
                <a:gd name="connsiteY20" fmla="*/ 431588 h 1691232"/>
                <a:gd name="connsiteX21" fmla="*/ 419574 w 1880151"/>
                <a:gd name="connsiteY21" fmla="*/ 417301 h 1691232"/>
                <a:gd name="connsiteX22" fmla="*/ 400524 w 1880151"/>
                <a:gd name="connsiteY22" fmla="*/ 355388 h 1691232"/>
                <a:gd name="connsiteX23" fmla="*/ 333849 w 1880151"/>
                <a:gd name="connsiteY23" fmla="*/ 303001 h 1691232"/>
                <a:gd name="connsiteX24" fmla="*/ 286224 w 1880151"/>
                <a:gd name="connsiteY24" fmla="*/ 236326 h 1691232"/>
                <a:gd name="connsiteX25" fmla="*/ 143349 w 1880151"/>
                <a:gd name="connsiteY25" fmla="*/ 255376 h 1691232"/>
                <a:gd name="connsiteX26" fmla="*/ 124299 w 1880151"/>
                <a:gd name="connsiteY26" fmla="*/ 331576 h 1691232"/>
                <a:gd name="connsiteX27" fmla="*/ 110011 w 1880151"/>
                <a:gd name="connsiteY27" fmla="*/ 364913 h 1691232"/>
                <a:gd name="connsiteX28" fmla="*/ 133824 w 1880151"/>
                <a:gd name="connsiteY28" fmla="*/ 412538 h 1691232"/>
                <a:gd name="connsiteX29" fmla="*/ 81436 w 1880151"/>
                <a:gd name="connsiteY29" fmla="*/ 450638 h 1691232"/>
                <a:gd name="connsiteX30" fmla="*/ 33811 w 1880151"/>
                <a:gd name="connsiteY30" fmla="*/ 445876 h 1691232"/>
                <a:gd name="connsiteX31" fmla="*/ 33811 w 1880151"/>
                <a:gd name="connsiteY31" fmla="*/ 517313 h 1691232"/>
                <a:gd name="connsiteX32" fmla="*/ 474 w 1880151"/>
                <a:gd name="connsiteY32" fmla="*/ 622088 h 1691232"/>
                <a:gd name="connsiteX33" fmla="*/ 62386 w 1880151"/>
                <a:gd name="connsiteY33" fmla="*/ 698288 h 1691232"/>
                <a:gd name="connsiteX34" fmla="*/ 111977 w 1880151"/>
                <a:gd name="connsiteY34" fmla="*/ 678550 h 1691232"/>
                <a:gd name="connsiteX35" fmla="*/ 112334 w 1880151"/>
                <a:gd name="connsiteY35" fmla="*/ 748809 h 1691232"/>
                <a:gd name="connsiteX36" fmla="*/ 167161 w 1880151"/>
                <a:gd name="connsiteY36" fmla="*/ 779251 h 1691232"/>
                <a:gd name="connsiteX37" fmla="*/ 236159 w 1880151"/>
                <a:gd name="connsiteY37" fmla="*/ 789463 h 1691232"/>
                <a:gd name="connsiteX38" fmla="*/ 271462 w 1880151"/>
                <a:gd name="connsiteY38" fmla="*/ 845434 h 1691232"/>
                <a:gd name="connsiteX39" fmla="*/ 270869 w 1880151"/>
                <a:gd name="connsiteY39" fmla="*/ 890506 h 1691232"/>
                <a:gd name="connsiteX40" fmla="*/ 295393 w 1880151"/>
                <a:gd name="connsiteY40" fmla="*/ 929981 h 1691232"/>
                <a:gd name="connsiteX41" fmla="*/ 341051 w 1880151"/>
                <a:gd name="connsiteY41" fmla="*/ 968573 h 1691232"/>
                <a:gd name="connsiteX42" fmla="*/ 426184 w 1880151"/>
                <a:gd name="connsiteY42" fmla="*/ 1022825 h 1691232"/>
                <a:gd name="connsiteX43" fmla="*/ 461961 w 1880151"/>
                <a:gd name="connsiteY43" fmla="*/ 1093918 h 1691232"/>
                <a:gd name="connsiteX44" fmla="*/ 441064 w 1880151"/>
                <a:gd name="connsiteY44" fmla="*/ 1163491 h 1691232"/>
                <a:gd name="connsiteX45" fmla="*/ 519111 w 1880151"/>
                <a:gd name="connsiteY45" fmla="*/ 1219954 h 1691232"/>
                <a:gd name="connsiteX46" fmla="*/ 591143 w 1880151"/>
                <a:gd name="connsiteY46" fmla="*/ 1252948 h 1691232"/>
                <a:gd name="connsiteX47" fmla="*/ 571974 w 1880151"/>
                <a:gd name="connsiteY47" fmla="*/ 1312651 h 1691232"/>
                <a:gd name="connsiteX48" fmla="*/ 662461 w 1880151"/>
                <a:gd name="connsiteY48" fmla="*/ 1465051 h 1691232"/>
                <a:gd name="connsiteX49" fmla="*/ 755271 w 1880151"/>
                <a:gd name="connsiteY49" fmla="*/ 1538205 h 1691232"/>
                <a:gd name="connsiteX50" fmla="*/ 805336 w 1880151"/>
                <a:gd name="connsiteY50" fmla="*/ 1488863 h 1691232"/>
                <a:gd name="connsiteX51" fmla="*/ 869926 w 1880151"/>
                <a:gd name="connsiteY51" fmla="*/ 1516260 h 1691232"/>
                <a:gd name="connsiteX52" fmla="*/ 924399 w 1880151"/>
                <a:gd name="connsiteY52" fmla="*/ 1484101 h 1691232"/>
                <a:gd name="connsiteX53" fmla="*/ 941246 w 1880151"/>
                <a:gd name="connsiteY53" fmla="*/ 1441925 h 1691232"/>
                <a:gd name="connsiteX54" fmla="*/ 1005123 w 1880151"/>
                <a:gd name="connsiteY54" fmla="*/ 1528337 h 1691232"/>
                <a:gd name="connsiteX55" fmla="*/ 1050190 w 1880151"/>
                <a:gd name="connsiteY55" fmla="*/ 1599431 h 1691232"/>
                <a:gd name="connsiteX56" fmla="*/ 1120136 w 1880151"/>
                <a:gd name="connsiteY56" fmla="*/ 1690950 h 1691232"/>
                <a:gd name="connsiteX57" fmla="*/ 1151034 w 1880151"/>
                <a:gd name="connsiteY57" fmla="*/ 1627859 h 1691232"/>
                <a:gd name="connsiteX58" fmla="*/ 1181693 w 1880151"/>
                <a:gd name="connsiteY58" fmla="*/ 1621379 h 1691232"/>
                <a:gd name="connsiteX59" fmla="*/ 1224792 w 1880151"/>
                <a:gd name="connsiteY59" fmla="*/ 1650642 h 1691232"/>
                <a:gd name="connsiteX60" fmla="*/ 1258367 w 1880151"/>
                <a:gd name="connsiteY60" fmla="*/ 1609988 h 1691232"/>
                <a:gd name="connsiteX61" fmla="*/ 1277188 w 1880151"/>
                <a:gd name="connsiteY61" fmla="*/ 1614605 h 1691232"/>
                <a:gd name="connsiteX62" fmla="*/ 1311230 w 1880151"/>
                <a:gd name="connsiteY62" fmla="*/ 1681082 h 1691232"/>
                <a:gd name="connsiteX63" fmla="*/ 1367786 w 1880151"/>
                <a:gd name="connsiteY63" fmla="*/ 1657613 h 1691232"/>
                <a:gd name="connsiteX64" fmla="*/ 1419818 w 1880151"/>
                <a:gd name="connsiteY64" fmla="*/ 1601492 h 1691232"/>
                <a:gd name="connsiteX65" fmla="*/ 1470595 w 1880151"/>
                <a:gd name="connsiteY65" fmla="*/ 1584949 h 1691232"/>
                <a:gd name="connsiteX66" fmla="*/ 1488274 w 1880151"/>
                <a:gd name="connsiteY66" fmla="*/ 1640771 h 1691232"/>
                <a:gd name="connsiteX67" fmla="*/ 1558169 w 1880151"/>
                <a:gd name="connsiteY67" fmla="*/ 1615093 h 1691232"/>
                <a:gd name="connsiteX68" fmla="*/ 1588947 w 1880151"/>
                <a:gd name="connsiteY68" fmla="*/ 1528337 h 1691232"/>
                <a:gd name="connsiteX69" fmla="*/ 1670383 w 1880151"/>
                <a:gd name="connsiteY69" fmla="*/ 1438195 h 1691232"/>
                <a:gd name="connsiteX70" fmla="*/ 1714974 w 1880151"/>
                <a:gd name="connsiteY70" fmla="*/ 1407065 h 1691232"/>
                <a:gd name="connsiteX71" fmla="*/ 1743343 w 1880151"/>
                <a:gd name="connsiteY71" fmla="*/ 1410360 h 1691232"/>
                <a:gd name="connsiteX72" fmla="*/ 1820935 w 1880151"/>
                <a:gd name="connsiteY72" fmla="*/ 1399752 h 1691232"/>
                <a:gd name="connsiteX73" fmla="*/ 1816054 w 1880151"/>
                <a:gd name="connsiteY73" fmla="*/ 1453316 h 1691232"/>
                <a:gd name="connsiteX74" fmla="*/ 1874221 w 1880151"/>
                <a:gd name="connsiteY74" fmla="*/ 1476637 h 1691232"/>
                <a:gd name="connsiteX75" fmla="*/ 1875830 w 1880151"/>
                <a:gd name="connsiteY75" fmla="*/ 1451451 h 1691232"/>
                <a:gd name="connsiteX76" fmla="*/ 1853086 w 1880151"/>
                <a:gd name="connsiteY76" fmla="*/ 1398376 h 1691232"/>
                <a:gd name="connsiteX77" fmla="*/ 1853086 w 1880151"/>
                <a:gd name="connsiteY77" fmla="*/ 1303126 h 1691232"/>
                <a:gd name="connsiteX78" fmla="*/ 1853086 w 1880151"/>
                <a:gd name="connsiteY78" fmla="*/ 1245976 h 1691232"/>
                <a:gd name="connsiteX79" fmla="*/ 1810224 w 1880151"/>
                <a:gd name="connsiteY79" fmla="*/ 1236451 h 1691232"/>
                <a:gd name="connsiteX80" fmla="*/ 1734024 w 1880151"/>
                <a:gd name="connsiteY80" fmla="*/ 1155488 h 1691232"/>
                <a:gd name="connsiteX81" fmla="*/ 1695924 w 1880151"/>
                <a:gd name="connsiteY81" fmla="*/ 974513 h 1691232"/>
                <a:gd name="connsiteX82" fmla="*/ 1643536 w 1880151"/>
                <a:gd name="connsiteY82" fmla="*/ 941176 h 1691232"/>
                <a:gd name="connsiteX83" fmla="*/ 1605436 w 1880151"/>
                <a:gd name="connsiteY83" fmla="*/ 884026 h 1691232"/>
                <a:gd name="connsiteX84" fmla="*/ 1557811 w 1880151"/>
                <a:gd name="connsiteY84" fmla="*/ 836401 h 1691232"/>
                <a:gd name="connsiteX85" fmla="*/ 1505424 w 1880151"/>
                <a:gd name="connsiteY85" fmla="*/ 817351 h 1691232"/>
                <a:gd name="connsiteX86" fmla="*/ 1453036 w 1880151"/>
                <a:gd name="connsiteY86" fmla="*/ 812588 h 1691232"/>
                <a:gd name="connsiteX87" fmla="*/ 1510186 w 1880151"/>
                <a:gd name="connsiteY87" fmla="*/ 779251 h 1691232"/>
                <a:gd name="connsiteX88" fmla="*/ 1476849 w 1880151"/>
                <a:gd name="connsiteY88" fmla="*/ 745913 h 1691232"/>
                <a:gd name="connsiteX89" fmla="*/ 1481611 w 1880151"/>
                <a:gd name="connsiteY89" fmla="*/ 722101 h 1691232"/>
                <a:gd name="connsiteX90" fmla="*/ 1572099 w 1880151"/>
                <a:gd name="connsiteY90" fmla="*/ 760201 h 1691232"/>
                <a:gd name="connsiteX91" fmla="*/ 1624486 w 1880151"/>
                <a:gd name="connsiteY91" fmla="*/ 693526 h 1691232"/>
                <a:gd name="connsiteX92" fmla="*/ 1614961 w 1880151"/>
                <a:gd name="connsiteY92" fmla="*/ 550651 h 1691232"/>
                <a:gd name="connsiteX93" fmla="*/ 1610199 w 1880151"/>
                <a:gd name="connsiteY93" fmla="*/ 412538 h 1691232"/>
                <a:gd name="connsiteX0" fmla="*/ 1610199 w 1874950"/>
                <a:gd name="connsiteY0" fmla="*/ 412538 h 1691232"/>
                <a:gd name="connsiteX1" fmla="*/ 1567336 w 1874950"/>
                <a:gd name="connsiteY1" fmla="*/ 369676 h 1691232"/>
                <a:gd name="connsiteX2" fmla="*/ 1467324 w 1874950"/>
                <a:gd name="connsiteY2" fmla="*/ 345863 h 1691232"/>
                <a:gd name="connsiteX3" fmla="*/ 1419699 w 1874950"/>
                <a:gd name="connsiteY3" fmla="*/ 317288 h 1691232"/>
                <a:gd name="connsiteX4" fmla="*/ 1367311 w 1874950"/>
                <a:gd name="connsiteY4" fmla="*/ 160126 h 1691232"/>
                <a:gd name="connsiteX5" fmla="*/ 1338736 w 1874950"/>
                <a:gd name="connsiteY5" fmla="*/ 12488 h 1691232"/>
                <a:gd name="connsiteX6" fmla="*/ 1267299 w 1874950"/>
                <a:gd name="connsiteY6" fmla="*/ 12488 h 1691232"/>
                <a:gd name="connsiteX7" fmla="*/ 1214911 w 1874950"/>
                <a:gd name="connsiteY7" fmla="*/ 50588 h 1691232"/>
                <a:gd name="connsiteX8" fmla="*/ 1214911 w 1874950"/>
                <a:gd name="connsiteY8" fmla="*/ 155363 h 1691232"/>
                <a:gd name="connsiteX9" fmla="*/ 1186336 w 1874950"/>
                <a:gd name="connsiteY9" fmla="*/ 183938 h 1691232"/>
                <a:gd name="connsiteX10" fmla="*/ 1176811 w 1874950"/>
                <a:gd name="connsiteY10" fmla="*/ 255376 h 1691232"/>
                <a:gd name="connsiteX11" fmla="*/ 1114899 w 1874950"/>
                <a:gd name="connsiteY11" fmla="*/ 298238 h 1691232"/>
                <a:gd name="connsiteX12" fmla="*/ 1005361 w 1874950"/>
                <a:gd name="connsiteY12" fmla="*/ 312526 h 1691232"/>
                <a:gd name="connsiteX13" fmla="*/ 962499 w 1874950"/>
                <a:gd name="connsiteY13" fmla="*/ 355388 h 1691232"/>
                <a:gd name="connsiteX14" fmla="*/ 838674 w 1874950"/>
                <a:gd name="connsiteY14" fmla="*/ 355388 h 1691232"/>
                <a:gd name="connsiteX15" fmla="*/ 781524 w 1874950"/>
                <a:gd name="connsiteY15" fmla="*/ 426826 h 1691232"/>
                <a:gd name="connsiteX16" fmla="*/ 781524 w 1874950"/>
                <a:gd name="connsiteY16" fmla="*/ 460163 h 1691232"/>
                <a:gd name="connsiteX17" fmla="*/ 743424 w 1874950"/>
                <a:gd name="connsiteY17" fmla="*/ 483976 h 1691232"/>
                <a:gd name="connsiteX18" fmla="*/ 671986 w 1874950"/>
                <a:gd name="connsiteY18" fmla="*/ 417301 h 1691232"/>
                <a:gd name="connsiteX19" fmla="*/ 519586 w 1874950"/>
                <a:gd name="connsiteY19" fmla="*/ 412538 h 1691232"/>
                <a:gd name="connsiteX20" fmla="*/ 457674 w 1874950"/>
                <a:gd name="connsiteY20" fmla="*/ 431588 h 1691232"/>
                <a:gd name="connsiteX21" fmla="*/ 419574 w 1874950"/>
                <a:gd name="connsiteY21" fmla="*/ 417301 h 1691232"/>
                <a:gd name="connsiteX22" fmla="*/ 400524 w 1874950"/>
                <a:gd name="connsiteY22" fmla="*/ 355388 h 1691232"/>
                <a:gd name="connsiteX23" fmla="*/ 333849 w 1874950"/>
                <a:gd name="connsiteY23" fmla="*/ 303001 h 1691232"/>
                <a:gd name="connsiteX24" fmla="*/ 286224 w 1874950"/>
                <a:gd name="connsiteY24" fmla="*/ 236326 h 1691232"/>
                <a:gd name="connsiteX25" fmla="*/ 143349 w 1874950"/>
                <a:gd name="connsiteY25" fmla="*/ 255376 h 1691232"/>
                <a:gd name="connsiteX26" fmla="*/ 124299 w 1874950"/>
                <a:gd name="connsiteY26" fmla="*/ 331576 h 1691232"/>
                <a:gd name="connsiteX27" fmla="*/ 110011 w 1874950"/>
                <a:gd name="connsiteY27" fmla="*/ 364913 h 1691232"/>
                <a:gd name="connsiteX28" fmla="*/ 133824 w 1874950"/>
                <a:gd name="connsiteY28" fmla="*/ 412538 h 1691232"/>
                <a:gd name="connsiteX29" fmla="*/ 81436 w 1874950"/>
                <a:gd name="connsiteY29" fmla="*/ 450638 h 1691232"/>
                <a:gd name="connsiteX30" fmla="*/ 33811 w 1874950"/>
                <a:gd name="connsiteY30" fmla="*/ 445876 h 1691232"/>
                <a:gd name="connsiteX31" fmla="*/ 33811 w 1874950"/>
                <a:gd name="connsiteY31" fmla="*/ 517313 h 1691232"/>
                <a:gd name="connsiteX32" fmla="*/ 474 w 1874950"/>
                <a:gd name="connsiteY32" fmla="*/ 622088 h 1691232"/>
                <a:gd name="connsiteX33" fmla="*/ 62386 w 1874950"/>
                <a:gd name="connsiteY33" fmla="*/ 698288 h 1691232"/>
                <a:gd name="connsiteX34" fmla="*/ 111977 w 1874950"/>
                <a:gd name="connsiteY34" fmla="*/ 678550 h 1691232"/>
                <a:gd name="connsiteX35" fmla="*/ 112334 w 1874950"/>
                <a:gd name="connsiteY35" fmla="*/ 748809 h 1691232"/>
                <a:gd name="connsiteX36" fmla="*/ 167161 w 1874950"/>
                <a:gd name="connsiteY36" fmla="*/ 779251 h 1691232"/>
                <a:gd name="connsiteX37" fmla="*/ 236159 w 1874950"/>
                <a:gd name="connsiteY37" fmla="*/ 789463 h 1691232"/>
                <a:gd name="connsiteX38" fmla="*/ 271462 w 1874950"/>
                <a:gd name="connsiteY38" fmla="*/ 845434 h 1691232"/>
                <a:gd name="connsiteX39" fmla="*/ 270869 w 1874950"/>
                <a:gd name="connsiteY39" fmla="*/ 890506 h 1691232"/>
                <a:gd name="connsiteX40" fmla="*/ 295393 w 1874950"/>
                <a:gd name="connsiteY40" fmla="*/ 929981 h 1691232"/>
                <a:gd name="connsiteX41" fmla="*/ 341051 w 1874950"/>
                <a:gd name="connsiteY41" fmla="*/ 968573 h 1691232"/>
                <a:gd name="connsiteX42" fmla="*/ 426184 w 1874950"/>
                <a:gd name="connsiteY42" fmla="*/ 1022825 h 1691232"/>
                <a:gd name="connsiteX43" fmla="*/ 461961 w 1874950"/>
                <a:gd name="connsiteY43" fmla="*/ 1093918 h 1691232"/>
                <a:gd name="connsiteX44" fmla="*/ 441064 w 1874950"/>
                <a:gd name="connsiteY44" fmla="*/ 1163491 h 1691232"/>
                <a:gd name="connsiteX45" fmla="*/ 519111 w 1874950"/>
                <a:gd name="connsiteY45" fmla="*/ 1219954 h 1691232"/>
                <a:gd name="connsiteX46" fmla="*/ 591143 w 1874950"/>
                <a:gd name="connsiteY46" fmla="*/ 1252948 h 1691232"/>
                <a:gd name="connsiteX47" fmla="*/ 571974 w 1874950"/>
                <a:gd name="connsiteY47" fmla="*/ 1312651 h 1691232"/>
                <a:gd name="connsiteX48" fmla="*/ 662461 w 1874950"/>
                <a:gd name="connsiteY48" fmla="*/ 1465051 h 1691232"/>
                <a:gd name="connsiteX49" fmla="*/ 755271 w 1874950"/>
                <a:gd name="connsiteY49" fmla="*/ 1538205 h 1691232"/>
                <a:gd name="connsiteX50" fmla="*/ 805336 w 1874950"/>
                <a:gd name="connsiteY50" fmla="*/ 1488863 h 1691232"/>
                <a:gd name="connsiteX51" fmla="*/ 869926 w 1874950"/>
                <a:gd name="connsiteY51" fmla="*/ 1516260 h 1691232"/>
                <a:gd name="connsiteX52" fmla="*/ 924399 w 1874950"/>
                <a:gd name="connsiteY52" fmla="*/ 1484101 h 1691232"/>
                <a:gd name="connsiteX53" fmla="*/ 941246 w 1874950"/>
                <a:gd name="connsiteY53" fmla="*/ 1441925 h 1691232"/>
                <a:gd name="connsiteX54" fmla="*/ 1005123 w 1874950"/>
                <a:gd name="connsiteY54" fmla="*/ 1528337 h 1691232"/>
                <a:gd name="connsiteX55" fmla="*/ 1050190 w 1874950"/>
                <a:gd name="connsiteY55" fmla="*/ 1599431 h 1691232"/>
                <a:gd name="connsiteX56" fmla="*/ 1120136 w 1874950"/>
                <a:gd name="connsiteY56" fmla="*/ 1690950 h 1691232"/>
                <a:gd name="connsiteX57" fmla="*/ 1151034 w 1874950"/>
                <a:gd name="connsiteY57" fmla="*/ 1627859 h 1691232"/>
                <a:gd name="connsiteX58" fmla="*/ 1181693 w 1874950"/>
                <a:gd name="connsiteY58" fmla="*/ 1621379 h 1691232"/>
                <a:gd name="connsiteX59" fmla="*/ 1224792 w 1874950"/>
                <a:gd name="connsiteY59" fmla="*/ 1650642 h 1691232"/>
                <a:gd name="connsiteX60" fmla="*/ 1258367 w 1874950"/>
                <a:gd name="connsiteY60" fmla="*/ 1609988 h 1691232"/>
                <a:gd name="connsiteX61" fmla="*/ 1277188 w 1874950"/>
                <a:gd name="connsiteY61" fmla="*/ 1614605 h 1691232"/>
                <a:gd name="connsiteX62" fmla="*/ 1311230 w 1874950"/>
                <a:gd name="connsiteY62" fmla="*/ 1681082 h 1691232"/>
                <a:gd name="connsiteX63" fmla="*/ 1367786 w 1874950"/>
                <a:gd name="connsiteY63" fmla="*/ 1657613 h 1691232"/>
                <a:gd name="connsiteX64" fmla="*/ 1419818 w 1874950"/>
                <a:gd name="connsiteY64" fmla="*/ 1601492 h 1691232"/>
                <a:gd name="connsiteX65" fmla="*/ 1470595 w 1874950"/>
                <a:gd name="connsiteY65" fmla="*/ 1584949 h 1691232"/>
                <a:gd name="connsiteX66" fmla="*/ 1488274 w 1874950"/>
                <a:gd name="connsiteY66" fmla="*/ 1640771 h 1691232"/>
                <a:gd name="connsiteX67" fmla="*/ 1558169 w 1874950"/>
                <a:gd name="connsiteY67" fmla="*/ 1615093 h 1691232"/>
                <a:gd name="connsiteX68" fmla="*/ 1588947 w 1874950"/>
                <a:gd name="connsiteY68" fmla="*/ 1528337 h 1691232"/>
                <a:gd name="connsiteX69" fmla="*/ 1670383 w 1874950"/>
                <a:gd name="connsiteY69" fmla="*/ 1438195 h 1691232"/>
                <a:gd name="connsiteX70" fmla="*/ 1714974 w 1874950"/>
                <a:gd name="connsiteY70" fmla="*/ 1407065 h 1691232"/>
                <a:gd name="connsiteX71" fmla="*/ 1743343 w 1874950"/>
                <a:gd name="connsiteY71" fmla="*/ 1410360 h 1691232"/>
                <a:gd name="connsiteX72" fmla="*/ 1820935 w 1874950"/>
                <a:gd name="connsiteY72" fmla="*/ 1399752 h 1691232"/>
                <a:gd name="connsiteX73" fmla="*/ 1816054 w 1874950"/>
                <a:gd name="connsiteY73" fmla="*/ 1453316 h 1691232"/>
                <a:gd name="connsiteX74" fmla="*/ 1874221 w 1874950"/>
                <a:gd name="connsiteY74" fmla="*/ 1476637 h 1691232"/>
                <a:gd name="connsiteX75" fmla="*/ 1848983 w 1874950"/>
                <a:gd name="connsiteY75" fmla="*/ 1443791 h 1691232"/>
                <a:gd name="connsiteX76" fmla="*/ 1853086 w 1874950"/>
                <a:gd name="connsiteY76" fmla="*/ 1398376 h 1691232"/>
                <a:gd name="connsiteX77" fmla="*/ 1853086 w 1874950"/>
                <a:gd name="connsiteY77" fmla="*/ 1303126 h 1691232"/>
                <a:gd name="connsiteX78" fmla="*/ 1853086 w 1874950"/>
                <a:gd name="connsiteY78" fmla="*/ 1245976 h 1691232"/>
                <a:gd name="connsiteX79" fmla="*/ 1810224 w 1874950"/>
                <a:gd name="connsiteY79" fmla="*/ 1236451 h 1691232"/>
                <a:gd name="connsiteX80" fmla="*/ 1734024 w 1874950"/>
                <a:gd name="connsiteY80" fmla="*/ 1155488 h 1691232"/>
                <a:gd name="connsiteX81" fmla="*/ 1695924 w 1874950"/>
                <a:gd name="connsiteY81" fmla="*/ 974513 h 1691232"/>
                <a:gd name="connsiteX82" fmla="*/ 1643536 w 1874950"/>
                <a:gd name="connsiteY82" fmla="*/ 941176 h 1691232"/>
                <a:gd name="connsiteX83" fmla="*/ 1605436 w 1874950"/>
                <a:gd name="connsiteY83" fmla="*/ 884026 h 1691232"/>
                <a:gd name="connsiteX84" fmla="*/ 1557811 w 1874950"/>
                <a:gd name="connsiteY84" fmla="*/ 836401 h 1691232"/>
                <a:gd name="connsiteX85" fmla="*/ 1505424 w 1874950"/>
                <a:gd name="connsiteY85" fmla="*/ 817351 h 1691232"/>
                <a:gd name="connsiteX86" fmla="*/ 1453036 w 1874950"/>
                <a:gd name="connsiteY86" fmla="*/ 812588 h 1691232"/>
                <a:gd name="connsiteX87" fmla="*/ 1510186 w 1874950"/>
                <a:gd name="connsiteY87" fmla="*/ 779251 h 1691232"/>
                <a:gd name="connsiteX88" fmla="*/ 1476849 w 1874950"/>
                <a:gd name="connsiteY88" fmla="*/ 745913 h 1691232"/>
                <a:gd name="connsiteX89" fmla="*/ 1481611 w 1874950"/>
                <a:gd name="connsiteY89" fmla="*/ 722101 h 1691232"/>
                <a:gd name="connsiteX90" fmla="*/ 1572099 w 1874950"/>
                <a:gd name="connsiteY90" fmla="*/ 760201 h 1691232"/>
                <a:gd name="connsiteX91" fmla="*/ 1624486 w 1874950"/>
                <a:gd name="connsiteY91" fmla="*/ 693526 h 1691232"/>
                <a:gd name="connsiteX92" fmla="*/ 1614961 w 1874950"/>
                <a:gd name="connsiteY92" fmla="*/ 550651 h 1691232"/>
                <a:gd name="connsiteX93" fmla="*/ 1610199 w 1874950"/>
                <a:gd name="connsiteY93" fmla="*/ 412538 h 1691232"/>
                <a:gd name="connsiteX0" fmla="*/ 1610199 w 1880150"/>
                <a:gd name="connsiteY0" fmla="*/ 412538 h 1691232"/>
                <a:gd name="connsiteX1" fmla="*/ 1567336 w 1880150"/>
                <a:gd name="connsiteY1" fmla="*/ 369676 h 1691232"/>
                <a:gd name="connsiteX2" fmla="*/ 1467324 w 1880150"/>
                <a:gd name="connsiteY2" fmla="*/ 345863 h 1691232"/>
                <a:gd name="connsiteX3" fmla="*/ 1419699 w 1880150"/>
                <a:gd name="connsiteY3" fmla="*/ 317288 h 1691232"/>
                <a:gd name="connsiteX4" fmla="*/ 1367311 w 1880150"/>
                <a:gd name="connsiteY4" fmla="*/ 160126 h 1691232"/>
                <a:gd name="connsiteX5" fmla="*/ 1338736 w 1880150"/>
                <a:gd name="connsiteY5" fmla="*/ 12488 h 1691232"/>
                <a:gd name="connsiteX6" fmla="*/ 1267299 w 1880150"/>
                <a:gd name="connsiteY6" fmla="*/ 12488 h 1691232"/>
                <a:gd name="connsiteX7" fmla="*/ 1214911 w 1880150"/>
                <a:gd name="connsiteY7" fmla="*/ 50588 h 1691232"/>
                <a:gd name="connsiteX8" fmla="*/ 1214911 w 1880150"/>
                <a:gd name="connsiteY8" fmla="*/ 155363 h 1691232"/>
                <a:gd name="connsiteX9" fmla="*/ 1186336 w 1880150"/>
                <a:gd name="connsiteY9" fmla="*/ 183938 h 1691232"/>
                <a:gd name="connsiteX10" fmla="*/ 1176811 w 1880150"/>
                <a:gd name="connsiteY10" fmla="*/ 255376 h 1691232"/>
                <a:gd name="connsiteX11" fmla="*/ 1114899 w 1880150"/>
                <a:gd name="connsiteY11" fmla="*/ 298238 h 1691232"/>
                <a:gd name="connsiteX12" fmla="*/ 1005361 w 1880150"/>
                <a:gd name="connsiteY12" fmla="*/ 312526 h 1691232"/>
                <a:gd name="connsiteX13" fmla="*/ 962499 w 1880150"/>
                <a:gd name="connsiteY13" fmla="*/ 355388 h 1691232"/>
                <a:gd name="connsiteX14" fmla="*/ 838674 w 1880150"/>
                <a:gd name="connsiteY14" fmla="*/ 355388 h 1691232"/>
                <a:gd name="connsiteX15" fmla="*/ 781524 w 1880150"/>
                <a:gd name="connsiteY15" fmla="*/ 426826 h 1691232"/>
                <a:gd name="connsiteX16" fmla="*/ 781524 w 1880150"/>
                <a:gd name="connsiteY16" fmla="*/ 460163 h 1691232"/>
                <a:gd name="connsiteX17" fmla="*/ 743424 w 1880150"/>
                <a:gd name="connsiteY17" fmla="*/ 483976 h 1691232"/>
                <a:gd name="connsiteX18" fmla="*/ 671986 w 1880150"/>
                <a:gd name="connsiteY18" fmla="*/ 417301 h 1691232"/>
                <a:gd name="connsiteX19" fmla="*/ 519586 w 1880150"/>
                <a:gd name="connsiteY19" fmla="*/ 412538 h 1691232"/>
                <a:gd name="connsiteX20" fmla="*/ 457674 w 1880150"/>
                <a:gd name="connsiteY20" fmla="*/ 431588 h 1691232"/>
                <a:gd name="connsiteX21" fmla="*/ 419574 w 1880150"/>
                <a:gd name="connsiteY21" fmla="*/ 417301 h 1691232"/>
                <a:gd name="connsiteX22" fmla="*/ 400524 w 1880150"/>
                <a:gd name="connsiteY22" fmla="*/ 355388 h 1691232"/>
                <a:gd name="connsiteX23" fmla="*/ 333849 w 1880150"/>
                <a:gd name="connsiteY23" fmla="*/ 303001 h 1691232"/>
                <a:gd name="connsiteX24" fmla="*/ 286224 w 1880150"/>
                <a:gd name="connsiteY24" fmla="*/ 236326 h 1691232"/>
                <a:gd name="connsiteX25" fmla="*/ 143349 w 1880150"/>
                <a:gd name="connsiteY25" fmla="*/ 255376 h 1691232"/>
                <a:gd name="connsiteX26" fmla="*/ 124299 w 1880150"/>
                <a:gd name="connsiteY26" fmla="*/ 331576 h 1691232"/>
                <a:gd name="connsiteX27" fmla="*/ 110011 w 1880150"/>
                <a:gd name="connsiteY27" fmla="*/ 364913 h 1691232"/>
                <a:gd name="connsiteX28" fmla="*/ 133824 w 1880150"/>
                <a:gd name="connsiteY28" fmla="*/ 412538 h 1691232"/>
                <a:gd name="connsiteX29" fmla="*/ 81436 w 1880150"/>
                <a:gd name="connsiteY29" fmla="*/ 450638 h 1691232"/>
                <a:gd name="connsiteX30" fmla="*/ 33811 w 1880150"/>
                <a:gd name="connsiteY30" fmla="*/ 445876 h 1691232"/>
                <a:gd name="connsiteX31" fmla="*/ 33811 w 1880150"/>
                <a:gd name="connsiteY31" fmla="*/ 517313 h 1691232"/>
                <a:gd name="connsiteX32" fmla="*/ 474 w 1880150"/>
                <a:gd name="connsiteY32" fmla="*/ 622088 h 1691232"/>
                <a:gd name="connsiteX33" fmla="*/ 62386 w 1880150"/>
                <a:gd name="connsiteY33" fmla="*/ 698288 h 1691232"/>
                <a:gd name="connsiteX34" fmla="*/ 111977 w 1880150"/>
                <a:gd name="connsiteY34" fmla="*/ 678550 h 1691232"/>
                <a:gd name="connsiteX35" fmla="*/ 112334 w 1880150"/>
                <a:gd name="connsiteY35" fmla="*/ 748809 h 1691232"/>
                <a:gd name="connsiteX36" fmla="*/ 167161 w 1880150"/>
                <a:gd name="connsiteY36" fmla="*/ 779251 h 1691232"/>
                <a:gd name="connsiteX37" fmla="*/ 236159 w 1880150"/>
                <a:gd name="connsiteY37" fmla="*/ 789463 h 1691232"/>
                <a:gd name="connsiteX38" fmla="*/ 271462 w 1880150"/>
                <a:gd name="connsiteY38" fmla="*/ 845434 h 1691232"/>
                <a:gd name="connsiteX39" fmla="*/ 270869 w 1880150"/>
                <a:gd name="connsiteY39" fmla="*/ 890506 h 1691232"/>
                <a:gd name="connsiteX40" fmla="*/ 295393 w 1880150"/>
                <a:gd name="connsiteY40" fmla="*/ 929981 h 1691232"/>
                <a:gd name="connsiteX41" fmla="*/ 341051 w 1880150"/>
                <a:gd name="connsiteY41" fmla="*/ 968573 h 1691232"/>
                <a:gd name="connsiteX42" fmla="*/ 426184 w 1880150"/>
                <a:gd name="connsiteY42" fmla="*/ 1022825 h 1691232"/>
                <a:gd name="connsiteX43" fmla="*/ 461961 w 1880150"/>
                <a:gd name="connsiteY43" fmla="*/ 1093918 h 1691232"/>
                <a:gd name="connsiteX44" fmla="*/ 441064 w 1880150"/>
                <a:gd name="connsiteY44" fmla="*/ 1163491 h 1691232"/>
                <a:gd name="connsiteX45" fmla="*/ 519111 w 1880150"/>
                <a:gd name="connsiteY45" fmla="*/ 1219954 h 1691232"/>
                <a:gd name="connsiteX46" fmla="*/ 591143 w 1880150"/>
                <a:gd name="connsiteY46" fmla="*/ 1252948 h 1691232"/>
                <a:gd name="connsiteX47" fmla="*/ 571974 w 1880150"/>
                <a:gd name="connsiteY47" fmla="*/ 1312651 h 1691232"/>
                <a:gd name="connsiteX48" fmla="*/ 662461 w 1880150"/>
                <a:gd name="connsiteY48" fmla="*/ 1465051 h 1691232"/>
                <a:gd name="connsiteX49" fmla="*/ 755271 w 1880150"/>
                <a:gd name="connsiteY49" fmla="*/ 1538205 h 1691232"/>
                <a:gd name="connsiteX50" fmla="*/ 805336 w 1880150"/>
                <a:gd name="connsiteY50" fmla="*/ 1488863 h 1691232"/>
                <a:gd name="connsiteX51" fmla="*/ 869926 w 1880150"/>
                <a:gd name="connsiteY51" fmla="*/ 1516260 h 1691232"/>
                <a:gd name="connsiteX52" fmla="*/ 924399 w 1880150"/>
                <a:gd name="connsiteY52" fmla="*/ 1484101 h 1691232"/>
                <a:gd name="connsiteX53" fmla="*/ 941246 w 1880150"/>
                <a:gd name="connsiteY53" fmla="*/ 1441925 h 1691232"/>
                <a:gd name="connsiteX54" fmla="*/ 1005123 w 1880150"/>
                <a:gd name="connsiteY54" fmla="*/ 1528337 h 1691232"/>
                <a:gd name="connsiteX55" fmla="*/ 1050190 w 1880150"/>
                <a:gd name="connsiteY55" fmla="*/ 1599431 h 1691232"/>
                <a:gd name="connsiteX56" fmla="*/ 1120136 w 1880150"/>
                <a:gd name="connsiteY56" fmla="*/ 1690950 h 1691232"/>
                <a:gd name="connsiteX57" fmla="*/ 1151034 w 1880150"/>
                <a:gd name="connsiteY57" fmla="*/ 1627859 h 1691232"/>
                <a:gd name="connsiteX58" fmla="*/ 1181693 w 1880150"/>
                <a:gd name="connsiteY58" fmla="*/ 1621379 h 1691232"/>
                <a:gd name="connsiteX59" fmla="*/ 1224792 w 1880150"/>
                <a:gd name="connsiteY59" fmla="*/ 1650642 h 1691232"/>
                <a:gd name="connsiteX60" fmla="*/ 1258367 w 1880150"/>
                <a:gd name="connsiteY60" fmla="*/ 1609988 h 1691232"/>
                <a:gd name="connsiteX61" fmla="*/ 1277188 w 1880150"/>
                <a:gd name="connsiteY61" fmla="*/ 1614605 h 1691232"/>
                <a:gd name="connsiteX62" fmla="*/ 1311230 w 1880150"/>
                <a:gd name="connsiteY62" fmla="*/ 1681082 h 1691232"/>
                <a:gd name="connsiteX63" fmla="*/ 1367786 w 1880150"/>
                <a:gd name="connsiteY63" fmla="*/ 1657613 h 1691232"/>
                <a:gd name="connsiteX64" fmla="*/ 1419818 w 1880150"/>
                <a:gd name="connsiteY64" fmla="*/ 1601492 h 1691232"/>
                <a:gd name="connsiteX65" fmla="*/ 1470595 w 1880150"/>
                <a:gd name="connsiteY65" fmla="*/ 1584949 h 1691232"/>
                <a:gd name="connsiteX66" fmla="*/ 1488274 w 1880150"/>
                <a:gd name="connsiteY66" fmla="*/ 1640771 h 1691232"/>
                <a:gd name="connsiteX67" fmla="*/ 1558169 w 1880150"/>
                <a:gd name="connsiteY67" fmla="*/ 1615093 h 1691232"/>
                <a:gd name="connsiteX68" fmla="*/ 1588947 w 1880150"/>
                <a:gd name="connsiteY68" fmla="*/ 1528337 h 1691232"/>
                <a:gd name="connsiteX69" fmla="*/ 1670383 w 1880150"/>
                <a:gd name="connsiteY69" fmla="*/ 1438195 h 1691232"/>
                <a:gd name="connsiteX70" fmla="*/ 1714974 w 1880150"/>
                <a:gd name="connsiteY70" fmla="*/ 1407065 h 1691232"/>
                <a:gd name="connsiteX71" fmla="*/ 1743343 w 1880150"/>
                <a:gd name="connsiteY71" fmla="*/ 1410360 h 1691232"/>
                <a:gd name="connsiteX72" fmla="*/ 1820935 w 1880150"/>
                <a:gd name="connsiteY72" fmla="*/ 1399752 h 1691232"/>
                <a:gd name="connsiteX73" fmla="*/ 1816054 w 1880150"/>
                <a:gd name="connsiteY73" fmla="*/ 1453316 h 1691232"/>
                <a:gd name="connsiteX74" fmla="*/ 1874221 w 1880150"/>
                <a:gd name="connsiteY74" fmla="*/ 1476637 h 1691232"/>
                <a:gd name="connsiteX75" fmla="*/ 1875829 w 1880150"/>
                <a:gd name="connsiteY75" fmla="*/ 1454003 h 1691232"/>
                <a:gd name="connsiteX76" fmla="*/ 1853086 w 1880150"/>
                <a:gd name="connsiteY76" fmla="*/ 1398376 h 1691232"/>
                <a:gd name="connsiteX77" fmla="*/ 1853086 w 1880150"/>
                <a:gd name="connsiteY77" fmla="*/ 1303126 h 1691232"/>
                <a:gd name="connsiteX78" fmla="*/ 1853086 w 1880150"/>
                <a:gd name="connsiteY78" fmla="*/ 1245976 h 1691232"/>
                <a:gd name="connsiteX79" fmla="*/ 1810224 w 1880150"/>
                <a:gd name="connsiteY79" fmla="*/ 1236451 h 1691232"/>
                <a:gd name="connsiteX80" fmla="*/ 1734024 w 1880150"/>
                <a:gd name="connsiteY80" fmla="*/ 1155488 h 1691232"/>
                <a:gd name="connsiteX81" fmla="*/ 1695924 w 1880150"/>
                <a:gd name="connsiteY81" fmla="*/ 974513 h 1691232"/>
                <a:gd name="connsiteX82" fmla="*/ 1643536 w 1880150"/>
                <a:gd name="connsiteY82" fmla="*/ 941176 h 1691232"/>
                <a:gd name="connsiteX83" fmla="*/ 1605436 w 1880150"/>
                <a:gd name="connsiteY83" fmla="*/ 884026 h 1691232"/>
                <a:gd name="connsiteX84" fmla="*/ 1557811 w 1880150"/>
                <a:gd name="connsiteY84" fmla="*/ 836401 h 1691232"/>
                <a:gd name="connsiteX85" fmla="*/ 1505424 w 1880150"/>
                <a:gd name="connsiteY85" fmla="*/ 817351 h 1691232"/>
                <a:gd name="connsiteX86" fmla="*/ 1453036 w 1880150"/>
                <a:gd name="connsiteY86" fmla="*/ 812588 h 1691232"/>
                <a:gd name="connsiteX87" fmla="*/ 1510186 w 1880150"/>
                <a:gd name="connsiteY87" fmla="*/ 779251 h 1691232"/>
                <a:gd name="connsiteX88" fmla="*/ 1476849 w 1880150"/>
                <a:gd name="connsiteY88" fmla="*/ 745913 h 1691232"/>
                <a:gd name="connsiteX89" fmla="*/ 1481611 w 1880150"/>
                <a:gd name="connsiteY89" fmla="*/ 722101 h 1691232"/>
                <a:gd name="connsiteX90" fmla="*/ 1572099 w 1880150"/>
                <a:gd name="connsiteY90" fmla="*/ 760201 h 1691232"/>
                <a:gd name="connsiteX91" fmla="*/ 1624486 w 1880150"/>
                <a:gd name="connsiteY91" fmla="*/ 693526 h 1691232"/>
                <a:gd name="connsiteX92" fmla="*/ 1614961 w 1880150"/>
                <a:gd name="connsiteY92" fmla="*/ 550651 h 1691232"/>
                <a:gd name="connsiteX93" fmla="*/ 1610199 w 1880150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79071"/>
                <a:gd name="connsiteY0" fmla="*/ 412538 h 1691232"/>
                <a:gd name="connsiteX1" fmla="*/ 1567336 w 1879071"/>
                <a:gd name="connsiteY1" fmla="*/ 369676 h 1691232"/>
                <a:gd name="connsiteX2" fmla="*/ 1467324 w 1879071"/>
                <a:gd name="connsiteY2" fmla="*/ 345863 h 1691232"/>
                <a:gd name="connsiteX3" fmla="*/ 1419699 w 1879071"/>
                <a:gd name="connsiteY3" fmla="*/ 317288 h 1691232"/>
                <a:gd name="connsiteX4" fmla="*/ 1367311 w 1879071"/>
                <a:gd name="connsiteY4" fmla="*/ 160126 h 1691232"/>
                <a:gd name="connsiteX5" fmla="*/ 1338736 w 1879071"/>
                <a:gd name="connsiteY5" fmla="*/ 12488 h 1691232"/>
                <a:gd name="connsiteX6" fmla="*/ 1267299 w 1879071"/>
                <a:gd name="connsiteY6" fmla="*/ 12488 h 1691232"/>
                <a:gd name="connsiteX7" fmla="*/ 1214911 w 1879071"/>
                <a:gd name="connsiteY7" fmla="*/ 50588 h 1691232"/>
                <a:gd name="connsiteX8" fmla="*/ 1214911 w 1879071"/>
                <a:gd name="connsiteY8" fmla="*/ 155363 h 1691232"/>
                <a:gd name="connsiteX9" fmla="*/ 1186336 w 1879071"/>
                <a:gd name="connsiteY9" fmla="*/ 183938 h 1691232"/>
                <a:gd name="connsiteX10" fmla="*/ 1176811 w 1879071"/>
                <a:gd name="connsiteY10" fmla="*/ 255376 h 1691232"/>
                <a:gd name="connsiteX11" fmla="*/ 1114899 w 1879071"/>
                <a:gd name="connsiteY11" fmla="*/ 298238 h 1691232"/>
                <a:gd name="connsiteX12" fmla="*/ 1005361 w 1879071"/>
                <a:gd name="connsiteY12" fmla="*/ 312526 h 1691232"/>
                <a:gd name="connsiteX13" fmla="*/ 962499 w 1879071"/>
                <a:gd name="connsiteY13" fmla="*/ 355388 h 1691232"/>
                <a:gd name="connsiteX14" fmla="*/ 838674 w 1879071"/>
                <a:gd name="connsiteY14" fmla="*/ 355388 h 1691232"/>
                <a:gd name="connsiteX15" fmla="*/ 781524 w 1879071"/>
                <a:gd name="connsiteY15" fmla="*/ 426826 h 1691232"/>
                <a:gd name="connsiteX16" fmla="*/ 781524 w 1879071"/>
                <a:gd name="connsiteY16" fmla="*/ 460163 h 1691232"/>
                <a:gd name="connsiteX17" fmla="*/ 743424 w 1879071"/>
                <a:gd name="connsiteY17" fmla="*/ 483976 h 1691232"/>
                <a:gd name="connsiteX18" fmla="*/ 671986 w 1879071"/>
                <a:gd name="connsiteY18" fmla="*/ 417301 h 1691232"/>
                <a:gd name="connsiteX19" fmla="*/ 519586 w 1879071"/>
                <a:gd name="connsiteY19" fmla="*/ 412538 h 1691232"/>
                <a:gd name="connsiteX20" fmla="*/ 457674 w 1879071"/>
                <a:gd name="connsiteY20" fmla="*/ 431588 h 1691232"/>
                <a:gd name="connsiteX21" fmla="*/ 419574 w 1879071"/>
                <a:gd name="connsiteY21" fmla="*/ 417301 h 1691232"/>
                <a:gd name="connsiteX22" fmla="*/ 400524 w 1879071"/>
                <a:gd name="connsiteY22" fmla="*/ 355388 h 1691232"/>
                <a:gd name="connsiteX23" fmla="*/ 333849 w 1879071"/>
                <a:gd name="connsiteY23" fmla="*/ 303001 h 1691232"/>
                <a:gd name="connsiteX24" fmla="*/ 286224 w 1879071"/>
                <a:gd name="connsiteY24" fmla="*/ 236326 h 1691232"/>
                <a:gd name="connsiteX25" fmla="*/ 143349 w 1879071"/>
                <a:gd name="connsiteY25" fmla="*/ 255376 h 1691232"/>
                <a:gd name="connsiteX26" fmla="*/ 124299 w 1879071"/>
                <a:gd name="connsiteY26" fmla="*/ 331576 h 1691232"/>
                <a:gd name="connsiteX27" fmla="*/ 110011 w 1879071"/>
                <a:gd name="connsiteY27" fmla="*/ 364913 h 1691232"/>
                <a:gd name="connsiteX28" fmla="*/ 133824 w 1879071"/>
                <a:gd name="connsiteY28" fmla="*/ 412538 h 1691232"/>
                <a:gd name="connsiteX29" fmla="*/ 81436 w 1879071"/>
                <a:gd name="connsiteY29" fmla="*/ 450638 h 1691232"/>
                <a:gd name="connsiteX30" fmla="*/ 33811 w 1879071"/>
                <a:gd name="connsiteY30" fmla="*/ 445876 h 1691232"/>
                <a:gd name="connsiteX31" fmla="*/ 33811 w 1879071"/>
                <a:gd name="connsiteY31" fmla="*/ 517313 h 1691232"/>
                <a:gd name="connsiteX32" fmla="*/ 474 w 1879071"/>
                <a:gd name="connsiteY32" fmla="*/ 622088 h 1691232"/>
                <a:gd name="connsiteX33" fmla="*/ 62386 w 1879071"/>
                <a:gd name="connsiteY33" fmla="*/ 698288 h 1691232"/>
                <a:gd name="connsiteX34" fmla="*/ 111977 w 1879071"/>
                <a:gd name="connsiteY34" fmla="*/ 678550 h 1691232"/>
                <a:gd name="connsiteX35" fmla="*/ 112334 w 1879071"/>
                <a:gd name="connsiteY35" fmla="*/ 748809 h 1691232"/>
                <a:gd name="connsiteX36" fmla="*/ 167161 w 1879071"/>
                <a:gd name="connsiteY36" fmla="*/ 779251 h 1691232"/>
                <a:gd name="connsiteX37" fmla="*/ 236159 w 1879071"/>
                <a:gd name="connsiteY37" fmla="*/ 789463 h 1691232"/>
                <a:gd name="connsiteX38" fmla="*/ 271462 w 1879071"/>
                <a:gd name="connsiteY38" fmla="*/ 845434 h 1691232"/>
                <a:gd name="connsiteX39" fmla="*/ 270869 w 1879071"/>
                <a:gd name="connsiteY39" fmla="*/ 890506 h 1691232"/>
                <a:gd name="connsiteX40" fmla="*/ 295393 w 1879071"/>
                <a:gd name="connsiteY40" fmla="*/ 929981 h 1691232"/>
                <a:gd name="connsiteX41" fmla="*/ 341051 w 1879071"/>
                <a:gd name="connsiteY41" fmla="*/ 968573 h 1691232"/>
                <a:gd name="connsiteX42" fmla="*/ 426184 w 1879071"/>
                <a:gd name="connsiteY42" fmla="*/ 1022825 h 1691232"/>
                <a:gd name="connsiteX43" fmla="*/ 461961 w 1879071"/>
                <a:gd name="connsiteY43" fmla="*/ 1093918 h 1691232"/>
                <a:gd name="connsiteX44" fmla="*/ 441064 w 1879071"/>
                <a:gd name="connsiteY44" fmla="*/ 1163491 h 1691232"/>
                <a:gd name="connsiteX45" fmla="*/ 519111 w 1879071"/>
                <a:gd name="connsiteY45" fmla="*/ 1219954 h 1691232"/>
                <a:gd name="connsiteX46" fmla="*/ 591143 w 1879071"/>
                <a:gd name="connsiteY46" fmla="*/ 1252948 h 1691232"/>
                <a:gd name="connsiteX47" fmla="*/ 571974 w 1879071"/>
                <a:gd name="connsiteY47" fmla="*/ 1312651 h 1691232"/>
                <a:gd name="connsiteX48" fmla="*/ 662461 w 1879071"/>
                <a:gd name="connsiteY48" fmla="*/ 1465051 h 1691232"/>
                <a:gd name="connsiteX49" fmla="*/ 755271 w 1879071"/>
                <a:gd name="connsiteY49" fmla="*/ 1538205 h 1691232"/>
                <a:gd name="connsiteX50" fmla="*/ 805336 w 1879071"/>
                <a:gd name="connsiteY50" fmla="*/ 1488863 h 1691232"/>
                <a:gd name="connsiteX51" fmla="*/ 869926 w 1879071"/>
                <a:gd name="connsiteY51" fmla="*/ 1516260 h 1691232"/>
                <a:gd name="connsiteX52" fmla="*/ 924399 w 1879071"/>
                <a:gd name="connsiteY52" fmla="*/ 1484101 h 1691232"/>
                <a:gd name="connsiteX53" fmla="*/ 941246 w 1879071"/>
                <a:gd name="connsiteY53" fmla="*/ 1441925 h 1691232"/>
                <a:gd name="connsiteX54" fmla="*/ 1005123 w 1879071"/>
                <a:gd name="connsiteY54" fmla="*/ 1528337 h 1691232"/>
                <a:gd name="connsiteX55" fmla="*/ 1050190 w 1879071"/>
                <a:gd name="connsiteY55" fmla="*/ 1599431 h 1691232"/>
                <a:gd name="connsiteX56" fmla="*/ 1120136 w 1879071"/>
                <a:gd name="connsiteY56" fmla="*/ 1690950 h 1691232"/>
                <a:gd name="connsiteX57" fmla="*/ 1151034 w 1879071"/>
                <a:gd name="connsiteY57" fmla="*/ 1627859 h 1691232"/>
                <a:gd name="connsiteX58" fmla="*/ 1181693 w 1879071"/>
                <a:gd name="connsiteY58" fmla="*/ 1621379 h 1691232"/>
                <a:gd name="connsiteX59" fmla="*/ 1224792 w 1879071"/>
                <a:gd name="connsiteY59" fmla="*/ 1650642 h 1691232"/>
                <a:gd name="connsiteX60" fmla="*/ 1258367 w 1879071"/>
                <a:gd name="connsiteY60" fmla="*/ 1609988 h 1691232"/>
                <a:gd name="connsiteX61" fmla="*/ 1277188 w 1879071"/>
                <a:gd name="connsiteY61" fmla="*/ 1614605 h 1691232"/>
                <a:gd name="connsiteX62" fmla="*/ 1311230 w 1879071"/>
                <a:gd name="connsiteY62" fmla="*/ 1681082 h 1691232"/>
                <a:gd name="connsiteX63" fmla="*/ 1367786 w 1879071"/>
                <a:gd name="connsiteY63" fmla="*/ 1657613 h 1691232"/>
                <a:gd name="connsiteX64" fmla="*/ 1419818 w 1879071"/>
                <a:gd name="connsiteY64" fmla="*/ 1601492 h 1691232"/>
                <a:gd name="connsiteX65" fmla="*/ 1470595 w 1879071"/>
                <a:gd name="connsiteY65" fmla="*/ 1584949 h 1691232"/>
                <a:gd name="connsiteX66" fmla="*/ 1488274 w 1879071"/>
                <a:gd name="connsiteY66" fmla="*/ 1640771 h 1691232"/>
                <a:gd name="connsiteX67" fmla="*/ 1558169 w 1879071"/>
                <a:gd name="connsiteY67" fmla="*/ 1615093 h 1691232"/>
                <a:gd name="connsiteX68" fmla="*/ 1588947 w 1879071"/>
                <a:gd name="connsiteY68" fmla="*/ 1528337 h 1691232"/>
                <a:gd name="connsiteX69" fmla="*/ 1670383 w 1879071"/>
                <a:gd name="connsiteY69" fmla="*/ 1438195 h 1691232"/>
                <a:gd name="connsiteX70" fmla="*/ 1714974 w 1879071"/>
                <a:gd name="connsiteY70" fmla="*/ 1407065 h 1691232"/>
                <a:gd name="connsiteX71" fmla="*/ 1743343 w 1879071"/>
                <a:gd name="connsiteY71" fmla="*/ 1410360 h 1691232"/>
                <a:gd name="connsiteX72" fmla="*/ 1820935 w 1879071"/>
                <a:gd name="connsiteY72" fmla="*/ 1399752 h 1691232"/>
                <a:gd name="connsiteX73" fmla="*/ 1816054 w 1879071"/>
                <a:gd name="connsiteY73" fmla="*/ 1453316 h 1691232"/>
                <a:gd name="connsiteX74" fmla="*/ 1874221 w 1879071"/>
                <a:gd name="connsiteY74" fmla="*/ 1476637 h 1691232"/>
                <a:gd name="connsiteX75" fmla="*/ 1875829 w 1879071"/>
                <a:gd name="connsiteY75" fmla="*/ 1454003 h 1691232"/>
                <a:gd name="connsiteX76" fmla="*/ 1875051 w 1879071"/>
                <a:gd name="connsiteY76" fmla="*/ 1393269 h 1691232"/>
                <a:gd name="connsiteX77" fmla="*/ 1853086 w 1879071"/>
                <a:gd name="connsiteY77" fmla="*/ 1303126 h 1691232"/>
                <a:gd name="connsiteX78" fmla="*/ 1853086 w 1879071"/>
                <a:gd name="connsiteY78" fmla="*/ 1245976 h 1691232"/>
                <a:gd name="connsiteX79" fmla="*/ 1810224 w 1879071"/>
                <a:gd name="connsiteY79" fmla="*/ 1236451 h 1691232"/>
                <a:gd name="connsiteX80" fmla="*/ 1734024 w 1879071"/>
                <a:gd name="connsiteY80" fmla="*/ 1155488 h 1691232"/>
                <a:gd name="connsiteX81" fmla="*/ 1695924 w 1879071"/>
                <a:gd name="connsiteY81" fmla="*/ 974513 h 1691232"/>
                <a:gd name="connsiteX82" fmla="*/ 1643536 w 1879071"/>
                <a:gd name="connsiteY82" fmla="*/ 941176 h 1691232"/>
                <a:gd name="connsiteX83" fmla="*/ 1605436 w 1879071"/>
                <a:gd name="connsiteY83" fmla="*/ 884026 h 1691232"/>
                <a:gd name="connsiteX84" fmla="*/ 1557811 w 1879071"/>
                <a:gd name="connsiteY84" fmla="*/ 836401 h 1691232"/>
                <a:gd name="connsiteX85" fmla="*/ 1505424 w 1879071"/>
                <a:gd name="connsiteY85" fmla="*/ 817351 h 1691232"/>
                <a:gd name="connsiteX86" fmla="*/ 1453036 w 1879071"/>
                <a:gd name="connsiteY86" fmla="*/ 812588 h 1691232"/>
                <a:gd name="connsiteX87" fmla="*/ 1510186 w 1879071"/>
                <a:gd name="connsiteY87" fmla="*/ 779251 h 1691232"/>
                <a:gd name="connsiteX88" fmla="*/ 1476849 w 1879071"/>
                <a:gd name="connsiteY88" fmla="*/ 745913 h 1691232"/>
                <a:gd name="connsiteX89" fmla="*/ 1481611 w 1879071"/>
                <a:gd name="connsiteY89" fmla="*/ 722101 h 1691232"/>
                <a:gd name="connsiteX90" fmla="*/ 1572099 w 1879071"/>
                <a:gd name="connsiteY90" fmla="*/ 760201 h 1691232"/>
                <a:gd name="connsiteX91" fmla="*/ 1624486 w 1879071"/>
                <a:gd name="connsiteY91" fmla="*/ 693526 h 1691232"/>
                <a:gd name="connsiteX92" fmla="*/ 1614961 w 1879071"/>
                <a:gd name="connsiteY92" fmla="*/ 550651 h 1691232"/>
                <a:gd name="connsiteX93" fmla="*/ 1610199 w 1879071"/>
                <a:gd name="connsiteY93" fmla="*/ 412538 h 1691232"/>
                <a:gd name="connsiteX0" fmla="*/ 1610199 w 1881147"/>
                <a:gd name="connsiteY0" fmla="*/ 412538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10199 w 1881147"/>
                <a:gd name="connsiteY93" fmla="*/ 412538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14961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19699 w 1881147"/>
                <a:gd name="connsiteY3" fmla="*/ 317288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67311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38736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325 h 1691232"/>
                <a:gd name="connsiteX1" fmla="*/ 1567336 w 1881147"/>
                <a:gd name="connsiteY1" fmla="*/ 369676 h 1691232"/>
                <a:gd name="connsiteX2" fmla="*/ 1467324 w 1881147"/>
                <a:gd name="connsiteY2" fmla="*/ 345863 h 1691232"/>
                <a:gd name="connsiteX3" fmla="*/ 1427021 w 1881147"/>
                <a:gd name="connsiteY3" fmla="*/ 289204 h 1691232"/>
                <a:gd name="connsiteX4" fmla="*/ 1379514 w 1881147"/>
                <a:gd name="connsiteY4" fmla="*/ 160126 h 1691232"/>
                <a:gd name="connsiteX5" fmla="*/ 1351753 w 1881147"/>
                <a:gd name="connsiteY5" fmla="*/ 12488 h 1691232"/>
                <a:gd name="connsiteX6" fmla="*/ 1267299 w 1881147"/>
                <a:gd name="connsiteY6" fmla="*/ 12488 h 1691232"/>
                <a:gd name="connsiteX7" fmla="*/ 1214911 w 1881147"/>
                <a:gd name="connsiteY7" fmla="*/ 50588 h 1691232"/>
                <a:gd name="connsiteX8" fmla="*/ 1214911 w 1881147"/>
                <a:gd name="connsiteY8" fmla="*/ 155363 h 1691232"/>
                <a:gd name="connsiteX9" fmla="*/ 1186336 w 1881147"/>
                <a:gd name="connsiteY9" fmla="*/ 183938 h 1691232"/>
                <a:gd name="connsiteX10" fmla="*/ 1176811 w 1881147"/>
                <a:gd name="connsiteY10" fmla="*/ 255376 h 1691232"/>
                <a:gd name="connsiteX11" fmla="*/ 1114899 w 1881147"/>
                <a:gd name="connsiteY11" fmla="*/ 298238 h 1691232"/>
                <a:gd name="connsiteX12" fmla="*/ 1005361 w 1881147"/>
                <a:gd name="connsiteY12" fmla="*/ 312526 h 1691232"/>
                <a:gd name="connsiteX13" fmla="*/ 962499 w 1881147"/>
                <a:gd name="connsiteY13" fmla="*/ 355388 h 1691232"/>
                <a:gd name="connsiteX14" fmla="*/ 838674 w 1881147"/>
                <a:gd name="connsiteY14" fmla="*/ 355388 h 1691232"/>
                <a:gd name="connsiteX15" fmla="*/ 781524 w 1881147"/>
                <a:gd name="connsiteY15" fmla="*/ 426826 h 1691232"/>
                <a:gd name="connsiteX16" fmla="*/ 781524 w 1881147"/>
                <a:gd name="connsiteY16" fmla="*/ 460163 h 1691232"/>
                <a:gd name="connsiteX17" fmla="*/ 743424 w 1881147"/>
                <a:gd name="connsiteY17" fmla="*/ 483976 h 1691232"/>
                <a:gd name="connsiteX18" fmla="*/ 671986 w 1881147"/>
                <a:gd name="connsiteY18" fmla="*/ 417301 h 1691232"/>
                <a:gd name="connsiteX19" fmla="*/ 519586 w 1881147"/>
                <a:gd name="connsiteY19" fmla="*/ 412538 h 1691232"/>
                <a:gd name="connsiteX20" fmla="*/ 457674 w 1881147"/>
                <a:gd name="connsiteY20" fmla="*/ 431588 h 1691232"/>
                <a:gd name="connsiteX21" fmla="*/ 419574 w 1881147"/>
                <a:gd name="connsiteY21" fmla="*/ 417301 h 1691232"/>
                <a:gd name="connsiteX22" fmla="*/ 400524 w 1881147"/>
                <a:gd name="connsiteY22" fmla="*/ 355388 h 1691232"/>
                <a:gd name="connsiteX23" fmla="*/ 333849 w 1881147"/>
                <a:gd name="connsiteY23" fmla="*/ 303001 h 1691232"/>
                <a:gd name="connsiteX24" fmla="*/ 286224 w 1881147"/>
                <a:gd name="connsiteY24" fmla="*/ 236326 h 1691232"/>
                <a:gd name="connsiteX25" fmla="*/ 143349 w 1881147"/>
                <a:gd name="connsiteY25" fmla="*/ 255376 h 1691232"/>
                <a:gd name="connsiteX26" fmla="*/ 124299 w 1881147"/>
                <a:gd name="connsiteY26" fmla="*/ 331576 h 1691232"/>
                <a:gd name="connsiteX27" fmla="*/ 110011 w 1881147"/>
                <a:gd name="connsiteY27" fmla="*/ 364913 h 1691232"/>
                <a:gd name="connsiteX28" fmla="*/ 133824 w 1881147"/>
                <a:gd name="connsiteY28" fmla="*/ 412538 h 1691232"/>
                <a:gd name="connsiteX29" fmla="*/ 81436 w 1881147"/>
                <a:gd name="connsiteY29" fmla="*/ 450638 h 1691232"/>
                <a:gd name="connsiteX30" fmla="*/ 33811 w 1881147"/>
                <a:gd name="connsiteY30" fmla="*/ 445876 h 1691232"/>
                <a:gd name="connsiteX31" fmla="*/ 33811 w 1881147"/>
                <a:gd name="connsiteY31" fmla="*/ 517313 h 1691232"/>
                <a:gd name="connsiteX32" fmla="*/ 474 w 1881147"/>
                <a:gd name="connsiteY32" fmla="*/ 622088 h 1691232"/>
                <a:gd name="connsiteX33" fmla="*/ 62386 w 1881147"/>
                <a:gd name="connsiteY33" fmla="*/ 698288 h 1691232"/>
                <a:gd name="connsiteX34" fmla="*/ 111977 w 1881147"/>
                <a:gd name="connsiteY34" fmla="*/ 678550 h 1691232"/>
                <a:gd name="connsiteX35" fmla="*/ 112334 w 1881147"/>
                <a:gd name="connsiteY35" fmla="*/ 748809 h 1691232"/>
                <a:gd name="connsiteX36" fmla="*/ 167161 w 1881147"/>
                <a:gd name="connsiteY36" fmla="*/ 779251 h 1691232"/>
                <a:gd name="connsiteX37" fmla="*/ 236159 w 1881147"/>
                <a:gd name="connsiteY37" fmla="*/ 789463 h 1691232"/>
                <a:gd name="connsiteX38" fmla="*/ 271462 w 1881147"/>
                <a:gd name="connsiteY38" fmla="*/ 845434 h 1691232"/>
                <a:gd name="connsiteX39" fmla="*/ 270869 w 1881147"/>
                <a:gd name="connsiteY39" fmla="*/ 890506 h 1691232"/>
                <a:gd name="connsiteX40" fmla="*/ 295393 w 1881147"/>
                <a:gd name="connsiteY40" fmla="*/ 929981 h 1691232"/>
                <a:gd name="connsiteX41" fmla="*/ 341051 w 1881147"/>
                <a:gd name="connsiteY41" fmla="*/ 968573 h 1691232"/>
                <a:gd name="connsiteX42" fmla="*/ 426184 w 1881147"/>
                <a:gd name="connsiteY42" fmla="*/ 1022825 h 1691232"/>
                <a:gd name="connsiteX43" fmla="*/ 461961 w 1881147"/>
                <a:gd name="connsiteY43" fmla="*/ 1093918 h 1691232"/>
                <a:gd name="connsiteX44" fmla="*/ 441064 w 1881147"/>
                <a:gd name="connsiteY44" fmla="*/ 1163491 h 1691232"/>
                <a:gd name="connsiteX45" fmla="*/ 519111 w 1881147"/>
                <a:gd name="connsiteY45" fmla="*/ 1219954 h 1691232"/>
                <a:gd name="connsiteX46" fmla="*/ 591143 w 1881147"/>
                <a:gd name="connsiteY46" fmla="*/ 1252948 h 1691232"/>
                <a:gd name="connsiteX47" fmla="*/ 571974 w 1881147"/>
                <a:gd name="connsiteY47" fmla="*/ 1312651 h 1691232"/>
                <a:gd name="connsiteX48" fmla="*/ 662461 w 1881147"/>
                <a:gd name="connsiteY48" fmla="*/ 1465051 h 1691232"/>
                <a:gd name="connsiteX49" fmla="*/ 755271 w 1881147"/>
                <a:gd name="connsiteY49" fmla="*/ 1538205 h 1691232"/>
                <a:gd name="connsiteX50" fmla="*/ 805336 w 1881147"/>
                <a:gd name="connsiteY50" fmla="*/ 1488863 h 1691232"/>
                <a:gd name="connsiteX51" fmla="*/ 869926 w 1881147"/>
                <a:gd name="connsiteY51" fmla="*/ 1516260 h 1691232"/>
                <a:gd name="connsiteX52" fmla="*/ 924399 w 1881147"/>
                <a:gd name="connsiteY52" fmla="*/ 1484101 h 1691232"/>
                <a:gd name="connsiteX53" fmla="*/ 941246 w 1881147"/>
                <a:gd name="connsiteY53" fmla="*/ 1441925 h 1691232"/>
                <a:gd name="connsiteX54" fmla="*/ 1005123 w 1881147"/>
                <a:gd name="connsiteY54" fmla="*/ 1528337 h 1691232"/>
                <a:gd name="connsiteX55" fmla="*/ 1050190 w 1881147"/>
                <a:gd name="connsiteY55" fmla="*/ 1599431 h 1691232"/>
                <a:gd name="connsiteX56" fmla="*/ 1120136 w 1881147"/>
                <a:gd name="connsiteY56" fmla="*/ 1690950 h 1691232"/>
                <a:gd name="connsiteX57" fmla="*/ 1151034 w 1881147"/>
                <a:gd name="connsiteY57" fmla="*/ 1627859 h 1691232"/>
                <a:gd name="connsiteX58" fmla="*/ 1181693 w 1881147"/>
                <a:gd name="connsiteY58" fmla="*/ 1621379 h 1691232"/>
                <a:gd name="connsiteX59" fmla="*/ 1224792 w 1881147"/>
                <a:gd name="connsiteY59" fmla="*/ 1650642 h 1691232"/>
                <a:gd name="connsiteX60" fmla="*/ 1258367 w 1881147"/>
                <a:gd name="connsiteY60" fmla="*/ 1609988 h 1691232"/>
                <a:gd name="connsiteX61" fmla="*/ 1277188 w 1881147"/>
                <a:gd name="connsiteY61" fmla="*/ 1614605 h 1691232"/>
                <a:gd name="connsiteX62" fmla="*/ 1311230 w 1881147"/>
                <a:gd name="connsiteY62" fmla="*/ 1681082 h 1691232"/>
                <a:gd name="connsiteX63" fmla="*/ 1367786 w 1881147"/>
                <a:gd name="connsiteY63" fmla="*/ 1657613 h 1691232"/>
                <a:gd name="connsiteX64" fmla="*/ 1419818 w 1881147"/>
                <a:gd name="connsiteY64" fmla="*/ 1601492 h 1691232"/>
                <a:gd name="connsiteX65" fmla="*/ 1470595 w 1881147"/>
                <a:gd name="connsiteY65" fmla="*/ 1584949 h 1691232"/>
                <a:gd name="connsiteX66" fmla="*/ 1488274 w 1881147"/>
                <a:gd name="connsiteY66" fmla="*/ 1640771 h 1691232"/>
                <a:gd name="connsiteX67" fmla="*/ 1558169 w 1881147"/>
                <a:gd name="connsiteY67" fmla="*/ 1615093 h 1691232"/>
                <a:gd name="connsiteX68" fmla="*/ 1588947 w 1881147"/>
                <a:gd name="connsiteY68" fmla="*/ 1528337 h 1691232"/>
                <a:gd name="connsiteX69" fmla="*/ 1670383 w 1881147"/>
                <a:gd name="connsiteY69" fmla="*/ 1438195 h 1691232"/>
                <a:gd name="connsiteX70" fmla="*/ 1714974 w 1881147"/>
                <a:gd name="connsiteY70" fmla="*/ 1407065 h 1691232"/>
                <a:gd name="connsiteX71" fmla="*/ 1743343 w 1881147"/>
                <a:gd name="connsiteY71" fmla="*/ 1410360 h 1691232"/>
                <a:gd name="connsiteX72" fmla="*/ 1820935 w 1881147"/>
                <a:gd name="connsiteY72" fmla="*/ 1399752 h 1691232"/>
                <a:gd name="connsiteX73" fmla="*/ 1816054 w 1881147"/>
                <a:gd name="connsiteY73" fmla="*/ 1453316 h 1691232"/>
                <a:gd name="connsiteX74" fmla="*/ 1874221 w 1881147"/>
                <a:gd name="connsiteY74" fmla="*/ 1476637 h 1691232"/>
                <a:gd name="connsiteX75" fmla="*/ 1875829 w 1881147"/>
                <a:gd name="connsiteY75" fmla="*/ 1454003 h 1691232"/>
                <a:gd name="connsiteX76" fmla="*/ 1875051 w 1881147"/>
                <a:gd name="connsiteY76" fmla="*/ 1393269 h 1691232"/>
                <a:gd name="connsiteX77" fmla="*/ 1853086 w 1881147"/>
                <a:gd name="connsiteY77" fmla="*/ 1303126 h 1691232"/>
                <a:gd name="connsiteX78" fmla="*/ 1853086 w 1881147"/>
                <a:gd name="connsiteY78" fmla="*/ 1245976 h 1691232"/>
                <a:gd name="connsiteX79" fmla="*/ 1810224 w 1881147"/>
                <a:gd name="connsiteY79" fmla="*/ 1236451 h 1691232"/>
                <a:gd name="connsiteX80" fmla="*/ 1734024 w 1881147"/>
                <a:gd name="connsiteY80" fmla="*/ 1155488 h 1691232"/>
                <a:gd name="connsiteX81" fmla="*/ 1695924 w 1881147"/>
                <a:gd name="connsiteY81" fmla="*/ 974513 h 1691232"/>
                <a:gd name="connsiteX82" fmla="*/ 1643536 w 1881147"/>
                <a:gd name="connsiteY82" fmla="*/ 941176 h 1691232"/>
                <a:gd name="connsiteX83" fmla="*/ 1605436 w 1881147"/>
                <a:gd name="connsiteY83" fmla="*/ 884026 h 1691232"/>
                <a:gd name="connsiteX84" fmla="*/ 1557811 w 1881147"/>
                <a:gd name="connsiteY84" fmla="*/ 836401 h 1691232"/>
                <a:gd name="connsiteX85" fmla="*/ 1505424 w 1881147"/>
                <a:gd name="connsiteY85" fmla="*/ 817351 h 1691232"/>
                <a:gd name="connsiteX86" fmla="*/ 1453036 w 1881147"/>
                <a:gd name="connsiteY86" fmla="*/ 812588 h 1691232"/>
                <a:gd name="connsiteX87" fmla="*/ 1510186 w 1881147"/>
                <a:gd name="connsiteY87" fmla="*/ 779251 h 1691232"/>
                <a:gd name="connsiteX88" fmla="*/ 1476849 w 1881147"/>
                <a:gd name="connsiteY88" fmla="*/ 745913 h 1691232"/>
                <a:gd name="connsiteX89" fmla="*/ 1481611 w 1881147"/>
                <a:gd name="connsiteY89" fmla="*/ 722101 h 1691232"/>
                <a:gd name="connsiteX90" fmla="*/ 1572099 w 1881147"/>
                <a:gd name="connsiteY90" fmla="*/ 760201 h 1691232"/>
                <a:gd name="connsiteX91" fmla="*/ 1624486 w 1881147"/>
                <a:gd name="connsiteY91" fmla="*/ 693526 h 1691232"/>
                <a:gd name="connsiteX92" fmla="*/ 1622283 w 1881147"/>
                <a:gd name="connsiteY92" fmla="*/ 550651 h 1691232"/>
                <a:gd name="connsiteX93" fmla="*/ 1639486 w 1881147"/>
                <a:gd name="connsiteY93" fmla="*/ 402325 h 1691232"/>
                <a:gd name="connsiteX0" fmla="*/ 1639486 w 1881147"/>
                <a:gd name="connsiteY0" fmla="*/ 402822 h 1691729"/>
                <a:gd name="connsiteX1" fmla="*/ 1567336 w 1881147"/>
                <a:gd name="connsiteY1" fmla="*/ 370173 h 1691729"/>
                <a:gd name="connsiteX2" fmla="*/ 1467324 w 1881147"/>
                <a:gd name="connsiteY2" fmla="*/ 346360 h 1691729"/>
                <a:gd name="connsiteX3" fmla="*/ 1427021 w 1881147"/>
                <a:gd name="connsiteY3" fmla="*/ 289701 h 1691729"/>
                <a:gd name="connsiteX4" fmla="*/ 1395785 w 1881147"/>
                <a:gd name="connsiteY4" fmla="*/ 167431 h 1691729"/>
                <a:gd name="connsiteX5" fmla="*/ 1351753 w 1881147"/>
                <a:gd name="connsiteY5" fmla="*/ 12985 h 1691729"/>
                <a:gd name="connsiteX6" fmla="*/ 1267299 w 1881147"/>
                <a:gd name="connsiteY6" fmla="*/ 12985 h 1691729"/>
                <a:gd name="connsiteX7" fmla="*/ 1214911 w 1881147"/>
                <a:gd name="connsiteY7" fmla="*/ 51085 h 1691729"/>
                <a:gd name="connsiteX8" fmla="*/ 1214911 w 1881147"/>
                <a:gd name="connsiteY8" fmla="*/ 155860 h 1691729"/>
                <a:gd name="connsiteX9" fmla="*/ 1186336 w 1881147"/>
                <a:gd name="connsiteY9" fmla="*/ 184435 h 1691729"/>
                <a:gd name="connsiteX10" fmla="*/ 1176811 w 1881147"/>
                <a:gd name="connsiteY10" fmla="*/ 255873 h 1691729"/>
                <a:gd name="connsiteX11" fmla="*/ 1114899 w 1881147"/>
                <a:gd name="connsiteY11" fmla="*/ 298735 h 1691729"/>
                <a:gd name="connsiteX12" fmla="*/ 1005361 w 1881147"/>
                <a:gd name="connsiteY12" fmla="*/ 313023 h 1691729"/>
                <a:gd name="connsiteX13" fmla="*/ 962499 w 1881147"/>
                <a:gd name="connsiteY13" fmla="*/ 355885 h 1691729"/>
                <a:gd name="connsiteX14" fmla="*/ 838674 w 1881147"/>
                <a:gd name="connsiteY14" fmla="*/ 355885 h 1691729"/>
                <a:gd name="connsiteX15" fmla="*/ 781524 w 1881147"/>
                <a:gd name="connsiteY15" fmla="*/ 427323 h 1691729"/>
                <a:gd name="connsiteX16" fmla="*/ 781524 w 1881147"/>
                <a:gd name="connsiteY16" fmla="*/ 460660 h 1691729"/>
                <a:gd name="connsiteX17" fmla="*/ 743424 w 1881147"/>
                <a:gd name="connsiteY17" fmla="*/ 484473 h 1691729"/>
                <a:gd name="connsiteX18" fmla="*/ 671986 w 1881147"/>
                <a:gd name="connsiteY18" fmla="*/ 417798 h 1691729"/>
                <a:gd name="connsiteX19" fmla="*/ 519586 w 1881147"/>
                <a:gd name="connsiteY19" fmla="*/ 413035 h 1691729"/>
                <a:gd name="connsiteX20" fmla="*/ 457674 w 1881147"/>
                <a:gd name="connsiteY20" fmla="*/ 432085 h 1691729"/>
                <a:gd name="connsiteX21" fmla="*/ 419574 w 1881147"/>
                <a:gd name="connsiteY21" fmla="*/ 417798 h 1691729"/>
                <a:gd name="connsiteX22" fmla="*/ 400524 w 1881147"/>
                <a:gd name="connsiteY22" fmla="*/ 355885 h 1691729"/>
                <a:gd name="connsiteX23" fmla="*/ 333849 w 1881147"/>
                <a:gd name="connsiteY23" fmla="*/ 303498 h 1691729"/>
                <a:gd name="connsiteX24" fmla="*/ 286224 w 1881147"/>
                <a:gd name="connsiteY24" fmla="*/ 236823 h 1691729"/>
                <a:gd name="connsiteX25" fmla="*/ 143349 w 1881147"/>
                <a:gd name="connsiteY25" fmla="*/ 255873 h 1691729"/>
                <a:gd name="connsiteX26" fmla="*/ 124299 w 1881147"/>
                <a:gd name="connsiteY26" fmla="*/ 332073 h 1691729"/>
                <a:gd name="connsiteX27" fmla="*/ 110011 w 1881147"/>
                <a:gd name="connsiteY27" fmla="*/ 365410 h 1691729"/>
                <a:gd name="connsiteX28" fmla="*/ 133824 w 1881147"/>
                <a:gd name="connsiteY28" fmla="*/ 413035 h 1691729"/>
                <a:gd name="connsiteX29" fmla="*/ 81436 w 1881147"/>
                <a:gd name="connsiteY29" fmla="*/ 451135 h 1691729"/>
                <a:gd name="connsiteX30" fmla="*/ 33811 w 1881147"/>
                <a:gd name="connsiteY30" fmla="*/ 446373 h 1691729"/>
                <a:gd name="connsiteX31" fmla="*/ 33811 w 1881147"/>
                <a:gd name="connsiteY31" fmla="*/ 517810 h 1691729"/>
                <a:gd name="connsiteX32" fmla="*/ 474 w 1881147"/>
                <a:gd name="connsiteY32" fmla="*/ 622585 h 1691729"/>
                <a:gd name="connsiteX33" fmla="*/ 62386 w 1881147"/>
                <a:gd name="connsiteY33" fmla="*/ 698785 h 1691729"/>
                <a:gd name="connsiteX34" fmla="*/ 111977 w 1881147"/>
                <a:gd name="connsiteY34" fmla="*/ 679047 h 1691729"/>
                <a:gd name="connsiteX35" fmla="*/ 112334 w 1881147"/>
                <a:gd name="connsiteY35" fmla="*/ 749306 h 1691729"/>
                <a:gd name="connsiteX36" fmla="*/ 167161 w 1881147"/>
                <a:gd name="connsiteY36" fmla="*/ 779748 h 1691729"/>
                <a:gd name="connsiteX37" fmla="*/ 236159 w 1881147"/>
                <a:gd name="connsiteY37" fmla="*/ 789960 h 1691729"/>
                <a:gd name="connsiteX38" fmla="*/ 271462 w 1881147"/>
                <a:gd name="connsiteY38" fmla="*/ 845931 h 1691729"/>
                <a:gd name="connsiteX39" fmla="*/ 270869 w 1881147"/>
                <a:gd name="connsiteY39" fmla="*/ 891003 h 1691729"/>
                <a:gd name="connsiteX40" fmla="*/ 295393 w 1881147"/>
                <a:gd name="connsiteY40" fmla="*/ 930478 h 1691729"/>
                <a:gd name="connsiteX41" fmla="*/ 341051 w 1881147"/>
                <a:gd name="connsiteY41" fmla="*/ 969070 h 1691729"/>
                <a:gd name="connsiteX42" fmla="*/ 426184 w 1881147"/>
                <a:gd name="connsiteY42" fmla="*/ 1023322 h 1691729"/>
                <a:gd name="connsiteX43" fmla="*/ 461961 w 1881147"/>
                <a:gd name="connsiteY43" fmla="*/ 1094415 h 1691729"/>
                <a:gd name="connsiteX44" fmla="*/ 441064 w 1881147"/>
                <a:gd name="connsiteY44" fmla="*/ 1163988 h 1691729"/>
                <a:gd name="connsiteX45" fmla="*/ 519111 w 1881147"/>
                <a:gd name="connsiteY45" fmla="*/ 1220451 h 1691729"/>
                <a:gd name="connsiteX46" fmla="*/ 591143 w 1881147"/>
                <a:gd name="connsiteY46" fmla="*/ 1253445 h 1691729"/>
                <a:gd name="connsiteX47" fmla="*/ 571974 w 1881147"/>
                <a:gd name="connsiteY47" fmla="*/ 1313148 h 1691729"/>
                <a:gd name="connsiteX48" fmla="*/ 662461 w 1881147"/>
                <a:gd name="connsiteY48" fmla="*/ 1465548 h 1691729"/>
                <a:gd name="connsiteX49" fmla="*/ 755271 w 1881147"/>
                <a:gd name="connsiteY49" fmla="*/ 1538702 h 1691729"/>
                <a:gd name="connsiteX50" fmla="*/ 805336 w 1881147"/>
                <a:gd name="connsiteY50" fmla="*/ 1489360 h 1691729"/>
                <a:gd name="connsiteX51" fmla="*/ 869926 w 1881147"/>
                <a:gd name="connsiteY51" fmla="*/ 1516757 h 1691729"/>
                <a:gd name="connsiteX52" fmla="*/ 924399 w 1881147"/>
                <a:gd name="connsiteY52" fmla="*/ 1484598 h 1691729"/>
                <a:gd name="connsiteX53" fmla="*/ 941246 w 1881147"/>
                <a:gd name="connsiteY53" fmla="*/ 1442422 h 1691729"/>
                <a:gd name="connsiteX54" fmla="*/ 1005123 w 1881147"/>
                <a:gd name="connsiteY54" fmla="*/ 1528834 h 1691729"/>
                <a:gd name="connsiteX55" fmla="*/ 1050190 w 1881147"/>
                <a:gd name="connsiteY55" fmla="*/ 1599928 h 1691729"/>
                <a:gd name="connsiteX56" fmla="*/ 1120136 w 1881147"/>
                <a:gd name="connsiteY56" fmla="*/ 1691447 h 1691729"/>
                <a:gd name="connsiteX57" fmla="*/ 1151034 w 1881147"/>
                <a:gd name="connsiteY57" fmla="*/ 1628356 h 1691729"/>
                <a:gd name="connsiteX58" fmla="*/ 1181693 w 1881147"/>
                <a:gd name="connsiteY58" fmla="*/ 1621876 h 1691729"/>
                <a:gd name="connsiteX59" fmla="*/ 1224792 w 1881147"/>
                <a:gd name="connsiteY59" fmla="*/ 1651139 h 1691729"/>
                <a:gd name="connsiteX60" fmla="*/ 1258367 w 1881147"/>
                <a:gd name="connsiteY60" fmla="*/ 1610485 h 1691729"/>
                <a:gd name="connsiteX61" fmla="*/ 1277188 w 1881147"/>
                <a:gd name="connsiteY61" fmla="*/ 1615102 h 1691729"/>
                <a:gd name="connsiteX62" fmla="*/ 1311230 w 1881147"/>
                <a:gd name="connsiteY62" fmla="*/ 1681579 h 1691729"/>
                <a:gd name="connsiteX63" fmla="*/ 1367786 w 1881147"/>
                <a:gd name="connsiteY63" fmla="*/ 1658110 h 1691729"/>
                <a:gd name="connsiteX64" fmla="*/ 1419818 w 1881147"/>
                <a:gd name="connsiteY64" fmla="*/ 1601989 h 1691729"/>
                <a:gd name="connsiteX65" fmla="*/ 1470595 w 1881147"/>
                <a:gd name="connsiteY65" fmla="*/ 1585446 h 1691729"/>
                <a:gd name="connsiteX66" fmla="*/ 1488274 w 1881147"/>
                <a:gd name="connsiteY66" fmla="*/ 1641268 h 1691729"/>
                <a:gd name="connsiteX67" fmla="*/ 1558169 w 1881147"/>
                <a:gd name="connsiteY67" fmla="*/ 1615590 h 1691729"/>
                <a:gd name="connsiteX68" fmla="*/ 1588947 w 1881147"/>
                <a:gd name="connsiteY68" fmla="*/ 1528834 h 1691729"/>
                <a:gd name="connsiteX69" fmla="*/ 1670383 w 1881147"/>
                <a:gd name="connsiteY69" fmla="*/ 1438692 h 1691729"/>
                <a:gd name="connsiteX70" fmla="*/ 1714974 w 1881147"/>
                <a:gd name="connsiteY70" fmla="*/ 1407562 h 1691729"/>
                <a:gd name="connsiteX71" fmla="*/ 1743343 w 1881147"/>
                <a:gd name="connsiteY71" fmla="*/ 1410857 h 1691729"/>
                <a:gd name="connsiteX72" fmla="*/ 1820935 w 1881147"/>
                <a:gd name="connsiteY72" fmla="*/ 1400249 h 1691729"/>
                <a:gd name="connsiteX73" fmla="*/ 1816054 w 1881147"/>
                <a:gd name="connsiteY73" fmla="*/ 1453813 h 1691729"/>
                <a:gd name="connsiteX74" fmla="*/ 1874221 w 1881147"/>
                <a:gd name="connsiteY74" fmla="*/ 1477134 h 1691729"/>
                <a:gd name="connsiteX75" fmla="*/ 1875829 w 1881147"/>
                <a:gd name="connsiteY75" fmla="*/ 1454500 h 1691729"/>
                <a:gd name="connsiteX76" fmla="*/ 1875051 w 1881147"/>
                <a:gd name="connsiteY76" fmla="*/ 1393766 h 1691729"/>
                <a:gd name="connsiteX77" fmla="*/ 1853086 w 1881147"/>
                <a:gd name="connsiteY77" fmla="*/ 1303623 h 1691729"/>
                <a:gd name="connsiteX78" fmla="*/ 1853086 w 1881147"/>
                <a:gd name="connsiteY78" fmla="*/ 1246473 h 1691729"/>
                <a:gd name="connsiteX79" fmla="*/ 1810224 w 1881147"/>
                <a:gd name="connsiteY79" fmla="*/ 1236948 h 1691729"/>
                <a:gd name="connsiteX80" fmla="*/ 1734024 w 1881147"/>
                <a:gd name="connsiteY80" fmla="*/ 1155985 h 1691729"/>
                <a:gd name="connsiteX81" fmla="*/ 1695924 w 1881147"/>
                <a:gd name="connsiteY81" fmla="*/ 975010 h 1691729"/>
                <a:gd name="connsiteX82" fmla="*/ 1643536 w 1881147"/>
                <a:gd name="connsiteY82" fmla="*/ 941673 h 1691729"/>
                <a:gd name="connsiteX83" fmla="*/ 1605436 w 1881147"/>
                <a:gd name="connsiteY83" fmla="*/ 884523 h 1691729"/>
                <a:gd name="connsiteX84" fmla="*/ 1557811 w 1881147"/>
                <a:gd name="connsiteY84" fmla="*/ 836898 h 1691729"/>
                <a:gd name="connsiteX85" fmla="*/ 1505424 w 1881147"/>
                <a:gd name="connsiteY85" fmla="*/ 817848 h 1691729"/>
                <a:gd name="connsiteX86" fmla="*/ 1453036 w 1881147"/>
                <a:gd name="connsiteY86" fmla="*/ 813085 h 1691729"/>
                <a:gd name="connsiteX87" fmla="*/ 1510186 w 1881147"/>
                <a:gd name="connsiteY87" fmla="*/ 779748 h 1691729"/>
                <a:gd name="connsiteX88" fmla="*/ 1476849 w 1881147"/>
                <a:gd name="connsiteY88" fmla="*/ 746410 h 1691729"/>
                <a:gd name="connsiteX89" fmla="*/ 1481611 w 1881147"/>
                <a:gd name="connsiteY89" fmla="*/ 722598 h 1691729"/>
                <a:gd name="connsiteX90" fmla="*/ 1572099 w 1881147"/>
                <a:gd name="connsiteY90" fmla="*/ 760698 h 1691729"/>
                <a:gd name="connsiteX91" fmla="*/ 1624486 w 1881147"/>
                <a:gd name="connsiteY91" fmla="*/ 694023 h 1691729"/>
                <a:gd name="connsiteX92" fmla="*/ 1622283 w 1881147"/>
                <a:gd name="connsiteY92" fmla="*/ 551148 h 1691729"/>
                <a:gd name="connsiteX93" fmla="*/ 1639486 w 1881147"/>
                <a:gd name="connsiteY93" fmla="*/ 402822 h 1691729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67324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36784 w 1881147"/>
                <a:gd name="connsiteY3" fmla="*/ 279489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2823 h 1691730"/>
                <a:gd name="connsiteX1" fmla="*/ 1567336 w 1881147"/>
                <a:gd name="connsiteY1" fmla="*/ 370174 h 1691730"/>
                <a:gd name="connsiteX2" fmla="*/ 1477087 w 1881147"/>
                <a:gd name="connsiteY2" fmla="*/ 346361 h 1691730"/>
                <a:gd name="connsiteX3" fmla="*/ 1423767 w 1881147"/>
                <a:gd name="connsiteY3" fmla="*/ 269277 h 1691730"/>
                <a:gd name="connsiteX4" fmla="*/ 1395785 w 1881147"/>
                <a:gd name="connsiteY4" fmla="*/ 167432 h 1691730"/>
                <a:gd name="connsiteX5" fmla="*/ 1351753 w 1881147"/>
                <a:gd name="connsiteY5" fmla="*/ 12986 h 1691730"/>
                <a:gd name="connsiteX6" fmla="*/ 1267299 w 1881147"/>
                <a:gd name="connsiteY6" fmla="*/ 12986 h 1691730"/>
                <a:gd name="connsiteX7" fmla="*/ 1214911 w 1881147"/>
                <a:gd name="connsiteY7" fmla="*/ 51086 h 1691730"/>
                <a:gd name="connsiteX8" fmla="*/ 1214911 w 1881147"/>
                <a:gd name="connsiteY8" fmla="*/ 155861 h 1691730"/>
                <a:gd name="connsiteX9" fmla="*/ 1186336 w 1881147"/>
                <a:gd name="connsiteY9" fmla="*/ 184436 h 1691730"/>
                <a:gd name="connsiteX10" fmla="*/ 1176811 w 1881147"/>
                <a:gd name="connsiteY10" fmla="*/ 255874 h 1691730"/>
                <a:gd name="connsiteX11" fmla="*/ 1114899 w 1881147"/>
                <a:gd name="connsiteY11" fmla="*/ 298736 h 1691730"/>
                <a:gd name="connsiteX12" fmla="*/ 1005361 w 1881147"/>
                <a:gd name="connsiteY12" fmla="*/ 313024 h 1691730"/>
                <a:gd name="connsiteX13" fmla="*/ 962499 w 1881147"/>
                <a:gd name="connsiteY13" fmla="*/ 355886 h 1691730"/>
                <a:gd name="connsiteX14" fmla="*/ 838674 w 1881147"/>
                <a:gd name="connsiteY14" fmla="*/ 355886 h 1691730"/>
                <a:gd name="connsiteX15" fmla="*/ 781524 w 1881147"/>
                <a:gd name="connsiteY15" fmla="*/ 427324 h 1691730"/>
                <a:gd name="connsiteX16" fmla="*/ 781524 w 1881147"/>
                <a:gd name="connsiteY16" fmla="*/ 460661 h 1691730"/>
                <a:gd name="connsiteX17" fmla="*/ 743424 w 1881147"/>
                <a:gd name="connsiteY17" fmla="*/ 484474 h 1691730"/>
                <a:gd name="connsiteX18" fmla="*/ 671986 w 1881147"/>
                <a:gd name="connsiteY18" fmla="*/ 417799 h 1691730"/>
                <a:gd name="connsiteX19" fmla="*/ 519586 w 1881147"/>
                <a:gd name="connsiteY19" fmla="*/ 413036 h 1691730"/>
                <a:gd name="connsiteX20" fmla="*/ 457674 w 1881147"/>
                <a:gd name="connsiteY20" fmla="*/ 432086 h 1691730"/>
                <a:gd name="connsiteX21" fmla="*/ 419574 w 1881147"/>
                <a:gd name="connsiteY21" fmla="*/ 417799 h 1691730"/>
                <a:gd name="connsiteX22" fmla="*/ 400524 w 1881147"/>
                <a:gd name="connsiteY22" fmla="*/ 355886 h 1691730"/>
                <a:gd name="connsiteX23" fmla="*/ 333849 w 1881147"/>
                <a:gd name="connsiteY23" fmla="*/ 303499 h 1691730"/>
                <a:gd name="connsiteX24" fmla="*/ 286224 w 1881147"/>
                <a:gd name="connsiteY24" fmla="*/ 236824 h 1691730"/>
                <a:gd name="connsiteX25" fmla="*/ 143349 w 1881147"/>
                <a:gd name="connsiteY25" fmla="*/ 255874 h 1691730"/>
                <a:gd name="connsiteX26" fmla="*/ 124299 w 1881147"/>
                <a:gd name="connsiteY26" fmla="*/ 332074 h 1691730"/>
                <a:gd name="connsiteX27" fmla="*/ 110011 w 1881147"/>
                <a:gd name="connsiteY27" fmla="*/ 365411 h 1691730"/>
                <a:gd name="connsiteX28" fmla="*/ 133824 w 1881147"/>
                <a:gd name="connsiteY28" fmla="*/ 413036 h 1691730"/>
                <a:gd name="connsiteX29" fmla="*/ 81436 w 1881147"/>
                <a:gd name="connsiteY29" fmla="*/ 451136 h 1691730"/>
                <a:gd name="connsiteX30" fmla="*/ 33811 w 1881147"/>
                <a:gd name="connsiteY30" fmla="*/ 446374 h 1691730"/>
                <a:gd name="connsiteX31" fmla="*/ 33811 w 1881147"/>
                <a:gd name="connsiteY31" fmla="*/ 517811 h 1691730"/>
                <a:gd name="connsiteX32" fmla="*/ 474 w 1881147"/>
                <a:gd name="connsiteY32" fmla="*/ 622586 h 1691730"/>
                <a:gd name="connsiteX33" fmla="*/ 62386 w 1881147"/>
                <a:gd name="connsiteY33" fmla="*/ 698786 h 1691730"/>
                <a:gd name="connsiteX34" fmla="*/ 111977 w 1881147"/>
                <a:gd name="connsiteY34" fmla="*/ 679048 h 1691730"/>
                <a:gd name="connsiteX35" fmla="*/ 112334 w 1881147"/>
                <a:gd name="connsiteY35" fmla="*/ 749307 h 1691730"/>
                <a:gd name="connsiteX36" fmla="*/ 167161 w 1881147"/>
                <a:gd name="connsiteY36" fmla="*/ 779749 h 1691730"/>
                <a:gd name="connsiteX37" fmla="*/ 236159 w 1881147"/>
                <a:gd name="connsiteY37" fmla="*/ 789961 h 1691730"/>
                <a:gd name="connsiteX38" fmla="*/ 271462 w 1881147"/>
                <a:gd name="connsiteY38" fmla="*/ 845932 h 1691730"/>
                <a:gd name="connsiteX39" fmla="*/ 270869 w 1881147"/>
                <a:gd name="connsiteY39" fmla="*/ 891004 h 1691730"/>
                <a:gd name="connsiteX40" fmla="*/ 295393 w 1881147"/>
                <a:gd name="connsiteY40" fmla="*/ 930479 h 1691730"/>
                <a:gd name="connsiteX41" fmla="*/ 341051 w 1881147"/>
                <a:gd name="connsiteY41" fmla="*/ 969071 h 1691730"/>
                <a:gd name="connsiteX42" fmla="*/ 426184 w 1881147"/>
                <a:gd name="connsiteY42" fmla="*/ 1023323 h 1691730"/>
                <a:gd name="connsiteX43" fmla="*/ 461961 w 1881147"/>
                <a:gd name="connsiteY43" fmla="*/ 1094416 h 1691730"/>
                <a:gd name="connsiteX44" fmla="*/ 441064 w 1881147"/>
                <a:gd name="connsiteY44" fmla="*/ 1163989 h 1691730"/>
                <a:gd name="connsiteX45" fmla="*/ 519111 w 1881147"/>
                <a:gd name="connsiteY45" fmla="*/ 1220452 h 1691730"/>
                <a:gd name="connsiteX46" fmla="*/ 591143 w 1881147"/>
                <a:gd name="connsiteY46" fmla="*/ 1253446 h 1691730"/>
                <a:gd name="connsiteX47" fmla="*/ 571974 w 1881147"/>
                <a:gd name="connsiteY47" fmla="*/ 1313149 h 1691730"/>
                <a:gd name="connsiteX48" fmla="*/ 662461 w 1881147"/>
                <a:gd name="connsiteY48" fmla="*/ 1465549 h 1691730"/>
                <a:gd name="connsiteX49" fmla="*/ 755271 w 1881147"/>
                <a:gd name="connsiteY49" fmla="*/ 1538703 h 1691730"/>
                <a:gd name="connsiteX50" fmla="*/ 805336 w 1881147"/>
                <a:gd name="connsiteY50" fmla="*/ 1489361 h 1691730"/>
                <a:gd name="connsiteX51" fmla="*/ 869926 w 1881147"/>
                <a:gd name="connsiteY51" fmla="*/ 1516758 h 1691730"/>
                <a:gd name="connsiteX52" fmla="*/ 924399 w 1881147"/>
                <a:gd name="connsiteY52" fmla="*/ 1484599 h 1691730"/>
                <a:gd name="connsiteX53" fmla="*/ 941246 w 1881147"/>
                <a:gd name="connsiteY53" fmla="*/ 1442423 h 1691730"/>
                <a:gd name="connsiteX54" fmla="*/ 1005123 w 1881147"/>
                <a:gd name="connsiteY54" fmla="*/ 1528835 h 1691730"/>
                <a:gd name="connsiteX55" fmla="*/ 1050190 w 1881147"/>
                <a:gd name="connsiteY55" fmla="*/ 1599929 h 1691730"/>
                <a:gd name="connsiteX56" fmla="*/ 1120136 w 1881147"/>
                <a:gd name="connsiteY56" fmla="*/ 1691448 h 1691730"/>
                <a:gd name="connsiteX57" fmla="*/ 1151034 w 1881147"/>
                <a:gd name="connsiteY57" fmla="*/ 1628357 h 1691730"/>
                <a:gd name="connsiteX58" fmla="*/ 1181693 w 1881147"/>
                <a:gd name="connsiteY58" fmla="*/ 1621877 h 1691730"/>
                <a:gd name="connsiteX59" fmla="*/ 1224792 w 1881147"/>
                <a:gd name="connsiteY59" fmla="*/ 1651140 h 1691730"/>
                <a:gd name="connsiteX60" fmla="*/ 1258367 w 1881147"/>
                <a:gd name="connsiteY60" fmla="*/ 1610486 h 1691730"/>
                <a:gd name="connsiteX61" fmla="*/ 1277188 w 1881147"/>
                <a:gd name="connsiteY61" fmla="*/ 1615103 h 1691730"/>
                <a:gd name="connsiteX62" fmla="*/ 1311230 w 1881147"/>
                <a:gd name="connsiteY62" fmla="*/ 1681580 h 1691730"/>
                <a:gd name="connsiteX63" fmla="*/ 1367786 w 1881147"/>
                <a:gd name="connsiteY63" fmla="*/ 1658111 h 1691730"/>
                <a:gd name="connsiteX64" fmla="*/ 1419818 w 1881147"/>
                <a:gd name="connsiteY64" fmla="*/ 1601990 h 1691730"/>
                <a:gd name="connsiteX65" fmla="*/ 1470595 w 1881147"/>
                <a:gd name="connsiteY65" fmla="*/ 1585447 h 1691730"/>
                <a:gd name="connsiteX66" fmla="*/ 1488274 w 1881147"/>
                <a:gd name="connsiteY66" fmla="*/ 1641269 h 1691730"/>
                <a:gd name="connsiteX67" fmla="*/ 1558169 w 1881147"/>
                <a:gd name="connsiteY67" fmla="*/ 1615591 h 1691730"/>
                <a:gd name="connsiteX68" fmla="*/ 1588947 w 1881147"/>
                <a:gd name="connsiteY68" fmla="*/ 1528835 h 1691730"/>
                <a:gd name="connsiteX69" fmla="*/ 1670383 w 1881147"/>
                <a:gd name="connsiteY69" fmla="*/ 1438693 h 1691730"/>
                <a:gd name="connsiteX70" fmla="*/ 1714974 w 1881147"/>
                <a:gd name="connsiteY70" fmla="*/ 1407563 h 1691730"/>
                <a:gd name="connsiteX71" fmla="*/ 1743343 w 1881147"/>
                <a:gd name="connsiteY71" fmla="*/ 1410858 h 1691730"/>
                <a:gd name="connsiteX72" fmla="*/ 1820935 w 1881147"/>
                <a:gd name="connsiteY72" fmla="*/ 1400250 h 1691730"/>
                <a:gd name="connsiteX73" fmla="*/ 1816054 w 1881147"/>
                <a:gd name="connsiteY73" fmla="*/ 1453814 h 1691730"/>
                <a:gd name="connsiteX74" fmla="*/ 1874221 w 1881147"/>
                <a:gd name="connsiteY74" fmla="*/ 1477135 h 1691730"/>
                <a:gd name="connsiteX75" fmla="*/ 1875829 w 1881147"/>
                <a:gd name="connsiteY75" fmla="*/ 1454501 h 1691730"/>
                <a:gd name="connsiteX76" fmla="*/ 1875051 w 1881147"/>
                <a:gd name="connsiteY76" fmla="*/ 1393767 h 1691730"/>
                <a:gd name="connsiteX77" fmla="*/ 1853086 w 1881147"/>
                <a:gd name="connsiteY77" fmla="*/ 1303624 h 1691730"/>
                <a:gd name="connsiteX78" fmla="*/ 1853086 w 1881147"/>
                <a:gd name="connsiteY78" fmla="*/ 1246474 h 1691730"/>
                <a:gd name="connsiteX79" fmla="*/ 1810224 w 1881147"/>
                <a:gd name="connsiteY79" fmla="*/ 1236949 h 1691730"/>
                <a:gd name="connsiteX80" fmla="*/ 1734024 w 1881147"/>
                <a:gd name="connsiteY80" fmla="*/ 1155986 h 1691730"/>
                <a:gd name="connsiteX81" fmla="*/ 1695924 w 1881147"/>
                <a:gd name="connsiteY81" fmla="*/ 975011 h 1691730"/>
                <a:gd name="connsiteX82" fmla="*/ 1643536 w 1881147"/>
                <a:gd name="connsiteY82" fmla="*/ 941674 h 1691730"/>
                <a:gd name="connsiteX83" fmla="*/ 1605436 w 1881147"/>
                <a:gd name="connsiteY83" fmla="*/ 884524 h 1691730"/>
                <a:gd name="connsiteX84" fmla="*/ 1557811 w 1881147"/>
                <a:gd name="connsiteY84" fmla="*/ 836899 h 1691730"/>
                <a:gd name="connsiteX85" fmla="*/ 1505424 w 1881147"/>
                <a:gd name="connsiteY85" fmla="*/ 817849 h 1691730"/>
                <a:gd name="connsiteX86" fmla="*/ 1453036 w 1881147"/>
                <a:gd name="connsiteY86" fmla="*/ 813086 h 1691730"/>
                <a:gd name="connsiteX87" fmla="*/ 1510186 w 1881147"/>
                <a:gd name="connsiteY87" fmla="*/ 779749 h 1691730"/>
                <a:gd name="connsiteX88" fmla="*/ 1476849 w 1881147"/>
                <a:gd name="connsiteY88" fmla="*/ 746411 h 1691730"/>
                <a:gd name="connsiteX89" fmla="*/ 1481611 w 1881147"/>
                <a:gd name="connsiteY89" fmla="*/ 722599 h 1691730"/>
                <a:gd name="connsiteX90" fmla="*/ 1572099 w 1881147"/>
                <a:gd name="connsiteY90" fmla="*/ 760699 h 1691730"/>
                <a:gd name="connsiteX91" fmla="*/ 1624486 w 1881147"/>
                <a:gd name="connsiteY91" fmla="*/ 694024 h 1691730"/>
                <a:gd name="connsiteX92" fmla="*/ 1622283 w 1881147"/>
                <a:gd name="connsiteY92" fmla="*/ 551149 h 1691730"/>
                <a:gd name="connsiteX93" fmla="*/ 1639486 w 1881147"/>
                <a:gd name="connsiteY93" fmla="*/ 402823 h 1691730"/>
                <a:gd name="connsiteX0" fmla="*/ 1639486 w 1881147"/>
                <a:gd name="connsiteY0" fmla="*/ 405145 h 1694052"/>
                <a:gd name="connsiteX1" fmla="*/ 1567336 w 1881147"/>
                <a:gd name="connsiteY1" fmla="*/ 372496 h 1694052"/>
                <a:gd name="connsiteX2" fmla="*/ 1477087 w 1881147"/>
                <a:gd name="connsiteY2" fmla="*/ 348683 h 1694052"/>
                <a:gd name="connsiteX3" fmla="*/ 1423767 w 1881147"/>
                <a:gd name="connsiteY3" fmla="*/ 271599 h 1694052"/>
                <a:gd name="connsiteX4" fmla="*/ 1395785 w 1881147"/>
                <a:gd name="connsiteY4" fmla="*/ 169754 h 1694052"/>
                <a:gd name="connsiteX5" fmla="*/ 1351753 w 1881147"/>
                <a:gd name="connsiteY5" fmla="*/ 15308 h 1694052"/>
                <a:gd name="connsiteX6" fmla="*/ 1267299 w 1881147"/>
                <a:gd name="connsiteY6" fmla="*/ 15308 h 1694052"/>
                <a:gd name="connsiteX7" fmla="*/ 1247452 w 1881147"/>
                <a:gd name="connsiteY7" fmla="*/ 101065 h 1694052"/>
                <a:gd name="connsiteX8" fmla="*/ 1214911 w 1881147"/>
                <a:gd name="connsiteY8" fmla="*/ 158183 h 1694052"/>
                <a:gd name="connsiteX9" fmla="*/ 1186336 w 1881147"/>
                <a:gd name="connsiteY9" fmla="*/ 186758 h 1694052"/>
                <a:gd name="connsiteX10" fmla="*/ 1176811 w 1881147"/>
                <a:gd name="connsiteY10" fmla="*/ 258196 h 1694052"/>
                <a:gd name="connsiteX11" fmla="*/ 1114899 w 1881147"/>
                <a:gd name="connsiteY11" fmla="*/ 301058 h 1694052"/>
                <a:gd name="connsiteX12" fmla="*/ 1005361 w 1881147"/>
                <a:gd name="connsiteY12" fmla="*/ 315346 h 1694052"/>
                <a:gd name="connsiteX13" fmla="*/ 962499 w 1881147"/>
                <a:gd name="connsiteY13" fmla="*/ 358208 h 1694052"/>
                <a:gd name="connsiteX14" fmla="*/ 838674 w 1881147"/>
                <a:gd name="connsiteY14" fmla="*/ 358208 h 1694052"/>
                <a:gd name="connsiteX15" fmla="*/ 781524 w 1881147"/>
                <a:gd name="connsiteY15" fmla="*/ 429646 h 1694052"/>
                <a:gd name="connsiteX16" fmla="*/ 781524 w 1881147"/>
                <a:gd name="connsiteY16" fmla="*/ 462983 h 1694052"/>
                <a:gd name="connsiteX17" fmla="*/ 743424 w 1881147"/>
                <a:gd name="connsiteY17" fmla="*/ 486796 h 1694052"/>
                <a:gd name="connsiteX18" fmla="*/ 671986 w 1881147"/>
                <a:gd name="connsiteY18" fmla="*/ 420121 h 1694052"/>
                <a:gd name="connsiteX19" fmla="*/ 519586 w 1881147"/>
                <a:gd name="connsiteY19" fmla="*/ 415358 h 1694052"/>
                <a:gd name="connsiteX20" fmla="*/ 457674 w 1881147"/>
                <a:gd name="connsiteY20" fmla="*/ 434408 h 1694052"/>
                <a:gd name="connsiteX21" fmla="*/ 419574 w 1881147"/>
                <a:gd name="connsiteY21" fmla="*/ 420121 h 1694052"/>
                <a:gd name="connsiteX22" fmla="*/ 400524 w 1881147"/>
                <a:gd name="connsiteY22" fmla="*/ 358208 h 1694052"/>
                <a:gd name="connsiteX23" fmla="*/ 333849 w 1881147"/>
                <a:gd name="connsiteY23" fmla="*/ 305821 h 1694052"/>
                <a:gd name="connsiteX24" fmla="*/ 286224 w 1881147"/>
                <a:gd name="connsiteY24" fmla="*/ 239146 h 1694052"/>
                <a:gd name="connsiteX25" fmla="*/ 143349 w 1881147"/>
                <a:gd name="connsiteY25" fmla="*/ 258196 h 1694052"/>
                <a:gd name="connsiteX26" fmla="*/ 124299 w 1881147"/>
                <a:gd name="connsiteY26" fmla="*/ 334396 h 1694052"/>
                <a:gd name="connsiteX27" fmla="*/ 110011 w 1881147"/>
                <a:gd name="connsiteY27" fmla="*/ 367733 h 1694052"/>
                <a:gd name="connsiteX28" fmla="*/ 133824 w 1881147"/>
                <a:gd name="connsiteY28" fmla="*/ 415358 h 1694052"/>
                <a:gd name="connsiteX29" fmla="*/ 81436 w 1881147"/>
                <a:gd name="connsiteY29" fmla="*/ 453458 h 1694052"/>
                <a:gd name="connsiteX30" fmla="*/ 33811 w 1881147"/>
                <a:gd name="connsiteY30" fmla="*/ 448696 h 1694052"/>
                <a:gd name="connsiteX31" fmla="*/ 33811 w 1881147"/>
                <a:gd name="connsiteY31" fmla="*/ 520133 h 1694052"/>
                <a:gd name="connsiteX32" fmla="*/ 474 w 1881147"/>
                <a:gd name="connsiteY32" fmla="*/ 624908 h 1694052"/>
                <a:gd name="connsiteX33" fmla="*/ 62386 w 1881147"/>
                <a:gd name="connsiteY33" fmla="*/ 701108 h 1694052"/>
                <a:gd name="connsiteX34" fmla="*/ 111977 w 1881147"/>
                <a:gd name="connsiteY34" fmla="*/ 681370 h 1694052"/>
                <a:gd name="connsiteX35" fmla="*/ 112334 w 1881147"/>
                <a:gd name="connsiteY35" fmla="*/ 751629 h 1694052"/>
                <a:gd name="connsiteX36" fmla="*/ 167161 w 1881147"/>
                <a:gd name="connsiteY36" fmla="*/ 782071 h 1694052"/>
                <a:gd name="connsiteX37" fmla="*/ 236159 w 1881147"/>
                <a:gd name="connsiteY37" fmla="*/ 792283 h 1694052"/>
                <a:gd name="connsiteX38" fmla="*/ 271462 w 1881147"/>
                <a:gd name="connsiteY38" fmla="*/ 848254 h 1694052"/>
                <a:gd name="connsiteX39" fmla="*/ 270869 w 1881147"/>
                <a:gd name="connsiteY39" fmla="*/ 893326 h 1694052"/>
                <a:gd name="connsiteX40" fmla="*/ 295393 w 1881147"/>
                <a:gd name="connsiteY40" fmla="*/ 932801 h 1694052"/>
                <a:gd name="connsiteX41" fmla="*/ 341051 w 1881147"/>
                <a:gd name="connsiteY41" fmla="*/ 971393 h 1694052"/>
                <a:gd name="connsiteX42" fmla="*/ 426184 w 1881147"/>
                <a:gd name="connsiteY42" fmla="*/ 1025645 h 1694052"/>
                <a:gd name="connsiteX43" fmla="*/ 461961 w 1881147"/>
                <a:gd name="connsiteY43" fmla="*/ 1096738 h 1694052"/>
                <a:gd name="connsiteX44" fmla="*/ 441064 w 1881147"/>
                <a:gd name="connsiteY44" fmla="*/ 1166311 h 1694052"/>
                <a:gd name="connsiteX45" fmla="*/ 519111 w 1881147"/>
                <a:gd name="connsiteY45" fmla="*/ 1222774 h 1694052"/>
                <a:gd name="connsiteX46" fmla="*/ 591143 w 1881147"/>
                <a:gd name="connsiteY46" fmla="*/ 1255768 h 1694052"/>
                <a:gd name="connsiteX47" fmla="*/ 571974 w 1881147"/>
                <a:gd name="connsiteY47" fmla="*/ 1315471 h 1694052"/>
                <a:gd name="connsiteX48" fmla="*/ 662461 w 1881147"/>
                <a:gd name="connsiteY48" fmla="*/ 1467871 h 1694052"/>
                <a:gd name="connsiteX49" fmla="*/ 755271 w 1881147"/>
                <a:gd name="connsiteY49" fmla="*/ 1541025 h 1694052"/>
                <a:gd name="connsiteX50" fmla="*/ 805336 w 1881147"/>
                <a:gd name="connsiteY50" fmla="*/ 1491683 h 1694052"/>
                <a:gd name="connsiteX51" fmla="*/ 869926 w 1881147"/>
                <a:gd name="connsiteY51" fmla="*/ 1519080 h 1694052"/>
                <a:gd name="connsiteX52" fmla="*/ 924399 w 1881147"/>
                <a:gd name="connsiteY52" fmla="*/ 1486921 h 1694052"/>
                <a:gd name="connsiteX53" fmla="*/ 941246 w 1881147"/>
                <a:gd name="connsiteY53" fmla="*/ 1444745 h 1694052"/>
                <a:gd name="connsiteX54" fmla="*/ 1005123 w 1881147"/>
                <a:gd name="connsiteY54" fmla="*/ 1531157 h 1694052"/>
                <a:gd name="connsiteX55" fmla="*/ 1050190 w 1881147"/>
                <a:gd name="connsiteY55" fmla="*/ 1602251 h 1694052"/>
                <a:gd name="connsiteX56" fmla="*/ 1120136 w 1881147"/>
                <a:gd name="connsiteY56" fmla="*/ 1693770 h 1694052"/>
                <a:gd name="connsiteX57" fmla="*/ 1151034 w 1881147"/>
                <a:gd name="connsiteY57" fmla="*/ 1630679 h 1694052"/>
                <a:gd name="connsiteX58" fmla="*/ 1181693 w 1881147"/>
                <a:gd name="connsiteY58" fmla="*/ 1624199 h 1694052"/>
                <a:gd name="connsiteX59" fmla="*/ 1224792 w 1881147"/>
                <a:gd name="connsiteY59" fmla="*/ 1653462 h 1694052"/>
                <a:gd name="connsiteX60" fmla="*/ 1258367 w 1881147"/>
                <a:gd name="connsiteY60" fmla="*/ 1612808 h 1694052"/>
                <a:gd name="connsiteX61" fmla="*/ 1277188 w 1881147"/>
                <a:gd name="connsiteY61" fmla="*/ 1617425 h 1694052"/>
                <a:gd name="connsiteX62" fmla="*/ 1311230 w 1881147"/>
                <a:gd name="connsiteY62" fmla="*/ 1683902 h 1694052"/>
                <a:gd name="connsiteX63" fmla="*/ 1367786 w 1881147"/>
                <a:gd name="connsiteY63" fmla="*/ 1660433 h 1694052"/>
                <a:gd name="connsiteX64" fmla="*/ 1419818 w 1881147"/>
                <a:gd name="connsiteY64" fmla="*/ 1604312 h 1694052"/>
                <a:gd name="connsiteX65" fmla="*/ 1470595 w 1881147"/>
                <a:gd name="connsiteY65" fmla="*/ 1587769 h 1694052"/>
                <a:gd name="connsiteX66" fmla="*/ 1488274 w 1881147"/>
                <a:gd name="connsiteY66" fmla="*/ 1643591 h 1694052"/>
                <a:gd name="connsiteX67" fmla="*/ 1558169 w 1881147"/>
                <a:gd name="connsiteY67" fmla="*/ 1617913 h 1694052"/>
                <a:gd name="connsiteX68" fmla="*/ 1588947 w 1881147"/>
                <a:gd name="connsiteY68" fmla="*/ 1531157 h 1694052"/>
                <a:gd name="connsiteX69" fmla="*/ 1670383 w 1881147"/>
                <a:gd name="connsiteY69" fmla="*/ 1441015 h 1694052"/>
                <a:gd name="connsiteX70" fmla="*/ 1714974 w 1881147"/>
                <a:gd name="connsiteY70" fmla="*/ 1409885 h 1694052"/>
                <a:gd name="connsiteX71" fmla="*/ 1743343 w 1881147"/>
                <a:gd name="connsiteY71" fmla="*/ 1413180 h 1694052"/>
                <a:gd name="connsiteX72" fmla="*/ 1820935 w 1881147"/>
                <a:gd name="connsiteY72" fmla="*/ 1402572 h 1694052"/>
                <a:gd name="connsiteX73" fmla="*/ 1816054 w 1881147"/>
                <a:gd name="connsiteY73" fmla="*/ 1456136 h 1694052"/>
                <a:gd name="connsiteX74" fmla="*/ 1874221 w 1881147"/>
                <a:gd name="connsiteY74" fmla="*/ 1479457 h 1694052"/>
                <a:gd name="connsiteX75" fmla="*/ 1875829 w 1881147"/>
                <a:gd name="connsiteY75" fmla="*/ 1456823 h 1694052"/>
                <a:gd name="connsiteX76" fmla="*/ 1875051 w 1881147"/>
                <a:gd name="connsiteY76" fmla="*/ 1396089 h 1694052"/>
                <a:gd name="connsiteX77" fmla="*/ 1853086 w 1881147"/>
                <a:gd name="connsiteY77" fmla="*/ 1305946 h 1694052"/>
                <a:gd name="connsiteX78" fmla="*/ 1853086 w 1881147"/>
                <a:gd name="connsiteY78" fmla="*/ 1248796 h 1694052"/>
                <a:gd name="connsiteX79" fmla="*/ 1810224 w 1881147"/>
                <a:gd name="connsiteY79" fmla="*/ 1239271 h 1694052"/>
                <a:gd name="connsiteX80" fmla="*/ 1734024 w 1881147"/>
                <a:gd name="connsiteY80" fmla="*/ 1158308 h 1694052"/>
                <a:gd name="connsiteX81" fmla="*/ 1695924 w 1881147"/>
                <a:gd name="connsiteY81" fmla="*/ 977333 h 1694052"/>
                <a:gd name="connsiteX82" fmla="*/ 1643536 w 1881147"/>
                <a:gd name="connsiteY82" fmla="*/ 943996 h 1694052"/>
                <a:gd name="connsiteX83" fmla="*/ 1605436 w 1881147"/>
                <a:gd name="connsiteY83" fmla="*/ 886846 h 1694052"/>
                <a:gd name="connsiteX84" fmla="*/ 1557811 w 1881147"/>
                <a:gd name="connsiteY84" fmla="*/ 839221 h 1694052"/>
                <a:gd name="connsiteX85" fmla="*/ 1505424 w 1881147"/>
                <a:gd name="connsiteY85" fmla="*/ 820171 h 1694052"/>
                <a:gd name="connsiteX86" fmla="*/ 1453036 w 1881147"/>
                <a:gd name="connsiteY86" fmla="*/ 815408 h 1694052"/>
                <a:gd name="connsiteX87" fmla="*/ 1510186 w 1881147"/>
                <a:gd name="connsiteY87" fmla="*/ 782071 h 1694052"/>
                <a:gd name="connsiteX88" fmla="*/ 1476849 w 1881147"/>
                <a:gd name="connsiteY88" fmla="*/ 748733 h 1694052"/>
                <a:gd name="connsiteX89" fmla="*/ 1481611 w 1881147"/>
                <a:gd name="connsiteY89" fmla="*/ 724921 h 1694052"/>
                <a:gd name="connsiteX90" fmla="*/ 1572099 w 1881147"/>
                <a:gd name="connsiteY90" fmla="*/ 763021 h 1694052"/>
                <a:gd name="connsiteX91" fmla="*/ 1624486 w 1881147"/>
                <a:gd name="connsiteY91" fmla="*/ 696346 h 1694052"/>
                <a:gd name="connsiteX92" fmla="*/ 1622283 w 1881147"/>
                <a:gd name="connsiteY92" fmla="*/ 553471 h 1694052"/>
                <a:gd name="connsiteX93" fmla="*/ 1639486 w 1881147"/>
                <a:gd name="connsiteY93" fmla="*/ 405145 h 1694052"/>
                <a:gd name="connsiteX0" fmla="*/ 1639486 w 1881147"/>
                <a:gd name="connsiteY0" fmla="*/ 415049 h 1703956"/>
                <a:gd name="connsiteX1" fmla="*/ 1567336 w 1881147"/>
                <a:gd name="connsiteY1" fmla="*/ 382400 h 1703956"/>
                <a:gd name="connsiteX2" fmla="*/ 1477087 w 1881147"/>
                <a:gd name="connsiteY2" fmla="*/ 358587 h 1703956"/>
                <a:gd name="connsiteX3" fmla="*/ 1423767 w 1881147"/>
                <a:gd name="connsiteY3" fmla="*/ 281503 h 1703956"/>
                <a:gd name="connsiteX4" fmla="*/ 1395785 w 1881147"/>
                <a:gd name="connsiteY4" fmla="*/ 179658 h 1703956"/>
                <a:gd name="connsiteX5" fmla="*/ 1364769 w 1881147"/>
                <a:gd name="connsiteY5" fmla="*/ 11596 h 1703956"/>
                <a:gd name="connsiteX6" fmla="*/ 1267299 w 1881147"/>
                <a:gd name="connsiteY6" fmla="*/ 25212 h 1703956"/>
                <a:gd name="connsiteX7" fmla="*/ 1247452 w 1881147"/>
                <a:gd name="connsiteY7" fmla="*/ 110969 h 1703956"/>
                <a:gd name="connsiteX8" fmla="*/ 1214911 w 1881147"/>
                <a:gd name="connsiteY8" fmla="*/ 168087 h 1703956"/>
                <a:gd name="connsiteX9" fmla="*/ 1186336 w 1881147"/>
                <a:gd name="connsiteY9" fmla="*/ 196662 h 1703956"/>
                <a:gd name="connsiteX10" fmla="*/ 1176811 w 1881147"/>
                <a:gd name="connsiteY10" fmla="*/ 268100 h 1703956"/>
                <a:gd name="connsiteX11" fmla="*/ 1114899 w 1881147"/>
                <a:gd name="connsiteY11" fmla="*/ 310962 h 1703956"/>
                <a:gd name="connsiteX12" fmla="*/ 1005361 w 1881147"/>
                <a:gd name="connsiteY12" fmla="*/ 325250 h 1703956"/>
                <a:gd name="connsiteX13" fmla="*/ 962499 w 1881147"/>
                <a:gd name="connsiteY13" fmla="*/ 368112 h 1703956"/>
                <a:gd name="connsiteX14" fmla="*/ 838674 w 1881147"/>
                <a:gd name="connsiteY14" fmla="*/ 368112 h 1703956"/>
                <a:gd name="connsiteX15" fmla="*/ 781524 w 1881147"/>
                <a:gd name="connsiteY15" fmla="*/ 439550 h 1703956"/>
                <a:gd name="connsiteX16" fmla="*/ 781524 w 1881147"/>
                <a:gd name="connsiteY16" fmla="*/ 472887 h 1703956"/>
                <a:gd name="connsiteX17" fmla="*/ 743424 w 1881147"/>
                <a:gd name="connsiteY17" fmla="*/ 496700 h 1703956"/>
                <a:gd name="connsiteX18" fmla="*/ 671986 w 1881147"/>
                <a:gd name="connsiteY18" fmla="*/ 430025 h 1703956"/>
                <a:gd name="connsiteX19" fmla="*/ 519586 w 1881147"/>
                <a:gd name="connsiteY19" fmla="*/ 425262 h 1703956"/>
                <a:gd name="connsiteX20" fmla="*/ 457674 w 1881147"/>
                <a:gd name="connsiteY20" fmla="*/ 444312 h 1703956"/>
                <a:gd name="connsiteX21" fmla="*/ 419574 w 1881147"/>
                <a:gd name="connsiteY21" fmla="*/ 430025 h 1703956"/>
                <a:gd name="connsiteX22" fmla="*/ 400524 w 1881147"/>
                <a:gd name="connsiteY22" fmla="*/ 368112 h 1703956"/>
                <a:gd name="connsiteX23" fmla="*/ 333849 w 1881147"/>
                <a:gd name="connsiteY23" fmla="*/ 315725 h 1703956"/>
                <a:gd name="connsiteX24" fmla="*/ 286224 w 1881147"/>
                <a:gd name="connsiteY24" fmla="*/ 249050 h 1703956"/>
                <a:gd name="connsiteX25" fmla="*/ 143349 w 1881147"/>
                <a:gd name="connsiteY25" fmla="*/ 268100 h 1703956"/>
                <a:gd name="connsiteX26" fmla="*/ 124299 w 1881147"/>
                <a:gd name="connsiteY26" fmla="*/ 344300 h 1703956"/>
                <a:gd name="connsiteX27" fmla="*/ 110011 w 1881147"/>
                <a:gd name="connsiteY27" fmla="*/ 377637 h 1703956"/>
                <a:gd name="connsiteX28" fmla="*/ 133824 w 1881147"/>
                <a:gd name="connsiteY28" fmla="*/ 425262 h 1703956"/>
                <a:gd name="connsiteX29" fmla="*/ 81436 w 1881147"/>
                <a:gd name="connsiteY29" fmla="*/ 463362 h 1703956"/>
                <a:gd name="connsiteX30" fmla="*/ 33811 w 1881147"/>
                <a:gd name="connsiteY30" fmla="*/ 458600 h 1703956"/>
                <a:gd name="connsiteX31" fmla="*/ 33811 w 1881147"/>
                <a:gd name="connsiteY31" fmla="*/ 530037 h 1703956"/>
                <a:gd name="connsiteX32" fmla="*/ 474 w 1881147"/>
                <a:gd name="connsiteY32" fmla="*/ 634812 h 1703956"/>
                <a:gd name="connsiteX33" fmla="*/ 62386 w 1881147"/>
                <a:gd name="connsiteY33" fmla="*/ 711012 h 1703956"/>
                <a:gd name="connsiteX34" fmla="*/ 111977 w 1881147"/>
                <a:gd name="connsiteY34" fmla="*/ 691274 h 1703956"/>
                <a:gd name="connsiteX35" fmla="*/ 112334 w 1881147"/>
                <a:gd name="connsiteY35" fmla="*/ 761533 h 1703956"/>
                <a:gd name="connsiteX36" fmla="*/ 167161 w 1881147"/>
                <a:gd name="connsiteY36" fmla="*/ 791975 h 1703956"/>
                <a:gd name="connsiteX37" fmla="*/ 236159 w 1881147"/>
                <a:gd name="connsiteY37" fmla="*/ 802187 h 1703956"/>
                <a:gd name="connsiteX38" fmla="*/ 271462 w 1881147"/>
                <a:gd name="connsiteY38" fmla="*/ 858158 h 1703956"/>
                <a:gd name="connsiteX39" fmla="*/ 270869 w 1881147"/>
                <a:gd name="connsiteY39" fmla="*/ 903230 h 1703956"/>
                <a:gd name="connsiteX40" fmla="*/ 295393 w 1881147"/>
                <a:gd name="connsiteY40" fmla="*/ 942705 h 1703956"/>
                <a:gd name="connsiteX41" fmla="*/ 341051 w 1881147"/>
                <a:gd name="connsiteY41" fmla="*/ 981297 h 1703956"/>
                <a:gd name="connsiteX42" fmla="*/ 426184 w 1881147"/>
                <a:gd name="connsiteY42" fmla="*/ 1035549 h 1703956"/>
                <a:gd name="connsiteX43" fmla="*/ 461961 w 1881147"/>
                <a:gd name="connsiteY43" fmla="*/ 1106642 h 1703956"/>
                <a:gd name="connsiteX44" fmla="*/ 441064 w 1881147"/>
                <a:gd name="connsiteY44" fmla="*/ 1176215 h 1703956"/>
                <a:gd name="connsiteX45" fmla="*/ 519111 w 1881147"/>
                <a:gd name="connsiteY45" fmla="*/ 1232678 h 1703956"/>
                <a:gd name="connsiteX46" fmla="*/ 591143 w 1881147"/>
                <a:gd name="connsiteY46" fmla="*/ 1265672 h 1703956"/>
                <a:gd name="connsiteX47" fmla="*/ 571974 w 1881147"/>
                <a:gd name="connsiteY47" fmla="*/ 1325375 h 1703956"/>
                <a:gd name="connsiteX48" fmla="*/ 662461 w 1881147"/>
                <a:gd name="connsiteY48" fmla="*/ 1477775 h 1703956"/>
                <a:gd name="connsiteX49" fmla="*/ 755271 w 1881147"/>
                <a:gd name="connsiteY49" fmla="*/ 1550929 h 1703956"/>
                <a:gd name="connsiteX50" fmla="*/ 805336 w 1881147"/>
                <a:gd name="connsiteY50" fmla="*/ 1501587 h 1703956"/>
                <a:gd name="connsiteX51" fmla="*/ 869926 w 1881147"/>
                <a:gd name="connsiteY51" fmla="*/ 1528984 h 1703956"/>
                <a:gd name="connsiteX52" fmla="*/ 924399 w 1881147"/>
                <a:gd name="connsiteY52" fmla="*/ 1496825 h 1703956"/>
                <a:gd name="connsiteX53" fmla="*/ 941246 w 1881147"/>
                <a:gd name="connsiteY53" fmla="*/ 1454649 h 1703956"/>
                <a:gd name="connsiteX54" fmla="*/ 1005123 w 1881147"/>
                <a:gd name="connsiteY54" fmla="*/ 1541061 h 1703956"/>
                <a:gd name="connsiteX55" fmla="*/ 1050190 w 1881147"/>
                <a:gd name="connsiteY55" fmla="*/ 1612155 h 1703956"/>
                <a:gd name="connsiteX56" fmla="*/ 1120136 w 1881147"/>
                <a:gd name="connsiteY56" fmla="*/ 1703674 h 1703956"/>
                <a:gd name="connsiteX57" fmla="*/ 1151034 w 1881147"/>
                <a:gd name="connsiteY57" fmla="*/ 1640583 h 1703956"/>
                <a:gd name="connsiteX58" fmla="*/ 1181693 w 1881147"/>
                <a:gd name="connsiteY58" fmla="*/ 1634103 h 1703956"/>
                <a:gd name="connsiteX59" fmla="*/ 1224792 w 1881147"/>
                <a:gd name="connsiteY59" fmla="*/ 1663366 h 1703956"/>
                <a:gd name="connsiteX60" fmla="*/ 1258367 w 1881147"/>
                <a:gd name="connsiteY60" fmla="*/ 1622712 h 1703956"/>
                <a:gd name="connsiteX61" fmla="*/ 1277188 w 1881147"/>
                <a:gd name="connsiteY61" fmla="*/ 1627329 h 1703956"/>
                <a:gd name="connsiteX62" fmla="*/ 1311230 w 1881147"/>
                <a:gd name="connsiteY62" fmla="*/ 1693806 h 1703956"/>
                <a:gd name="connsiteX63" fmla="*/ 1367786 w 1881147"/>
                <a:gd name="connsiteY63" fmla="*/ 1670337 h 1703956"/>
                <a:gd name="connsiteX64" fmla="*/ 1419818 w 1881147"/>
                <a:gd name="connsiteY64" fmla="*/ 1614216 h 1703956"/>
                <a:gd name="connsiteX65" fmla="*/ 1470595 w 1881147"/>
                <a:gd name="connsiteY65" fmla="*/ 1597673 h 1703956"/>
                <a:gd name="connsiteX66" fmla="*/ 1488274 w 1881147"/>
                <a:gd name="connsiteY66" fmla="*/ 1653495 h 1703956"/>
                <a:gd name="connsiteX67" fmla="*/ 1558169 w 1881147"/>
                <a:gd name="connsiteY67" fmla="*/ 1627817 h 1703956"/>
                <a:gd name="connsiteX68" fmla="*/ 1588947 w 1881147"/>
                <a:gd name="connsiteY68" fmla="*/ 1541061 h 1703956"/>
                <a:gd name="connsiteX69" fmla="*/ 1670383 w 1881147"/>
                <a:gd name="connsiteY69" fmla="*/ 1450919 h 1703956"/>
                <a:gd name="connsiteX70" fmla="*/ 1714974 w 1881147"/>
                <a:gd name="connsiteY70" fmla="*/ 1419789 h 1703956"/>
                <a:gd name="connsiteX71" fmla="*/ 1743343 w 1881147"/>
                <a:gd name="connsiteY71" fmla="*/ 1423084 h 1703956"/>
                <a:gd name="connsiteX72" fmla="*/ 1820935 w 1881147"/>
                <a:gd name="connsiteY72" fmla="*/ 1412476 h 1703956"/>
                <a:gd name="connsiteX73" fmla="*/ 1816054 w 1881147"/>
                <a:gd name="connsiteY73" fmla="*/ 1466040 h 1703956"/>
                <a:gd name="connsiteX74" fmla="*/ 1874221 w 1881147"/>
                <a:gd name="connsiteY74" fmla="*/ 1489361 h 1703956"/>
                <a:gd name="connsiteX75" fmla="*/ 1875829 w 1881147"/>
                <a:gd name="connsiteY75" fmla="*/ 1466727 h 1703956"/>
                <a:gd name="connsiteX76" fmla="*/ 1875051 w 1881147"/>
                <a:gd name="connsiteY76" fmla="*/ 1405993 h 1703956"/>
                <a:gd name="connsiteX77" fmla="*/ 1853086 w 1881147"/>
                <a:gd name="connsiteY77" fmla="*/ 1315850 h 1703956"/>
                <a:gd name="connsiteX78" fmla="*/ 1853086 w 1881147"/>
                <a:gd name="connsiteY78" fmla="*/ 1258700 h 1703956"/>
                <a:gd name="connsiteX79" fmla="*/ 1810224 w 1881147"/>
                <a:gd name="connsiteY79" fmla="*/ 1249175 h 1703956"/>
                <a:gd name="connsiteX80" fmla="*/ 1734024 w 1881147"/>
                <a:gd name="connsiteY80" fmla="*/ 1168212 h 1703956"/>
                <a:gd name="connsiteX81" fmla="*/ 1695924 w 1881147"/>
                <a:gd name="connsiteY81" fmla="*/ 987237 h 1703956"/>
                <a:gd name="connsiteX82" fmla="*/ 1643536 w 1881147"/>
                <a:gd name="connsiteY82" fmla="*/ 953900 h 1703956"/>
                <a:gd name="connsiteX83" fmla="*/ 1605436 w 1881147"/>
                <a:gd name="connsiteY83" fmla="*/ 896750 h 1703956"/>
                <a:gd name="connsiteX84" fmla="*/ 1557811 w 1881147"/>
                <a:gd name="connsiteY84" fmla="*/ 849125 h 1703956"/>
                <a:gd name="connsiteX85" fmla="*/ 1505424 w 1881147"/>
                <a:gd name="connsiteY85" fmla="*/ 830075 h 1703956"/>
                <a:gd name="connsiteX86" fmla="*/ 1453036 w 1881147"/>
                <a:gd name="connsiteY86" fmla="*/ 825312 h 1703956"/>
                <a:gd name="connsiteX87" fmla="*/ 1510186 w 1881147"/>
                <a:gd name="connsiteY87" fmla="*/ 791975 h 1703956"/>
                <a:gd name="connsiteX88" fmla="*/ 1476849 w 1881147"/>
                <a:gd name="connsiteY88" fmla="*/ 758637 h 1703956"/>
                <a:gd name="connsiteX89" fmla="*/ 1481611 w 1881147"/>
                <a:gd name="connsiteY89" fmla="*/ 734825 h 1703956"/>
                <a:gd name="connsiteX90" fmla="*/ 1572099 w 1881147"/>
                <a:gd name="connsiteY90" fmla="*/ 772925 h 1703956"/>
                <a:gd name="connsiteX91" fmla="*/ 1624486 w 1881147"/>
                <a:gd name="connsiteY91" fmla="*/ 706250 h 1703956"/>
                <a:gd name="connsiteX92" fmla="*/ 1622283 w 1881147"/>
                <a:gd name="connsiteY92" fmla="*/ 563375 h 1703956"/>
                <a:gd name="connsiteX93" fmla="*/ 1639486 w 1881147"/>
                <a:gd name="connsiteY93" fmla="*/ 415049 h 1703956"/>
                <a:gd name="connsiteX0" fmla="*/ 1639486 w 1881147"/>
                <a:gd name="connsiteY0" fmla="*/ 410094 h 1699001"/>
                <a:gd name="connsiteX1" fmla="*/ 1567336 w 1881147"/>
                <a:gd name="connsiteY1" fmla="*/ 377445 h 1699001"/>
                <a:gd name="connsiteX2" fmla="*/ 1477087 w 1881147"/>
                <a:gd name="connsiteY2" fmla="*/ 353632 h 1699001"/>
                <a:gd name="connsiteX3" fmla="*/ 1423767 w 1881147"/>
                <a:gd name="connsiteY3" fmla="*/ 276548 h 1699001"/>
                <a:gd name="connsiteX4" fmla="*/ 1395785 w 1881147"/>
                <a:gd name="connsiteY4" fmla="*/ 174703 h 1699001"/>
                <a:gd name="connsiteX5" fmla="*/ 1364769 w 1881147"/>
                <a:gd name="connsiteY5" fmla="*/ 6641 h 1699001"/>
                <a:gd name="connsiteX6" fmla="*/ 1270553 w 1881147"/>
                <a:gd name="connsiteY6" fmla="*/ 40681 h 1699001"/>
                <a:gd name="connsiteX7" fmla="*/ 1247452 w 1881147"/>
                <a:gd name="connsiteY7" fmla="*/ 106014 h 1699001"/>
                <a:gd name="connsiteX8" fmla="*/ 1214911 w 1881147"/>
                <a:gd name="connsiteY8" fmla="*/ 163132 h 1699001"/>
                <a:gd name="connsiteX9" fmla="*/ 1186336 w 1881147"/>
                <a:gd name="connsiteY9" fmla="*/ 191707 h 1699001"/>
                <a:gd name="connsiteX10" fmla="*/ 1176811 w 1881147"/>
                <a:gd name="connsiteY10" fmla="*/ 263145 h 1699001"/>
                <a:gd name="connsiteX11" fmla="*/ 1114899 w 1881147"/>
                <a:gd name="connsiteY11" fmla="*/ 306007 h 1699001"/>
                <a:gd name="connsiteX12" fmla="*/ 1005361 w 1881147"/>
                <a:gd name="connsiteY12" fmla="*/ 320295 h 1699001"/>
                <a:gd name="connsiteX13" fmla="*/ 962499 w 1881147"/>
                <a:gd name="connsiteY13" fmla="*/ 363157 h 1699001"/>
                <a:gd name="connsiteX14" fmla="*/ 838674 w 1881147"/>
                <a:gd name="connsiteY14" fmla="*/ 363157 h 1699001"/>
                <a:gd name="connsiteX15" fmla="*/ 781524 w 1881147"/>
                <a:gd name="connsiteY15" fmla="*/ 434595 h 1699001"/>
                <a:gd name="connsiteX16" fmla="*/ 781524 w 1881147"/>
                <a:gd name="connsiteY16" fmla="*/ 467932 h 1699001"/>
                <a:gd name="connsiteX17" fmla="*/ 743424 w 1881147"/>
                <a:gd name="connsiteY17" fmla="*/ 491745 h 1699001"/>
                <a:gd name="connsiteX18" fmla="*/ 671986 w 1881147"/>
                <a:gd name="connsiteY18" fmla="*/ 425070 h 1699001"/>
                <a:gd name="connsiteX19" fmla="*/ 519586 w 1881147"/>
                <a:gd name="connsiteY19" fmla="*/ 420307 h 1699001"/>
                <a:gd name="connsiteX20" fmla="*/ 457674 w 1881147"/>
                <a:gd name="connsiteY20" fmla="*/ 439357 h 1699001"/>
                <a:gd name="connsiteX21" fmla="*/ 419574 w 1881147"/>
                <a:gd name="connsiteY21" fmla="*/ 425070 h 1699001"/>
                <a:gd name="connsiteX22" fmla="*/ 400524 w 1881147"/>
                <a:gd name="connsiteY22" fmla="*/ 363157 h 1699001"/>
                <a:gd name="connsiteX23" fmla="*/ 333849 w 1881147"/>
                <a:gd name="connsiteY23" fmla="*/ 310770 h 1699001"/>
                <a:gd name="connsiteX24" fmla="*/ 286224 w 1881147"/>
                <a:gd name="connsiteY24" fmla="*/ 244095 h 1699001"/>
                <a:gd name="connsiteX25" fmla="*/ 143349 w 1881147"/>
                <a:gd name="connsiteY25" fmla="*/ 263145 h 1699001"/>
                <a:gd name="connsiteX26" fmla="*/ 124299 w 1881147"/>
                <a:gd name="connsiteY26" fmla="*/ 339345 h 1699001"/>
                <a:gd name="connsiteX27" fmla="*/ 110011 w 1881147"/>
                <a:gd name="connsiteY27" fmla="*/ 372682 h 1699001"/>
                <a:gd name="connsiteX28" fmla="*/ 133824 w 1881147"/>
                <a:gd name="connsiteY28" fmla="*/ 420307 h 1699001"/>
                <a:gd name="connsiteX29" fmla="*/ 81436 w 1881147"/>
                <a:gd name="connsiteY29" fmla="*/ 458407 h 1699001"/>
                <a:gd name="connsiteX30" fmla="*/ 33811 w 1881147"/>
                <a:gd name="connsiteY30" fmla="*/ 453645 h 1699001"/>
                <a:gd name="connsiteX31" fmla="*/ 33811 w 1881147"/>
                <a:gd name="connsiteY31" fmla="*/ 525082 h 1699001"/>
                <a:gd name="connsiteX32" fmla="*/ 474 w 1881147"/>
                <a:gd name="connsiteY32" fmla="*/ 629857 h 1699001"/>
                <a:gd name="connsiteX33" fmla="*/ 62386 w 1881147"/>
                <a:gd name="connsiteY33" fmla="*/ 706057 h 1699001"/>
                <a:gd name="connsiteX34" fmla="*/ 111977 w 1881147"/>
                <a:gd name="connsiteY34" fmla="*/ 686319 h 1699001"/>
                <a:gd name="connsiteX35" fmla="*/ 112334 w 1881147"/>
                <a:gd name="connsiteY35" fmla="*/ 756578 h 1699001"/>
                <a:gd name="connsiteX36" fmla="*/ 167161 w 1881147"/>
                <a:gd name="connsiteY36" fmla="*/ 787020 h 1699001"/>
                <a:gd name="connsiteX37" fmla="*/ 236159 w 1881147"/>
                <a:gd name="connsiteY37" fmla="*/ 797232 h 1699001"/>
                <a:gd name="connsiteX38" fmla="*/ 271462 w 1881147"/>
                <a:gd name="connsiteY38" fmla="*/ 853203 h 1699001"/>
                <a:gd name="connsiteX39" fmla="*/ 270869 w 1881147"/>
                <a:gd name="connsiteY39" fmla="*/ 898275 h 1699001"/>
                <a:gd name="connsiteX40" fmla="*/ 295393 w 1881147"/>
                <a:gd name="connsiteY40" fmla="*/ 937750 h 1699001"/>
                <a:gd name="connsiteX41" fmla="*/ 341051 w 1881147"/>
                <a:gd name="connsiteY41" fmla="*/ 976342 h 1699001"/>
                <a:gd name="connsiteX42" fmla="*/ 426184 w 1881147"/>
                <a:gd name="connsiteY42" fmla="*/ 1030594 h 1699001"/>
                <a:gd name="connsiteX43" fmla="*/ 461961 w 1881147"/>
                <a:gd name="connsiteY43" fmla="*/ 1101687 h 1699001"/>
                <a:gd name="connsiteX44" fmla="*/ 441064 w 1881147"/>
                <a:gd name="connsiteY44" fmla="*/ 1171260 h 1699001"/>
                <a:gd name="connsiteX45" fmla="*/ 519111 w 1881147"/>
                <a:gd name="connsiteY45" fmla="*/ 1227723 h 1699001"/>
                <a:gd name="connsiteX46" fmla="*/ 591143 w 1881147"/>
                <a:gd name="connsiteY46" fmla="*/ 1260717 h 1699001"/>
                <a:gd name="connsiteX47" fmla="*/ 571974 w 1881147"/>
                <a:gd name="connsiteY47" fmla="*/ 1320420 h 1699001"/>
                <a:gd name="connsiteX48" fmla="*/ 662461 w 1881147"/>
                <a:gd name="connsiteY48" fmla="*/ 1472820 h 1699001"/>
                <a:gd name="connsiteX49" fmla="*/ 755271 w 1881147"/>
                <a:gd name="connsiteY49" fmla="*/ 1545974 h 1699001"/>
                <a:gd name="connsiteX50" fmla="*/ 805336 w 1881147"/>
                <a:gd name="connsiteY50" fmla="*/ 1496632 h 1699001"/>
                <a:gd name="connsiteX51" fmla="*/ 869926 w 1881147"/>
                <a:gd name="connsiteY51" fmla="*/ 1524029 h 1699001"/>
                <a:gd name="connsiteX52" fmla="*/ 924399 w 1881147"/>
                <a:gd name="connsiteY52" fmla="*/ 1491870 h 1699001"/>
                <a:gd name="connsiteX53" fmla="*/ 941246 w 1881147"/>
                <a:gd name="connsiteY53" fmla="*/ 1449694 h 1699001"/>
                <a:gd name="connsiteX54" fmla="*/ 1005123 w 1881147"/>
                <a:gd name="connsiteY54" fmla="*/ 1536106 h 1699001"/>
                <a:gd name="connsiteX55" fmla="*/ 1050190 w 1881147"/>
                <a:gd name="connsiteY55" fmla="*/ 1607200 h 1699001"/>
                <a:gd name="connsiteX56" fmla="*/ 1120136 w 1881147"/>
                <a:gd name="connsiteY56" fmla="*/ 1698719 h 1699001"/>
                <a:gd name="connsiteX57" fmla="*/ 1151034 w 1881147"/>
                <a:gd name="connsiteY57" fmla="*/ 1635628 h 1699001"/>
                <a:gd name="connsiteX58" fmla="*/ 1181693 w 1881147"/>
                <a:gd name="connsiteY58" fmla="*/ 1629148 h 1699001"/>
                <a:gd name="connsiteX59" fmla="*/ 1224792 w 1881147"/>
                <a:gd name="connsiteY59" fmla="*/ 1658411 h 1699001"/>
                <a:gd name="connsiteX60" fmla="*/ 1258367 w 1881147"/>
                <a:gd name="connsiteY60" fmla="*/ 1617757 h 1699001"/>
                <a:gd name="connsiteX61" fmla="*/ 1277188 w 1881147"/>
                <a:gd name="connsiteY61" fmla="*/ 1622374 h 1699001"/>
                <a:gd name="connsiteX62" fmla="*/ 1311230 w 1881147"/>
                <a:gd name="connsiteY62" fmla="*/ 1688851 h 1699001"/>
                <a:gd name="connsiteX63" fmla="*/ 1367786 w 1881147"/>
                <a:gd name="connsiteY63" fmla="*/ 1665382 h 1699001"/>
                <a:gd name="connsiteX64" fmla="*/ 1419818 w 1881147"/>
                <a:gd name="connsiteY64" fmla="*/ 1609261 h 1699001"/>
                <a:gd name="connsiteX65" fmla="*/ 1470595 w 1881147"/>
                <a:gd name="connsiteY65" fmla="*/ 1592718 h 1699001"/>
                <a:gd name="connsiteX66" fmla="*/ 1488274 w 1881147"/>
                <a:gd name="connsiteY66" fmla="*/ 1648540 h 1699001"/>
                <a:gd name="connsiteX67" fmla="*/ 1558169 w 1881147"/>
                <a:gd name="connsiteY67" fmla="*/ 1622862 h 1699001"/>
                <a:gd name="connsiteX68" fmla="*/ 1588947 w 1881147"/>
                <a:gd name="connsiteY68" fmla="*/ 1536106 h 1699001"/>
                <a:gd name="connsiteX69" fmla="*/ 1670383 w 1881147"/>
                <a:gd name="connsiteY69" fmla="*/ 1445964 h 1699001"/>
                <a:gd name="connsiteX70" fmla="*/ 1714974 w 1881147"/>
                <a:gd name="connsiteY70" fmla="*/ 1414834 h 1699001"/>
                <a:gd name="connsiteX71" fmla="*/ 1743343 w 1881147"/>
                <a:gd name="connsiteY71" fmla="*/ 1418129 h 1699001"/>
                <a:gd name="connsiteX72" fmla="*/ 1820935 w 1881147"/>
                <a:gd name="connsiteY72" fmla="*/ 1407521 h 1699001"/>
                <a:gd name="connsiteX73" fmla="*/ 1816054 w 1881147"/>
                <a:gd name="connsiteY73" fmla="*/ 1461085 h 1699001"/>
                <a:gd name="connsiteX74" fmla="*/ 1874221 w 1881147"/>
                <a:gd name="connsiteY74" fmla="*/ 1484406 h 1699001"/>
                <a:gd name="connsiteX75" fmla="*/ 1875829 w 1881147"/>
                <a:gd name="connsiteY75" fmla="*/ 1461772 h 1699001"/>
                <a:gd name="connsiteX76" fmla="*/ 1875051 w 1881147"/>
                <a:gd name="connsiteY76" fmla="*/ 1401038 h 1699001"/>
                <a:gd name="connsiteX77" fmla="*/ 1853086 w 1881147"/>
                <a:gd name="connsiteY77" fmla="*/ 1310895 h 1699001"/>
                <a:gd name="connsiteX78" fmla="*/ 1853086 w 1881147"/>
                <a:gd name="connsiteY78" fmla="*/ 1253745 h 1699001"/>
                <a:gd name="connsiteX79" fmla="*/ 1810224 w 1881147"/>
                <a:gd name="connsiteY79" fmla="*/ 1244220 h 1699001"/>
                <a:gd name="connsiteX80" fmla="*/ 1734024 w 1881147"/>
                <a:gd name="connsiteY80" fmla="*/ 1163257 h 1699001"/>
                <a:gd name="connsiteX81" fmla="*/ 1695924 w 1881147"/>
                <a:gd name="connsiteY81" fmla="*/ 982282 h 1699001"/>
                <a:gd name="connsiteX82" fmla="*/ 1643536 w 1881147"/>
                <a:gd name="connsiteY82" fmla="*/ 948945 h 1699001"/>
                <a:gd name="connsiteX83" fmla="*/ 1605436 w 1881147"/>
                <a:gd name="connsiteY83" fmla="*/ 891795 h 1699001"/>
                <a:gd name="connsiteX84" fmla="*/ 1557811 w 1881147"/>
                <a:gd name="connsiteY84" fmla="*/ 844170 h 1699001"/>
                <a:gd name="connsiteX85" fmla="*/ 1505424 w 1881147"/>
                <a:gd name="connsiteY85" fmla="*/ 825120 h 1699001"/>
                <a:gd name="connsiteX86" fmla="*/ 1453036 w 1881147"/>
                <a:gd name="connsiteY86" fmla="*/ 820357 h 1699001"/>
                <a:gd name="connsiteX87" fmla="*/ 1510186 w 1881147"/>
                <a:gd name="connsiteY87" fmla="*/ 787020 h 1699001"/>
                <a:gd name="connsiteX88" fmla="*/ 1476849 w 1881147"/>
                <a:gd name="connsiteY88" fmla="*/ 753682 h 1699001"/>
                <a:gd name="connsiteX89" fmla="*/ 1481611 w 1881147"/>
                <a:gd name="connsiteY89" fmla="*/ 729870 h 1699001"/>
                <a:gd name="connsiteX90" fmla="*/ 1572099 w 1881147"/>
                <a:gd name="connsiteY90" fmla="*/ 767970 h 1699001"/>
                <a:gd name="connsiteX91" fmla="*/ 1624486 w 1881147"/>
                <a:gd name="connsiteY91" fmla="*/ 701295 h 1699001"/>
                <a:gd name="connsiteX92" fmla="*/ 1622283 w 1881147"/>
                <a:gd name="connsiteY92" fmla="*/ 558420 h 1699001"/>
                <a:gd name="connsiteX93" fmla="*/ 1639486 w 1881147"/>
                <a:gd name="connsiteY93" fmla="*/ 410094 h 1699001"/>
                <a:gd name="connsiteX0" fmla="*/ 1639486 w 1881147"/>
                <a:gd name="connsiteY0" fmla="*/ 410466 h 1699373"/>
                <a:gd name="connsiteX1" fmla="*/ 1567336 w 1881147"/>
                <a:gd name="connsiteY1" fmla="*/ 377817 h 1699373"/>
                <a:gd name="connsiteX2" fmla="*/ 1477087 w 1881147"/>
                <a:gd name="connsiteY2" fmla="*/ 354004 h 1699373"/>
                <a:gd name="connsiteX3" fmla="*/ 1423767 w 1881147"/>
                <a:gd name="connsiteY3" fmla="*/ 276920 h 1699373"/>
                <a:gd name="connsiteX4" fmla="*/ 1395785 w 1881147"/>
                <a:gd name="connsiteY4" fmla="*/ 175075 h 1699373"/>
                <a:gd name="connsiteX5" fmla="*/ 1364769 w 1881147"/>
                <a:gd name="connsiteY5" fmla="*/ 7013 h 1699373"/>
                <a:gd name="connsiteX6" fmla="*/ 1270553 w 1881147"/>
                <a:gd name="connsiteY6" fmla="*/ 41053 h 1699373"/>
                <a:gd name="connsiteX7" fmla="*/ 1244198 w 1881147"/>
                <a:gd name="connsiteY7" fmla="*/ 126810 h 1699373"/>
                <a:gd name="connsiteX8" fmla="*/ 1214911 w 1881147"/>
                <a:gd name="connsiteY8" fmla="*/ 163504 h 1699373"/>
                <a:gd name="connsiteX9" fmla="*/ 1186336 w 1881147"/>
                <a:gd name="connsiteY9" fmla="*/ 192079 h 1699373"/>
                <a:gd name="connsiteX10" fmla="*/ 1176811 w 1881147"/>
                <a:gd name="connsiteY10" fmla="*/ 263517 h 1699373"/>
                <a:gd name="connsiteX11" fmla="*/ 1114899 w 1881147"/>
                <a:gd name="connsiteY11" fmla="*/ 306379 h 1699373"/>
                <a:gd name="connsiteX12" fmla="*/ 1005361 w 1881147"/>
                <a:gd name="connsiteY12" fmla="*/ 320667 h 1699373"/>
                <a:gd name="connsiteX13" fmla="*/ 962499 w 1881147"/>
                <a:gd name="connsiteY13" fmla="*/ 363529 h 1699373"/>
                <a:gd name="connsiteX14" fmla="*/ 838674 w 1881147"/>
                <a:gd name="connsiteY14" fmla="*/ 363529 h 1699373"/>
                <a:gd name="connsiteX15" fmla="*/ 781524 w 1881147"/>
                <a:gd name="connsiteY15" fmla="*/ 434967 h 1699373"/>
                <a:gd name="connsiteX16" fmla="*/ 781524 w 1881147"/>
                <a:gd name="connsiteY16" fmla="*/ 468304 h 1699373"/>
                <a:gd name="connsiteX17" fmla="*/ 743424 w 1881147"/>
                <a:gd name="connsiteY17" fmla="*/ 492117 h 1699373"/>
                <a:gd name="connsiteX18" fmla="*/ 671986 w 1881147"/>
                <a:gd name="connsiteY18" fmla="*/ 425442 h 1699373"/>
                <a:gd name="connsiteX19" fmla="*/ 519586 w 1881147"/>
                <a:gd name="connsiteY19" fmla="*/ 420679 h 1699373"/>
                <a:gd name="connsiteX20" fmla="*/ 457674 w 1881147"/>
                <a:gd name="connsiteY20" fmla="*/ 439729 h 1699373"/>
                <a:gd name="connsiteX21" fmla="*/ 419574 w 1881147"/>
                <a:gd name="connsiteY21" fmla="*/ 425442 h 1699373"/>
                <a:gd name="connsiteX22" fmla="*/ 400524 w 1881147"/>
                <a:gd name="connsiteY22" fmla="*/ 363529 h 1699373"/>
                <a:gd name="connsiteX23" fmla="*/ 333849 w 1881147"/>
                <a:gd name="connsiteY23" fmla="*/ 311142 h 1699373"/>
                <a:gd name="connsiteX24" fmla="*/ 286224 w 1881147"/>
                <a:gd name="connsiteY24" fmla="*/ 244467 h 1699373"/>
                <a:gd name="connsiteX25" fmla="*/ 143349 w 1881147"/>
                <a:gd name="connsiteY25" fmla="*/ 263517 h 1699373"/>
                <a:gd name="connsiteX26" fmla="*/ 124299 w 1881147"/>
                <a:gd name="connsiteY26" fmla="*/ 339717 h 1699373"/>
                <a:gd name="connsiteX27" fmla="*/ 110011 w 1881147"/>
                <a:gd name="connsiteY27" fmla="*/ 373054 h 1699373"/>
                <a:gd name="connsiteX28" fmla="*/ 133824 w 1881147"/>
                <a:gd name="connsiteY28" fmla="*/ 420679 h 1699373"/>
                <a:gd name="connsiteX29" fmla="*/ 81436 w 1881147"/>
                <a:gd name="connsiteY29" fmla="*/ 458779 h 1699373"/>
                <a:gd name="connsiteX30" fmla="*/ 33811 w 1881147"/>
                <a:gd name="connsiteY30" fmla="*/ 454017 h 1699373"/>
                <a:gd name="connsiteX31" fmla="*/ 33811 w 1881147"/>
                <a:gd name="connsiteY31" fmla="*/ 525454 h 1699373"/>
                <a:gd name="connsiteX32" fmla="*/ 474 w 1881147"/>
                <a:gd name="connsiteY32" fmla="*/ 630229 h 1699373"/>
                <a:gd name="connsiteX33" fmla="*/ 62386 w 1881147"/>
                <a:gd name="connsiteY33" fmla="*/ 706429 h 1699373"/>
                <a:gd name="connsiteX34" fmla="*/ 111977 w 1881147"/>
                <a:gd name="connsiteY34" fmla="*/ 686691 h 1699373"/>
                <a:gd name="connsiteX35" fmla="*/ 112334 w 1881147"/>
                <a:gd name="connsiteY35" fmla="*/ 756950 h 1699373"/>
                <a:gd name="connsiteX36" fmla="*/ 167161 w 1881147"/>
                <a:gd name="connsiteY36" fmla="*/ 787392 h 1699373"/>
                <a:gd name="connsiteX37" fmla="*/ 236159 w 1881147"/>
                <a:gd name="connsiteY37" fmla="*/ 797604 h 1699373"/>
                <a:gd name="connsiteX38" fmla="*/ 271462 w 1881147"/>
                <a:gd name="connsiteY38" fmla="*/ 853575 h 1699373"/>
                <a:gd name="connsiteX39" fmla="*/ 270869 w 1881147"/>
                <a:gd name="connsiteY39" fmla="*/ 898647 h 1699373"/>
                <a:gd name="connsiteX40" fmla="*/ 295393 w 1881147"/>
                <a:gd name="connsiteY40" fmla="*/ 938122 h 1699373"/>
                <a:gd name="connsiteX41" fmla="*/ 341051 w 1881147"/>
                <a:gd name="connsiteY41" fmla="*/ 976714 h 1699373"/>
                <a:gd name="connsiteX42" fmla="*/ 426184 w 1881147"/>
                <a:gd name="connsiteY42" fmla="*/ 1030966 h 1699373"/>
                <a:gd name="connsiteX43" fmla="*/ 461961 w 1881147"/>
                <a:gd name="connsiteY43" fmla="*/ 1102059 h 1699373"/>
                <a:gd name="connsiteX44" fmla="*/ 441064 w 1881147"/>
                <a:gd name="connsiteY44" fmla="*/ 1171632 h 1699373"/>
                <a:gd name="connsiteX45" fmla="*/ 519111 w 1881147"/>
                <a:gd name="connsiteY45" fmla="*/ 1228095 h 1699373"/>
                <a:gd name="connsiteX46" fmla="*/ 591143 w 1881147"/>
                <a:gd name="connsiteY46" fmla="*/ 1261089 h 1699373"/>
                <a:gd name="connsiteX47" fmla="*/ 571974 w 1881147"/>
                <a:gd name="connsiteY47" fmla="*/ 1320792 h 1699373"/>
                <a:gd name="connsiteX48" fmla="*/ 662461 w 1881147"/>
                <a:gd name="connsiteY48" fmla="*/ 1473192 h 1699373"/>
                <a:gd name="connsiteX49" fmla="*/ 755271 w 1881147"/>
                <a:gd name="connsiteY49" fmla="*/ 1546346 h 1699373"/>
                <a:gd name="connsiteX50" fmla="*/ 805336 w 1881147"/>
                <a:gd name="connsiteY50" fmla="*/ 1497004 h 1699373"/>
                <a:gd name="connsiteX51" fmla="*/ 869926 w 1881147"/>
                <a:gd name="connsiteY51" fmla="*/ 1524401 h 1699373"/>
                <a:gd name="connsiteX52" fmla="*/ 924399 w 1881147"/>
                <a:gd name="connsiteY52" fmla="*/ 1492242 h 1699373"/>
                <a:gd name="connsiteX53" fmla="*/ 941246 w 1881147"/>
                <a:gd name="connsiteY53" fmla="*/ 1450066 h 1699373"/>
                <a:gd name="connsiteX54" fmla="*/ 1005123 w 1881147"/>
                <a:gd name="connsiteY54" fmla="*/ 1536478 h 1699373"/>
                <a:gd name="connsiteX55" fmla="*/ 1050190 w 1881147"/>
                <a:gd name="connsiteY55" fmla="*/ 1607572 h 1699373"/>
                <a:gd name="connsiteX56" fmla="*/ 1120136 w 1881147"/>
                <a:gd name="connsiteY56" fmla="*/ 1699091 h 1699373"/>
                <a:gd name="connsiteX57" fmla="*/ 1151034 w 1881147"/>
                <a:gd name="connsiteY57" fmla="*/ 1636000 h 1699373"/>
                <a:gd name="connsiteX58" fmla="*/ 1181693 w 1881147"/>
                <a:gd name="connsiteY58" fmla="*/ 1629520 h 1699373"/>
                <a:gd name="connsiteX59" fmla="*/ 1224792 w 1881147"/>
                <a:gd name="connsiteY59" fmla="*/ 1658783 h 1699373"/>
                <a:gd name="connsiteX60" fmla="*/ 1258367 w 1881147"/>
                <a:gd name="connsiteY60" fmla="*/ 1618129 h 1699373"/>
                <a:gd name="connsiteX61" fmla="*/ 1277188 w 1881147"/>
                <a:gd name="connsiteY61" fmla="*/ 1622746 h 1699373"/>
                <a:gd name="connsiteX62" fmla="*/ 1311230 w 1881147"/>
                <a:gd name="connsiteY62" fmla="*/ 1689223 h 1699373"/>
                <a:gd name="connsiteX63" fmla="*/ 1367786 w 1881147"/>
                <a:gd name="connsiteY63" fmla="*/ 1665754 h 1699373"/>
                <a:gd name="connsiteX64" fmla="*/ 1419818 w 1881147"/>
                <a:gd name="connsiteY64" fmla="*/ 1609633 h 1699373"/>
                <a:gd name="connsiteX65" fmla="*/ 1470595 w 1881147"/>
                <a:gd name="connsiteY65" fmla="*/ 1593090 h 1699373"/>
                <a:gd name="connsiteX66" fmla="*/ 1488274 w 1881147"/>
                <a:gd name="connsiteY66" fmla="*/ 1648912 h 1699373"/>
                <a:gd name="connsiteX67" fmla="*/ 1558169 w 1881147"/>
                <a:gd name="connsiteY67" fmla="*/ 1623234 h 1699373"/>
                <a:gd name="connsiteX68" fmla="*/ 1588947 w 1881147"/>
                <a:gd name="connsiteY68" fmla="*/ 1536478 h 1699373"/>
                <a:gd name="connsiteX69" fmla="*/ 1670383 w 1881147"/>
                <a:gd name="connsiteY69" fmla="*/ 1446336 h 1699373"/>
                <a:gd name="connsiteX70" fmla="*/ 1714974 w 1881147"/>
                <a:gd name="connsiteY70" fmla="*/ 1415206 h 1699373"/>
                <a:gd name="connsiteX71" fmla="*/ 1743343 w 1881147"/>
                <a:gd name="connsiteY71" fmla="*/ 1418501 h 1699373"/>
                <a:gd name="connsiteX72" fmla="*/ 1820935 w 1881147"/>
                <a:gd name="connsiteY72" fmla="*/ 1407893 h 1699373"/>
                <a:gd name="connsiteX73" fmla="*/ 1816054 w 1881147"/>
                <a:gd name="connsiteY73" fmla="*/ 1461457 h 1699373"/>
                <a:gd name="connsiteX74" fmla="*/ 1874221 w 1881147"/>
                <a:gd name="connsiteY74" fmla="*/ 1484778 h 1699373"/>
                <a:gd name="connsiteX75" fmla="*/ 1875829 w 1881147"/>
                <a:gd name="connsiteY75" fmla="*/ 1462144 h 1699373"/>
                <a:gd name="connsiteX76" fmla="*/ 1875051 w 1881147"/>
                <a:gd name="connsiteY76" fmla="*/ 1401410 h 1699373"/>
                <a:gd name="connsiteX77" fmla="*/ 1853086 w 1881147"/>
                <a:gd name="connsiteY77" fmla="*/ 1311267 h 1699373"/>
                <a:gd name="connsiteX78" fmla="*/ 1853086 w 1881147"/>
                <a:gd name="connsiteY78" fmla="*/ 1254117 h 1699373"/>
                <a:gd name="connsiteX79" fmla="*/ 1810224 w 1881147"/>
                <a:gd name="connsiteY79" fmla="*/ 1244592 h 1699373"/>
                <a:gd name="connsiteX80" fmla="*/ 1734024 w 1881147"/>
                <a:gd name="connsiteY80" fmla="*/ 1163629 h 1699373"/>
                <a:gd name="connsiteX81" fmla="*/ 1695924 w 1881147"/>
                <a:gd name="connsiteY81" fmla="*/ 982654 h 1699373"/>
                <a:gd name="connsiteX82" fmla="*/ 1643536 w 1881147"/>
                <a:gd name="connsiteY82" fmla="*/ 949317 h 1699373"/>
                <a:gd name="connsiteX83" fmla="*/ 1605436 w 1881147"/>
                <a:gd name="connsiteY83" fmla="*/ 892167 h 1699373"/>
                <a:gd name="connsiteX84" fmla="*/ 1557811 w 1881147"/>
                <a:gd name="connsiteY84" fmla="*/ 844542 h 1699373"/>
                <a:gd name="connsiteX85" fmla="*/ 1505424 w 1881147"/>
                <a:gd name="connsiteY85" fmla="*/ 825492 h 1699373"/>
                <a:gd name="connsiteX86" fmla="*/ 1453036 w 1881147"/>
                <a:gd name="connsiteY86" fmla="*/ 820729 h 1699373"/>
                <a:gd name="connsiteX87" fmla="*/ 1510186 w 1881147"/>
                <a:gd name="connsiteY87" fmla="*/ 787392 h 1699373"/>
                <a:gd name="connsiteX88" fmla="*/ 1476849 w 1881147"/>
                <a:gd name="connsiteY88" fmla="*/ 754054 h 1699373"/>
                <a:gd name="connsiteX89" fmla="*/ 1481611 w 1881147"/>
                <a:gd name="connsiteY89" fmla="*/ 730242 h 1699373"/>
                <a:gd name="connsiteX90" fmla="*/ 1572099 w 1881147"/>
                <a:gd name="connsiteY90" fmla="*/ 768342 h 1699373"/>
                <a:gd name="connsiteX91" fmla="*/ 1624486 w 1881147"/>
                <a:gd name="connsiteY91" fmla="*/ 701667 h 1699373"/>
                <a:gd name="connsiteX92" fmla="*/ 1622283 w 1881147"/>
                <a:gd name="connsiteY92" fmla="*/ 558792 h 1699373"/>
                <a:gd name="connsiteX93" fmla="*/ 1639486 w 1881147"/>
                <a:gd name="connsiteY93" fmla="*/ 410466 h 1699373"/>
                <a:gd name="connsiteX0" fmla="*/ 1639486 w 1881147"/>
                <a:gd name="connsiteY0" fmla="*/ 409992 h 1698899"/>
                <a:gd name="connsiteX1" fmla="*/ 1567336 w 1881147"/>
                <a:gd name="connsiteY1" fmla="*/ 377343 h 1698899"/>
                <a:gd name="connsiteX2" fmla="*/ 1477087 w 1881147"/>
                <a:gd name="connsiteY2" fmla="*/ 353530 h 1698899"/>
                <a:gd name="connsiteX3" fmla="*/ 1423767 w 1881147"/>
                <a:gd name="connsiteY3" fmla="*/ 276446 h 1698899"/>
                <a:gd name="connsiteX4" fmla="*/ 1395785 w 1881147"/>
                <a:gd name="connsiteY4" fmla="*/ 174601 h 1698899"/>
                <a:gd name="connsiteX5" fmla="*/ 1364769 w 1881147"/>
                <a:gd name="connsiteY5" fmla="*/ 6539 h 1698899"/>
                <a:gd name="connsiteX6" fmla="*/ 1282757 w 1881147"/>
                <a:gd name="connsiteY6" fmla="*/ 43131 h 1698899"/>
                <a:gd name="connsiteX7" fmla="*/ 1244198 w 1881147"/>
                <a:gd name="connsiteY7" fmla="*/ 126336 h 1698899"/>
                <a:gd name="connsiteX8" fmla="*/ 1214911 w 1881147"/>
                <a:gd name="connsiteY8" fmla="*/ 163030 h 1698899"/>
                <a:gd name="connsiteX9" fmla="*/ 1186336 w 1881147"/>
                <a:gd name="connsiteY9" fmla="*/ 191605 h 1698899"/>
                <a:gd name="connsiteX10" fmla="*/ 1176811 w 1881147"/>
                <a:gd name="connsiteY10" fmla="*/ 263043 h 1698899"/>
                <a:gd name="connsiteX11" fmla="*/ 1114899 w 1881147"/>
                <a:gd name="connsiteY11" fmla="*/ 305905 h 1698899"/>
                <a:gd name="connsiteX12" fmla="*/ 1005361 w 1881147"/>
                <a:gd name="connsiteY12" fmla="*/ 320193 h 1698899"/>
                <a:gd name="connsiteX13" fmla="*/ 962499 w 1881147"/>
                <a:gd name="connsiteY13" fmla="*/ 363055 h 1698899"/>
                <a:gd name="connsiteX14" fmla="*/ 838674 w 1881147"/>
                <a:gd name="connsiteY14" fmla="*/ 363055 h 1698899"/>
                <a:gd name="connsiteX15" fmla="*/ 781524 w 1881147"/>
                <a:gd name="connsiteY15" fmla="*/ 434493 h 1698899"/>
                <a:gd name="connsiteX16" fmla="*/ 781524 w 1881147"/>
                <a:gd name="connsiteY16" fmla="*/ 467830 h 1698899"/>
                <a:gd name="connsiteX17" fmla="*/ 743424 w 1881147"/>
                <a:gd name="connsiteY17" fmla="*/ 491643 h 1698899"/>
                <a:gd name="connsiteX18" fmla="*/ 671986 w 1881147"/>
                <a:gd name="connsiteY18" fmla="*/ 424968 h 1698899"/>
                <a:gd name="connsiteX19" fmla="*/ 519586 w 1881147"/>
                <a:gd name="connsiteY19" fmla="*/ 420205 h 1698899"/>
                <a:gd name="connsiteX20" fmla="*/ 457674 w 1881147"/>
                <a:gd name="connsiteY20" fmla="*/ 439255 h 1698899"/>
                <a:gd name="connsiteX21" fmla="*/ 419574 w 1881147"/>
                <a:gd name="connsiteY21" fmla="*/ 424968 h 1698899"/>
                <a:gd name="connsiteX22" fmla="*/ 400524 w 1881147"/>
                <a:gd name="connsiteY22" fmla="*/ 363055 h 1698899"/>
                <a:gd name="connsiteX23" fmla="*/ 333849 w 1881147"/>
                <a:gd name="connsiteY23" fmla="*/ 310668 h 1698899"/>
                <a:gd name="connsiteX24" fmla="*/ 286224 w 1881147"/>
                <a:gd name="connsiteY24" fmla="*/ 243993 h 1698899"/>
                <a:gd name="connsiteX25" fmla="*/ 143349 w 1881147"/>
                <a:gd name="connsiteY25" fmla="*/ 263043 h 1698899"/>
                <a:gd name="connsiteX26" fmla="*/ 124299 w 1881147"/>
                <a:gd name="connsiteY26" fmla="*/ 339243 h 1698899"/>
                <a:gd name="connsiteX27" fmla="*/ 110011 w 1881147"/>
                <a:gd name="connsiteY27" fmla="*/ 372580 h 1698899"/>
                <a:gd name="connsiteX28" fmla="*/ 133824 w 1881147"/>
                <a:gd name="connsiteY28" fmla="*/ 420205 h 1698899"/>
                <a:gd name="connsiteX29" fmla="*/ 81436 w 1881147"/>
                <a:gd name="connsiteY29" fmla="*/ 458305 h 1698899"/>
                <a:gd name="connsiteX30" fmla="*/ 33811 w 1881147"/>
                <a:gd name="connsiteY30" fmla="*/ 453543 h 1698899"/>
                <a:gd name="connsiteX31" fmla="*/ 33811 w 1881147"/>
                <a:gd name="connsiteY31" fmla="*/ 524980 h 1698899"/>
                <a:gd name="connsiteX32" fmla="*/ 474 w 1881147"/>
                <a:gd name="connsiteY32" fmla="*/ 629755 h 1698899"/>
                <a:gd name="connsiteX33" fmla="*/ 62386 w 1881147"/>
                <a:gd name="connsiteY33" fmla="*/ 705955 h 1698899"/>
                <a:gd name="connsiteX34" fmla="*/ 111977 w 1881147"/>
                <a:gd name="connsiteY34" fmla="*/ 686217 h 1698899"/>
                <a:gd name="connsiteX35" fmla="*/ 112334 w 1881147"/>
                <a:gd name="connsiteY35" fmla="*/ 756476 h 1698899"/>
                <a:gd name="connsiteX36" fmla="*/ 167161 w 1881147"/>
                <a:gd name="connsiteY36" fmla="*/ 786918 h 1698899"/>
                <a:gd name="connsiteX37" fmla="*/ 236159 w 1881147"/>
                <a:gd name="connsiteY37" fmla="*/ 797130 h 1698899"/>
                <a:gd name="connsiteX38" fmla="*/ 271462 w 1881147"/>
                <a:gd name="connsiteY38" fmla="*/ 853101 h 1698899"/>
                <a:gd name="connsiteX39" fmla="*/ 270869 w 1881147"/>
                <a:gd name="connsiteY39" fmla="*/ 898173 h 1698899"/>
                <a:gd name="connsiteX40" fmla="*/ 295393 w 1881147"/>
                <a:gd name="connsiteY40" fmla="*/ 937648 h 1698899"/>
                <a:gd name="connsiteX41" fmla="*/ 341051 w 1881147"/>
                <a:gd name="connsiteY41" fmla="*/ 976240 h 1698899"/>
                <a:gd name="connsiteX42" fmla="*/ 426184 w 1881147"/>
                <a:gd name="connsiteY42" fmla="*/ 1030492 h 1698899"/>
                <a:gd name="connsiteX43" fmla="*/ 461961 w 1881147"/>
                <a:gd name="connsiteY43" fmla="*/ 1101585 h 1698899"/>
                <a:gd name="connsiteX44" fmla="*/ 441064 w 1881147"/>
                <a:gd name="connsiteY44" fmla="*/ 1171158 h 1698899"/>
                <a:gd name="connsiteX45" fmla="*/ 519111 w 1881147"/>
                <a:gd name="connsiteY45" fmla="*/ 1227621 h 1698899"/>
                <a:gd name="connsiteX46" fmla="*/ 591143 w 1881147"/>
                <a:gd name="connsiteY46" fmla="*/ 1260615 h 1698899"/>
                <a:gd name="connsiteX47" fmla="*/ 571974 w 1881147"/>
                <a:gd name="connsiteY47" fmla="*/ 1320318 h 1698899"/>
                <a:gd name="connsiteX48" fmla="*/ 662461 w 1881147"/>
                <a:gd name="connsiteY48" fmla="*/ 1472718 h 1698899"/>
                <a:gd name="connsiteX49" fmla="*/ 755271 w 1881147"/>
                <a:gd name="connsiteY49" fmla="*/ 1545872 h 1698899"/>
                <a:gd name="connsiteX50" fmla="*/ 805336 w 1881147"/>
                <a:gd name="connsiteY50" fmla="*/ 1496530 h 1698899"/>
                <a:gd name="connsiteX51" fmla="*/ 869926 w 1881147"/>
                <a:gd name="connsiteY51" fmla="*/ 1523927 h 1698899"/>
                <a:gd name="connsiteX52" fmla="*/ 924399 w 1881147"/>
                <a:gd name="connsiteY52" fmla="*/ 1491768 h 1698899"/>
                <a:gd name="connsiteX53" fmla="*/ 941246 w 1881147"/>
                <a:gd name="connsiteY53" fmla="*/ 1449592 h 1698899"/>
                <a:gd name="connsiteX54" fmla="*/ 1005123 w 1881147"/>
                <a:gd name="connsiteY54" fmla="*/ 1536004 h 1698899"/>
                <a:gd name="connsiteX55" fmla="*/ 1050190 w 1881147"/>
                <a:gd name="connsiteY55" fmla="*/ 1607098 h 1698899"/>
                <a:gd name="connsiteX56" fmla="*/ 1120136 w 1881147"/>
                <a:gd name="connsiteY56" fmla="*/ 1698617 h 1698899"/>
                <a:gd name="connsiteX57" fmla="*/ 1151034 w 1881147"/>
                <a:gd name="connsiteY57" fmla="*/ 1635526 h 1698899"/>
                <a:gd name="connsiteX58" fmla="*/ 1181693 w 1881147"/>
                <a:gd name="connsiteY58" fmla="*/ 1629046 h 1698899"/>
                <a:gd name="connsiteX59" fmla="*/ 1224792 w 1881147"/>
                <a:gd name="connsiteY59" fmla="*/ 1658309 h 1698899"/>
                <a:gd name="connsiteX60" fmla="*/ 1258367 w 1881147"/>
                <a:gd name="connsiteY60" fmla="*/ 1617655 h 1698899"/>
                <a:gd name="connsiteX61" fmla="*/ 1277188 w 1881147"/>
                <a:gd name="connsiteY61" fmla="*/ 1622272 h 1698899"/>
                <a:gd name="connsiteX62" fmla="*/ 1311230 w 1881147"/>
                <a:gd name="connsiteY62" fmla="*/ 1688749 h 1698899"/>
                <a:gd name="connsiteX63" fmla="*/ 1367786 w 1881147"/>
                <a:gd name="connsiteY63" fmla="*/ 1665280 h 1698899"/>
                <a:gd name="connsiteX64" fmla="*/ 1419818 w 1881147"/>
                <a:gd name="connsiteY64" fmla="*/ 1609159 h 1698899"/>
                <a:gd name="connsiteX65" fmla="*/ 1470595 w 1881147"/>
                <a:gd name="connsiteY65" fmla="*/ 1592616 h 1698899"/>
                <a:gd name="connsiteX66" fmla="*/ 1488274 w 1881147"/>
                <a:gd name="connsiteY66" fmla="*/ 1648438 h 1698899"/>
                <a:gd name="connsiteX67" fmla="*/ 1558169 w 1881147"/>
                <a:gd name="connsiteY67" fmla="*/ 1622760 h 1698899"/>
                <a:gd name="connsiteX68" fmla="*/ 1588947 w 1881147"/>
                <a:gd name="connsiteY68" fmla="*/ 1536004 h 1698899"/>
                <a:gd name="connsiteX69" fmla="*/ 1670383 w 1881147"/>
                <a:gd name="connsiteY69" fmla="*/ 1445862 h 1698899"/>
                <a:gd name="connsiteX70" fmla="*/ 1714974 w 1881147"/>
                <a:gd name="connsiteY70" fmla="*/ 1414732 h 1698899"/>
                <a:gd name="connsiteX71" fmla="*/ 1743343 w 1881147"/>
                <a:gd name="connsiteY71" fmla="*/ 1418027 h 1698899"/>
                <a:gd name="connsiteX72" fmla="*/ 1820935 w 1881147"/>
                <a:gd name="connsiteY72" fmla="*/ 1407419 h 1698899"/>
                <a:gd name="connsiteX73" fmla="*/ 1816054 w 1881147"/>
                <a:gd name="connsiteY73" fmla="*/ 1460983 h 1698899"/>
                <a:gd name="connsiteX74" fmla="*/ 1874221 w 1881147"/>
                <a:gd name="connsiteY74" fmla="*/ 1484304 h 1698899"/>
                <a:gd name="connsiteX75" fmla="*/ 1875829 w 1881147"/>
                <a:gd name="connsiteY75" fmla="*/ 1461670 h 1698899"/>
                <a:gd name="connsiteX76" fmla="*/ 1875051 w 1881147"/>
                <a:gd name="connsiteY76" fmla="*/ 1400936 h 1698899"/>
                <a:gd name="connsiteX77" fmla="*/ 1853086 w 1881147"/>
                <a:gd name="connsiteY77" fmla="*/ 1310793 h 1698899"/>
                <a:gd name="connsiteX78" fmla="*/ 1853086 w 1881147"/>
                <a:gd name="connsiteY78" fmla="*/ 1253643 h 1698899"/>
                <a:gd name="connsiteX79" fmla="*/ 1810224 w 1881147"/>
                <a:gd name="connsiteY79" fmla="*/ 1244118 h 1698899"/>
                <a:gd name="connsiteX80" fmla="*/ 1734024 w 1881147"/>
                <a:gd name="connsiteY80" fmla="*/ 1163155 h 1698899"/>
                <a:gd name="connsiteX81" fmla="*/ 1695924 w 1881147"/>
                <a:gd name="connsiteY81" fmla="*/ 982180 h 1698899"/>
                <a:gd name="connsiteX82" fmla="*/ 1643536 w 1881147"/>
                <a:gd name="connsiteY82" fmla="*/ 948843 h 1698899"/>
                <a:gd name="connsiteX83" fmla="*/ 1605436 w 1881147"/>
                <a:gd name="connsiteY83" fmla="*/ 891693 h 1698899"/>
                <a:gd name="connsiteX84" fmla="*/ 1557811 w 1881147"/>
                <a:gd name="connsiteY84" fmla="*/ 844068 h 1698899"/>
                <a:gd name="connsiteX85" fmla="*/ 1505424 w 1881147"/>
                <a:gd name="connsiteY85" fmla="*/ 825018 h 1698899"/>
                <a:gd name="connsiteX86" fmla="*/ 1453036 w 1881147"/>
                <a:gd name="connsiteY86" fmla="*/ 820255 h 1698899"/>
                <a:gd name="connsiteX87" fmla="*/ 1510186 w 1881147"/>
                <a:gd name="connsiteY87" fmla="*/ 786918 h 1698899"/>
                <a:gd name="connsiteX88" fmla="*/ 1476849 w 1881147"/>
                <a:gd name="connsiteY88" fmla="*/ 753580 h 1698899"/>
                <a:gd name="connsiteX89" fmla="*/ 1481611 w 1881147"/>
                <a:gd name="connsiteY89" fmla="*/ 729768 h 1698899"/>
                <a:gd name="connsiteX90" fmla="*/ 1572099 w 1881147"/>
                <a:gd name="connsiteY90" fmla="*/ 767868 h 1698899"/>
                <a:gd name="connsiteX91" fmla="*/ 1624486 w 1881147"/>
                <a:gd name="connsiteY91" fmla="*/ 701193 h 1698899"/>
                <a:gd name="connsiteX92" fmla="*/ 1622283 w 1881147"/>
                <a:gd name="connsiteY92" fmla="*/ 558318 h 1698899"/>
                <a:gd name="connsiteX93" fmla="*/ 1639486 w 1881147"/>
                <a:gd name="connsiteY93" fmla="*/ 409992 h 1698899"/>
                <a:gd name="connsiteX0" fmla="*/ 1639486 w 1881147"/>
                <a:gd name="connsiteY0" fmla="*/ 410565 h 1699472"/>
                <a:gd name="connsiteX1" fmla="*/ 1567336 w 1881147"/>
                <a:gd name="connsiteY1" fmla="*/ 377916 h 1699472"/>
                <a:gd name="connsiteX2" fmla="*/ 1477087 w 1881147"/>
                <a:gd name="connsiteY2" fmla="*/ 354103 h 1699472"/>
                <a:gd name="connsiteX3" fmla="*/ 1423767 w 1881147"/>
                <a:gd name="connsiteY3" fmla="*/ 277019 h 1699472"/>
                <a:gd name="connsiteX4" fmla="*/ 1395785 w 1881147"/>
                <a:gd name="connsiteY4" fmla="*/ 175174 h 1699472"/>
                <a:gd name="connsiteX5" fmla="*/ 1364769 w 1881147"/>
                <a:gd name="connsiteY5" fmla="*/ 7112 h 1699472"/>
                <a:gd name="connsiteX6" fmla="*/ 1282757 w 1881147"/>
                <a:gd name="connsiteY6" fmla="*/ 43704 h 1699472"/>
                <a:gd name="connsiteX7" fmla="*/ 1275927 w 1881147"/>
                <a:gd name="connsiteY7" fmla="*/ 157546 h 1699472"/>
                <a:gd name="connsiteX8" fmla="*/ 1214911 w 1881147"/>
                <a:gd name="connsiteY8" fmla="*/ 163603 h 1699472"/>
                <a:gd name="connsiteX9" fmla="*/ 1186336 w 1881147"/>
                <a:gd name="connsiteY9" fmla="*/ 192178 h 1699472"/>
                <a:gd name="connsiteX10" fmla="*/ 1176811 w 1881147"/>
                <a:gd name="connsiteY10" fmla="*/ 263616 h 1699472"/>
                <a:gd name="connsiteX11" fmla="*/ 1114899 w 1881147"/>
                <a:gd name="connsiteY11" fmla="*/ 306478 h 1699472"/>
                <a:gd name="connsiteX12" fmla="*/ 1005361 w 1881147"/>
                <a:gd name="connsiteY12" fmla="*/ 320766 h 1699472"/>
                <a:gd name="connsiteX13" fmla="*/ 962499 w 1881147"/>
                <a:gd name="connsiteY13" fmla="*/ 363628 h 1699472"/>
                <a:gd name="connsiteX14" fmla="*/ 838674 w 1881147"/>
                <a:gd name="connsiteY14" fmla="*/ 363628 h 1699472"/>
                <a:gd name="connsiteX15" fmla="*/ 781524 w 1881147"/>
                <a:gd name="connsiteY15" fmla="*/ 435066 h 1699472"/>
                <a:gd name="connsiteX16" fmla="*/ 781524 w 1881147"/>
                <a:gd name="connsiteY16" fmla="*/ 468403 h 1699472"/>
                <a:gd name="connsiteX17" fmla="*/ 743424 w 1881147"/>
                <a:gd name="connsiteY17" fmla="*/ 492216 h 1699472"/>
                <a:gd name="connsiteX18" fmla="*/ 671986 w 1881147"/>
                <a:gd name="connsiteY18" fmla="*/ 425541 h 1699472"/>
                <a:gd name="connsiteX19" fmla="*/ 519586 w 1881147"/>
                <a:gd name="connsiteY19" fmla="*/ 420778 h 1699472"/>
                <a:gd name="connsiteX20" fmla="*/ 457674 w 1881147"/>
                <a:gd name="connsiteY20" fmla="*/ 439828 h 1699472"/>
                <a:gd name="connsiteX21" fmla="*/ 419574 w 1881147"/>
                <a:gd name="connsiteY21" fmla="*/ 425541 h 1699472"/>
                <a:gd name="connsiteX22" fmla="*/ 400524 w 1881147"/>
                <a:gd name="connsiteY22" fmla="*/ 363628 h 1699472"/>
                <a:gd name="connsiteX23" fmla="*/ 333849 w 1881147"/>
                <a:gd name="connsiteY23" fmla="*/ 311241 h 1699472"/>
                <a:gd name="connsiteX24" fmla="*/ 286224 w 1881147"/>
                <a:gd name="connsiteY24" fmla="*/ 244566 h 1699472"/>
                <a:gd name="connsiteX25" fmla="*/ 143349 w 1881147"/>
                <a:gd name="connsiteY25" fmla="*/ 263616 h 1699472"/>
                <a:gd name="connsiteX26" fmla="*/ 124299 w 1881147"/>
                <a:gd name="connsiteY26" fmla="*/ 339816 h 1699472"/>
                <a:gd name="connsiteX27" fmla="*/ 110011 w 1881147"/>
                <a:gd name="connsiteY27" fmla="*/ 373153 h 1699472"/>
                <a:gd name="connsiteX28" fmla="*/ 133824 w 1881147"/>
                <a:gd name="connsiteY28" fmla="*/ 420778 h 1699472"/>
                <a:gd name="connsiteX29" fmla="*/ 81436 w 1881147"/>
                <a:gd name="connsiteY29" fmla="*/ 458878 h 1699472"/>
                <a:gd name="connsiteX30" fmla="*/ 33811 w 1881147"/>
                <a:gd name="connsiteY30" fmla="*/ 454116 h 1699472"/>
                <a:gd name="connsiteX31" fmla="*/ 33811 w 1881147"/>
                <a:gd name="connsiteY31" fmla="*/ 525553 h 1699472"/>
                <a:gd name="connsiteX32" fmla="*/ 474 w 1881147"/>
                <a:gd name="connsiteY32" fmla="*/ 630328 h 1699472"/>
                <a:gd name="connsiteX33" fmla="*/ 62386 w 1881147"/>
                <a:gd name="connsiteY33" fmla="*/ 706528 h 1699472"/>
                <a:gd name="connsiteX34" fmla="*/ 111977 w 1881147"/>
                <a:gd name="connsiteY34" fmla="*/ 686790 h 1699472"/>
                <a:gd name="connsiteX35" fmla="*/ 112334 w 1881147"/>
                <a:gd name="connsiteY35" fmla="*/ 757049 h 1699472"/>
                <a:gd name="connsiteX36" fmla="*/ 167161 w 1881147"/>
                <a:gd name="connsiteY36" fmla="*/ 787491 h 1699472"/>
                <a:gd name="connsiteX37" fmla="*/ 236159 w 1881147"/>
                <a:gd name="connsiteY37" fmla="*/ 797703 h 1699472"/>
                <a:gd name="connsiteX38" fmla="*/ 271462 w 1881147"/>
                <a:gd name="connsiteY38" fmla="*/ 853674 h 1699472"/>
                <a:gd name="connsiteX39" fmla="*/ 270869 w 1881147"/>
                <a:gd name="connsiteY39" fmla="*/ 898746 h 1699472"/>
                <a:gd name="connsiteX40" fmla="*/ 295393 w 1881147"/>
                <a:gd name="connsiteY40" fmla="*/ 938221 h 1699472"/>
                <a:gd name="connsiteX41" fmla="*/ 341051 w 1881147"/>
                <a:gd name="connsiteY41" fmla="*/ 976813 h 1699472"/>
                <a:gd name="connsiteX42" fmla="*/ 426184 w 1881147"/>
                <a:gd name="connsiteY42" fmla="*/ 1031065 h 1699472"/>
                <a:gd name="connsiteX43" fmla="*/ 461961 w 1881147"/>
                <a:gd name="connsiteY43" fmla="*/ 1102158 h 1699472"/>
                <a:gd name="connsiteX44" fmla="*/ 441064 w 1881147"/>
                <a:gd name="connsiteY44" fmla="*/ 1171731 h 1699472"/>
                <a:gd name="connsiteX45" fmla="*/ 519111 w 1881147"/>
                <a:gd name="connsiteY45" fmla="*/ 1228194 h 1699472"/>
                <a:gd name="connsiteX46" fmla="*/ 591143 w 1881147"/>
                <a:gd name="connsiteY46" fmla="*/ 1261188 h 1699472"/>
                <a:gd name="connsiteX47" fmla="*/ 571974 w 1881147"/>
                <a:gd name="connsiteY47" fmla="*/ 1320891 h 1699472"/>
                <a:gd name="connsiteX48" fmla="*/ 662461 w 1881147"/>
                <a:gd name="connsiteY48" fmla="*/ 1473291 h 1699472"/>
                <a:gd name="connsiteX49" fmla="*/ 755271 w 1881147"/>
                <a:gd name="connsiteY49" fmla="*/ 1546445 h 1699472"/>
                <a:gd name="connsiteX50" fmla="*/ 805336 w 1881147"/>
                <a:gd name="connsiteY50" fmla="*/ 1497103 h 1699472"/>
                <a:gd name="connsiteX51" fmla="*/ 869926 w 1881147"/>
                <a:gd name="connsiteY51" fmla="*/ 1524500 h 1699472"/>
                <a:gd name="connsiteX52" fmla="*/ 924399 w 1881147"/>
                <a:gd name="connsiteY52" fmla="*/ 1492341 h 1699472"/>
                <a:gd name="connsiteX53" fmla="*/ 941246 w 1881147"/>
                <a:gd name="connsiteY53" fmla="*/ 1450165 h 1699472"/>
                <a:gd name="connsiteX54" fmla="*/ 1005123 w 1881147"/>
                <a:gd name="connsiteY54" fmla="*/ 1536577 h 1699472"/>
                <a:gd name="connsiteX55" fmla="*/ 1050190 w 1881147"/>
                <a:gd name="connsiteY55" fmla="*/ 1607671 h 1699472"/>
                <a:gd name="connsiteX56" fmla="*/ 1120136 w 1881147"/>
                <a:gd name="connsiteY56" fmla="*/ 1699190 h 1699472"/>
                <a:gd name="connsiteX57" fmla="*/ 1151034 w 1881147"/>
                <a:gd name="connsiteY57" fmla="*/ 1636099 h 1699472"/>
                <a:gd name="connsiteX58" fmla="*/ 1181693 w 1881147"/>
                <a:gd name="connsiteY58" fmla="*/ 1629619 h 1699472"/>
                <a:gd name="connsiteX59" fmla="*/ 1224792 w 1881147"/>
                <a:gd name="connsiteY59" fmla="*/ 1658882 h 1699472"/>
                <a:gd name="connsiteX60" fmla="*/ 1258367 w 1881147"/>
                <a:gd name="connsiteY60" fmla="*/ 1618228 h 1699472"/>
                <a:gd name="connsiteX61" fmla="*/ 1277188 w 1881147"/>
                <a:gd name="connsiteY61" fmla="*/ 1622845 h 1699472"/>
                <a:gd name="connsiteX62" fmla="*/ 1311230 w 1881147"/>
                <a:gd name="connsiteY62" fmla="*/ 1689322 h 1699472"/>
                <a:gd name="connsiteX63" fmla="*/ 1367786 w 1881147"/>
                <a:gd name="connsiteY63" fmla="*/ 1665853 h 1699472"/>
                <a:gd name="connsiteX64" fmla="*/ 1419818 w 1881147"/>
                <a:gd name="connsiteY64" fmla="*/ 1609732 h 1699472"/>
                <a:gd name="connsiteX65" fmla="*/ 1470595 w 1881147"/>
                <a:gd name="connsiteY65" fmla="*/ 1593189 h 1699472"/>
                <a:gd name="connsiteX66" fmla="*/ 1488274 w 1881147"/>
                <a:gd name="connsiteY66" fmla="*/ 1649011 h 1699472"/>
                <a:gd name="connsiteX67" fmla="*/ 1558169 w 1881147"/>
                <a:gd name="connsiteY67" fmla="*/ 1623333 h 1699472"/>
                <a:gd name="connsiteX68" fmla="*/ 1588947 w 1881147"/>
                <a:gd name="connsiteY68" fmla="*/ 1536577 h 1699472"/>
                <a:gd name="connsiteX69" fmla="*/ 1670383 w 1881147"/>
                <a:gd name="connsiteY69" fmla="*/ 1446435 h 1699472"/>
                <a:gd name="connsiteX70" fmla="*/ 1714974 w 1881147"/>
                <a:gd name="connsiteY70" fmla="*/ 1415305 h 1699472"/>
                <a:gd name="connsiteX71" fmla="*/ 1743343 w 1881147"/>
                <a:gd name="connsiteY71" fmla="*/ 1418600 h 1699472"/>
                <a:gd name="connsiteX72" fmla="*/ 1820935 w 1881147"/>
                <a:gd name="connsiteY72" fmla="*/ 1407992 h 1699472"/>
                <a:gd name="connsiteX73" fmla="*/ 1816054 w 1881147"/>
                <a:gd name="connsiteY73" fmla="*/ 1461556 h 1699472"/>
                <a:gd name="connsiteX74" fmla="*/ 1874221 w 1881147"/>
                <a:gd name="connsiteY74" fmla="*/ 1484877 h 1699472"/>
                <a:gd name="connsiteX75" fmla="*/ 1875829 w 1881147"/>
                <a:gd name="connsiteY75" fmla="*/ 1462243 h 1699472"/>
                <a:gd name="connsiteX76" fmla="*/ 1875051 w 1881147"/>
                <a:gd name="connsiteY76" fmla="*/ 1401509 h 1699472"/>
                <a:gd name="connsiteX77" fmla="*/ 1853086 w 1881147"/>
                <a:gd name="connsiteY77" fmla="*/ 1311366 h 1699472"/>
                <a:gd name="connsiteX78" fmla="*/ 1853086 w 1881147"/>
                <a:gd name="connsiteY78" fmla="*/ 1254216 h 1699472"/>
                <a:gd name="connsiteX79" fmla="*/ 1810224 w 1881147"/>
                <a:gd name="connsiteY79" fmla="*/ 1244691 h 1699472"/>
                <a:gd name="connsiteX80" fmla="*/ 1734024 w 1881147"/>
                <a:gd name="connsiteY80" fmla="*/ 1163728 h 1699472"/>
                <a:gd name="connsiteX81" fmla="*/ 1695924 w 1881147"/>
                <a:gd name="connsiteY81" fmla="*/ 982753 h 1699472"/>
                <a:gd name="connsiteX82" fmla="*/ 1643536 w 1881147"/>
                <a:gd name="connsiteY82" fmla="*/ 949416 h 1699472"/>
                <a:gd name="connsiteX83" fmla="*/ 1605436 w 1881147"/>
                <a:gd name="connsiteY83" fmla="*/ 892266 h 1699472"/>
                <a:gd name="connsiteX84" fmla="*/ 1557811 w 1881147"/>
                <a:gd name="connsiteY84" fmla="*/ 844641 h 1699472"/>
                <a:gd name="connsiteX85" fmla="*/ 1505424 w 1881147"/>
                <a:gd name="connsiteY85" fmla="*/ 825591 h 1699472"/>
                <a:gd name="connsiteX86" fmla="*/ 1453036 w 1881147"/>
                <a:gd name="connsiteY86" fmla="*/ 820828 h 1699472"/>
                <a:gd name="connsiteX87" fmla="*/ 1510186 w 1881147"/>
                <a:gd name="connsiteY87" fmla="*/ 787491 h 1699472"/>
                <a:gd name="connsiteX88" fmla="*/ 1476849 w 1881147"/>
                <a:gd name="connsiteY88" fmla="*/ 754153 h 1699472"/>
                <a:gd name="connsiteX89" fmla="*/ 1481611 w 1881147"/>
                <a:gd name="connsiteY89" fmla="*/ 730341 h 1699472"/>
                <a:gd name="connsiteX90" fmla="*/ 1572099 w 1881147"/>
                <a:gd name="connsiteY90" fmla="*/ 768441 h 1699472"/>
                <a:gd name="connsiteX91" fmla="*/ 1624486 w 1881147"/>
                <a:gd name="connsiteY91" fmla="*/ 701766 h 1699472"/>
                <a:gd name="connsiteX92" fmla="*/ 1622283 w 1881147"/>
                <a:gd name="connsiteY92" fmla="*/ 558891 h 1699472"/>
                <a:gd name="connsiteX93" fmla="*/ 1639486 w 1881147"/>
                <a:gd name="connsiteY93" fmla="*/ 410565 h 1699472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8922 h 1697829"/>
                <a:gd name="connsiteX1" fmla="*/ 1567336 w 1881147"/>
                <a:gd name="connsiteY1" fmla="*/ 376273 h 1697829"/>
                <a:gd name="connsiteX2" fmla="*/ 1477087 w 1881147"/>
                <a:gd name="connsiteY2" fmla="*/ 352460 h 1697829"/>
                <a:gd name="connsiteX3" fmla="*/ 1423767 w 1881147"/>
                <a:gd name="connsiteY3" fmla="*/ 275376 h 1697829"/>
                <a:gd name="connsiteX4" fmla="*/ 1395785 w 1881147"/>
                <a:gd name="connsiteY4" fmla="*/ 173531 h 1697829"/>
                <a:gd name="connsiteX5" fmla="*/ 1364769 w 1881147"/>
                <a:gd name="connsiteY5" fmla="*/ 5469 h 1697829"/>
                <a:gd name="connsiteX6" fmla="*/ 1282757 w 1881147"/>
                <a:gd name="connsiteY6" fmla="*/ 42061 h 1697829"/>
                <a:gd name="connsiteX7" fmla="*/ 1294272 w 1881147"/>
                <a:gd name="connsiteY7" fmla="*/ 53629 h 1697829"/>
                <a:gd name="connsiteX8" fmla="*/ 1275927 w 1881147"/>
                <a:gd name="connsiteY8" fmla="*/ 155903 h 1697829"/>
                <a:gd name="connsiteX9" fmla="*/ 1214911 w 1881147"/>
                <a:gd name="connsiteY9" fmla="*/ 161960 h 1697829"/>
                <a:gd name="connsiteX10" fmla="*/ 1186336 w 1881147"/>
                <a:gd name="connsiteY10" fmla="*/ 190535 h 1697829"/>
                <a:gd name="connsiteX11" fmla="*/ 1176811 w 1881147"/>
                <a:gd name="connsiteY11" fmla="*/ 261973 h 1697829"/>
                <a:gd name="connsiteX12" fmla="*/ 1114899 w 1881147"/>
                <a:gd name="connsiteY12" fmla="*/ 304835 h 1697829"/>
                <a:gd name="connsiteX13" fmla="*/ 1005361 w 1881147"/>
                <a:gd name="connsiteY13" fmla="*/ 319123 h 1697829"/>
                <a:gd name="connsiteX14" fmla="*/ 962499 w 1881147"/>
                <a:gd name="connsiteY14" fmla="*/ 361985 h 1697829"/>
                <a:gd name="connsiteX15" fmla="*/ 838674 w 1881147"/>
                <a:gd name="connsiteY15" fmla="*/ 361985 h 1697829"/>
                <a:gd name="connsiteX16" fmla="*/ 781524 w 1881147"/>
                <a:gd name="connsiteY16" fmla="*/ 433423 h 1697829"/>
                <a:gd name="connsiteX17" fmla="*/ 781524 w 1881147"/>
                <a:gd name="connsiteY17" fmla="*/ 466760 h 1697829"/>
                <a:gd name="connsiteX18" fmla="*/ 743424 w 1881147"/>
                <a:gd name="connsiteY18" fmla="*/ 490573 h 1697829"/>
                <a:gd name="connsiteX19" fmla="*/ 671986 w 1881147"/>
                <a:gd name="connsiteY19" fmla="*/ 423898 h 1697829"/>
                <a:gd name="connsiteX20" fmla="*/ 519586 w 1881147"/>
                <a:gd name="connsiteY20" fmla="*/ 419135 h 1697829"/>
                <a:gd name="connsiteX21" fmla="*/ 457674 w 1881147"/>
                <a:gd name="connsiteY21" fmla="*/ 438185 h 1697829"/>
                <a:gd name="connsiteX22" fmla="*/ 419574 w 1881147"/>
                <a:gd name="connsiteY22" fmla="*/ 423898 h 1697829"/>
                <a:gd name="connsiteX23" fmla="*/ 400524 w 1881147"/>
                <a:gd name="connsiteY23" fmla="*/ 361985 h 1697829"/>
                <a:gd name="connsiteX24" fmla="*/ 333849 w 1881147"/>
                <a:gd name="connsiteY24" fmla="*/ 309598 h 1697829"/>
                <a:gd name="connsiteX25" fmla="*/ 286224 w 1881147"/>
                <a:gd name="connsiteY25" fmla="*/ 242923 h 1697829"/>
                <a:gd name="connsiteX26" fmla="*/ 143349 w 1881147"/>
                <a:gd name="connsiteY26" fmla="*/ 261973 h 1697829"/>
                <a:gd name="connsiteX27" fmla="*/ 124299 w 1881147"/>
                <a:gd name="connsiteY27" fmla="*/ 338173 h 1697829"/>
                <a:gd name="connsiteX28" fmla="*/ 110011 w 1881147"/>
                <a:gd name="connsiteY28" fmla="*/ 371510 h 1697829"/>
                <a:gd name="connsiteX29" fmla="*/ 133824 w 1881147"/>
                <a:gd name="connsiteY29" fmla="*/ 419135 h 1697829"/>
                <a:gd name="connsiteX30" fmla="*/ 81436 w 1881147"/>
                <a:gd name="connsiteY30" fmla="*/ 457235 h 1697829"/>
                <a:gd name="connsiteX31" fmla="*/ 33811 w 1881147"/>
                <a:gd name="connsiteY31" fmla="*/ 452473 h 1697829"/>
                <a:gd name="connsiteX32" fmla="*/ 33811 w 1881147"/>
                <a:gd name="connsiteY32" fmla="*/ 523910 h 1697829"/>
                <a:gd name="connsiteX33" fmla="*/ 474 w 1881147"/>
                <a:gd name="connsiteY33" fmla="*/ 628685 h 1697829"/>
                <a:gd name="connsiteX34" fmla="*/ 62386 w 1881147"/>
                <a:gd name="connsiteY34" fmla="*/ 704885 h 1697829"/>
                <a:gd name="connsiteX35" fmla="*/ 111977 w 1881147"/>
                <a:gd name="connsiteY35" fmla="*/ 685147 h 1697829"/>
                <a:gd name="connsiteX36" fmla="*/ 112334 w 1881147"/>
                <a:gd name="connsiteY36" fmla="*/ 755406 h 1697829"/>
                <a:gd name="connsiteX37" fmla="*/ 167161 w 1881147"/>
                <a:gd name="connsiteY37" fmla="*/ 785848 h 1697829"/>
                <a:gd name="connsiteX38" fmla="*/ 236159 w 1881147"/>
                <a:gd name="connsiteY38" fmla="*/ 796060 h 1697829"/>
                <a:gd name="connsiteX39" fmla="*/ 271462 w 1881147"/>
                <a:gd name="connsiteY39" fmla="*/ 852031 h 1697829"/>
                <a:gd name="connsiteX40" fmla="*/ 270869 w 1881147"/>
                <a:gd name="connsiteY40" fmla="*/ 897103 h 1697829"/>
                <a:gd name="connsiteX41" fmla="*/ 295393 w 1881147"/>
                <a:gd name="connsiteY41" fmla="*/ 936578 h 1697829"/>
                <a:gd name="connsiteX42" fmla="*/ 341051 w 1881147"/>
                <a:gd name="connsiteY42" fmla="*/ 975170 h 1697829"/>
                <a:gd name="connsiteX43" fmla="*/ 426184 w 1881147"/>
                <a:gd name="connsiteY43" fmla="*/ 1029422 h 1697829"/>
                <a:gd name="connsiteX44" fmla="*/ 461961 w 1881147"/>
                <a:gd name="connsiteY44" fmla="*/ 1100515 h 1697829"/>
                <a:gd name="connsiteX45" fmla="*/ 441064 w 1881147"/>
                <a:gd name="connsiteY45" fmla="*/ 1170088 h 1697829"/>
                <a:gd name="connsiteX46" fmla="*/ 519111 w 1881147"/>
                <a:gd name="connsiteY46" fmla="*/ 1226551 h 1697829"/>
                <a:gd name="connsiteX47" fmla="*/ 591143 w 1881147"/>
                <a:gd name="connsiteY47" fmla="*/ 1259545 h 1697829"/>
                <a:gd name="connsiteX48" fmla="*/ 571974 w 1881147"/>
                <a:gd name="connsiteY48" fmla="*/ 1319248 h 1697829"/>
                <a:gd name="connsiteX49" fmla="*/ 662461 w 1881147"/>
                <a:gd name="connsiteY49" fmla="*/ 1471648 h 1697829"/>
                <a:gd name="connsiteX50" fmla="*/ 755271 w 1881147"/>
                <a:gd name="connsiteY50" fmla="*/ 1544802 h 1697829"/>
                <a:gd name="connsiteX51" fmla="*/ 805336 w 1881147"/>
                <a:gd name="connsiteY51" fmla="*/ 1495460 h 1697829"/>
                <a:gd name="connsiteX52" fmla="*/ 869926 w 1881147"/>
                <a:gd name="connsiteY52" fmla="*/ 1522857 h 1697829"/>
                <a:gd name="connsiteX53" fmla="*/ 924399 w 1881147"/>
                <a:gd name="connsiteY53" fmla="*/ 1490698 h 1697829"/>
                <a:gd name="connsiteX54" fmla="*/ 941246 w 1881147"/>
                <a:gd name="connsiteY54" fmla="*/ 1448522 h 1697829"/>
                <a:gd name="connsiteX55" fmla="*/ 1005123 w 1881147"/>
                <a:gd name="connsiteY55" fmla="*/ 1534934 h 1697829"/>
                <a:gd name="connsiteX56" fmla="*/ 1050190 w 1881147"/>
                <a:gd name="connsiteY56" fmla="*/ 1606028 h 1697829"/>
                <a:gd name="connsiteX57" fmla="*/ 1120136 w 1881147"/>
                <a:gd name="connsiteY57" fmla="*/ 1697547 h 1697829"/>
                <a:gd name="connsiteX58" fmla="*/ 1151034 w 1881147"/>
                <a:gd name="connsiteY58" fmla="*/ 1634456 h 1697829"/>
                <a:gd name="connsiteX59" fmla="*/ 1181693 w 1881147"/>
                <a:gd name="connsiteY59" fmla="*/ 1627976 h 1697829"/>
                <a:gd name="connsiteX60" fmla="*/ 1224792 w 1881147"/>
                <a:gd name="connsiteY60" fmla="*/ 1657239 h 1697829"/>
                <a:gd name="connsiteX61" fmla="*/ 1258367 w 1881147"/>
                <a:gd name="connsiteY61" fmla="*/ 1616585 h 1697829"/>
                <a:gd name="connsiteX62" fmla="*/ 1277188 w 1881147"/>
                <a:gd name="connsiteY62" fmla="*/ 1621202 h 1697829"/>
                <a:gd name="connsiteX63" fmla="*/ 1311230 w 1881147"/>
                <a:gd name="connsiteY63" fmla="*/ 1687679 h 1697829"/>
                <a:gd name="connsiteX64" fmla="*/ 1367786 w 1881147"/>
                <a:gd name="connsiteY64" fmla="*/ 1664210 h 1697829"/>
                <a:gd name="connsiteX65" fmla="*/ 1419818 w 1881147"/>
                <a:gd name="connsiteY65" fmla="*/ 1608089 h 1697829"/>
                <a:gd name="connsiteX66" fmla="*/ 1470595 w 1881147"/>
                <a:gd name="connsiteY66" fmla="*/ 1591546 h 1697829"/>
                <a:gd name="connsiteX67" fmla="*/ 1488274 w 1881147"/>
                <a:gd name="connsiteY67" fmla="*/ 1647368 h 1697829"/>
                <a:gd name="connsiteX68" fmla="*/ 1558169 w 1881147"/>
                <a:gd name="connsiteY68" fmla="*/ 1621690 h 1697829"/>
                <a:gd name="connsiteX69" fmla="*/ 1588947 w 1881147"/>
                <a:gd name="connsiteY69" fmla="*/ 1534934 h 1697829"/>
                <a:gd name="connsiteX70" fmla="*/ 1670383 w 1881147"/>
                <a:gd name="connsiteY70" fmla="*/ 1444792 h 1697829"/>
                <a:gd name="connsiteX71" fmla="*/ 1714974 w 1881147"/>
                <a:gd name="connsiteY71" fmla="*/ 1413662 h 1697829"/>
                <a:gd name="connsiteX72" fmla="*/ 1743343 w 1881147"/>
                <a:gd name="connsiteY72" fmla="*/ 1416957 h 1697829"/>
                <a:gd name="connsiteX73" fmla="*/ 1820935 w 1881147"/>
                <a:gd name="connsiteY73" fmla="*/ 1406349 h 1697829"/>
                <a:gd name="connsiteX74" fmla="*/ 1816054 w 1881147"/>
                <a:gd name="connsiteY74" fmla="*/ 1459913 h 1697829"/>
                <a:gd name="connsiteX75" fmla="*/ 1874221 w 1881147"/>
                <a:gd name="connsiteY75" fmla="*/ 1483234 h 1697829"/>
                <a:gd name="connsiteX76" fmla="*/ 1875829 w 1881147"/>
                <a:gd name="connsiteY76" fmla="*/ 1460600 h 1697829"/>
                <a:gd name="connsiteX77" fmla="*/ 1875051 w 1881147"/>
                <a:gd name="connsiteY77" fmla="*/ 1399866 h 1697829"/>
                <a:gd name="connsiteX78" fmla="*/ 1853086 w 1881147"/>
                <a:gd name="connsiteY78" fmla="*/ 1309723 h 1697829"/>
                <a:gd name="connsiteX79" fmla="*/ 1853086 w 1881147"/>
                <a:gd name="connsiteY79" fmla="*/ 1252573 h 1697829"/>
                <a:gd name="connsiteX80" fmla="*/ 1810224 w 1881147"/>
                <a:gd name="connsiteY80" fmla="*/ 1243048 h 1697829"/>
                <a:gd name="connsiteX81" fmla="*/ 1734024 w 1881147"/>
                <a:gd name="connsiteY81" fmla="*/ 1162085 h 1697829"/>
                <a:gd name="connsiteX82" fmla="*/ 1695924 w 1881147"/>
                <a:gd name="connsiteY82" fmla="*/ 981110 h 1697829"/>
                <a:gd name="connsiteX83" fmla="*/ 1643536 w 1881147"/>
                <a:gd name="connsiteY83" fmla="*/ 947773 h 1697829"/>
                <a:gd name="connsiteX84" fmla="*/ 1605436 w 1881147"/>
                <a:gd name="connsiteY84" fmla="*/ 890623 h 1697829"/>
                <a:gd name="connsiteX85" fmla="*/ 1557811 w 1881147"/>
                <a:gd name="connsiteY85" fmla="*/ 842998 h 1697829"/>
                <a:gd name="connsiteX86" fmla="*/ 1505424 w 1881147"/>
                <a:gd name="connsiteY86" fmla="*/ 823948 h 1697829"/>
                <a:gd name="connsiteX87" fmla="*/ 1453036 w 1881147"/>
                <a:gd name="connsiteY87" fmla="*/ 819185 h 1697829"/>
                <a:gd name="connsiteX88" fmla="*/ 1510186 w 1881147"/>
                <a:gd name="connsiteY88" fmla="*/ 785848 h 1697829"/>
                <a:gd name="connsiteX89" fmla="*/ 1476849 w 1881147"/>
                <a:gd name="connsiteY89" fmla="*/ 752510 h 1697829"/>
                <a:gd name="connsiteX90" fmla="*/ 1481611 w 1881147"/>
                <a:gd name="connsiteY90" fmla="*/ 728698 h 1697829"/>
                <a:gd name="connsiteX91" fmla="*/ 1572099 w 1881147"/>
                <a:gd name="connsiteY91" fmla="*/ 766798 h 1697829"/>
                <a:gd name="connsiteX92" fmla="*/ 1624486 w 1881147"/>
                <a:gd name="connsiteY92" fmla="*/ 700123 h 1697829"/>
                <a:gd name="connsiteX93" fmla="*/ 1622283 w 1881147"/>
                <a:gd name="connsiteY93" fmla="*/ 557248 h 1697829"/>
                <a:gd name="connsiteX94" fmla="*/ 1639486 w 1881147"/>
                <a:gd name="connsiteY94" fmla="*/ 408922 h 1697829"/>
                <a:gd name="connsiteX0" fmla="*/ 1639486 w 1881147"/>
                <a:gd name="connsiteY0" fmla="*/ 409649 h 1698556"/>
                <a:gd name="connsiteX1" fmla="*/ 1567336 w 1881147"/>
                <a:gd name="connsiteY1" fmla="*/ 377000 h 1698556"/>
                <a:gd name="connsiteX2" fmla="*/ 1477087 w 1881147"/>
                <a:gd name="connsiteY2" fmla="*/ 353187 h 1698556"/>
                <a:gd name="connsiteX3" fmla="*/ 1423767 w 1881147"/>
                <a:gd name="connsiteY3" fmla="*/ 276103 h 1698556"/>
                <a:gd name="connsiteX4" fmla="*/ 1395785 w 1881147"/>
                <a:gd name="connsiteY4" fmla="*/ 174258 h 1698556"/>
                <a:gd name="connsiteX5" fmla="*/ 1364769 w 1881147"/>
                <a:gd name="connsiteY5" fmla="*/ 6196 h 1698556"/>
                <a:gd name="connsiteX6" fmla="*/ 1282757 w 1881147"/>
                <a:gd name="connsiteY6" fmla="*/ 42788 h 1698556"/>
                <a:gd name="connsiteX7" fmla="*/ 1291832 w 1881147"/>
                <a:gd name="connsiteY7" fmla="*/ 105417 h 1698556"/>
                <a:gd name="connsiteX8" fmla="*/ 1275927 w 1881147"/>
                <a:gd name="connsiteY8" fmla="*/ 156630 h 1698556"/>
                <a:gd name="connsiteX9" fmla="*/ 1214911 w 1881147"/>
                <a:gd name="connsiteY9" fmla="*/ 162687 h 1698556"/>
                <a:gd name="connsiteX10" fmla="*/ 1186336 w 1881147"/>
                <a:gd name="connsiteY10" fmla="*/ 191262 h 1698556"/>
                <a:gd name="connsiteX11" fmla="*/ 1176811 w 1881147"/>
                <a:gd name="connsiteY11" fmla="*/ 262700 h 1698556"/>
                <a:gd name="connsiteX12" fmla="*/ 1114899 w 1881147"/>
                <a:gd name="connsiteY12" fmla="*/ 305562 h 1698556"/>
                <a:gd name="connsiteX13" fmla="*/ 1005361 w 1881147"/>
                <a:gd name="connsiteY13" fmla="*/ 319850 h 1698556"/>
                <a:gd name="connsiteX14" fmla="*/ 962499 w 1881147"/>
                <a:gd name="connsiteY14" fmla="*/ 362712 h 1698556"/>
                <a:gd name="connsiteX15" fmla="*/ 838674 w 1881147"/>
                <a:gd name="connsiteY15" fmla="*/ 362712 h 1698556"/>
                <a:gd name="connsiteX16" fmla="*/ 781524 w 1881147"/>
                <a:gd name="connsiteY16" fmla="*/ 434150 h 1698556"/>
                <a:gd name="connsiteX17" fmla="*/ 781524 w 1881147"/>
                <a:gd name="connsiteY17" fmla="*/ 467487 h 1698556"/>
                <a:gd name="connsiteX18" fmla="*/ 743424 w 1881147"/>
                <a:gd name="connsiteY18" fmla="*/ 491300 h 1698556"/>
                <a:gd name="connsiteX19" fmla="*/ 671986 w 1881147"/>
                <a:gd name="connsiteY19" fmla="*/ 424625 h 1698556"/>
                <a:gd name="connsiteX20" fmla="*/ 519586 w 1881147"/>
                <a:gd name="connsiteY20" fmla="*/ 419862 h 1698556"/>
                <a:gd name="connsiteX21" fmla="*/ 457674 w 1881147"/>
                <a:gd name="connsiteY21" fmla="*/ 438912 h 1698556"/>
                <a:gd name="connsiteX22" fmla="*/ 419574 w 1881147"/>
                <a:gd name="connsiteY22" fmla="*/ 424625 h 1698556"/>
                <a:gd name="connsiteX23" fmla="*/ 400524 w 1881147"/>
                <a:gd name="connsiteY23" fmla="*/ 362712 h 1698556"/>
                <a:gd name="connsiteX24" fmla="*/ 333849 w 1881147"/>
                <a:gd name="connsiteY24" fmla="*/ 310325 h 1698556"/>
                <a:gd name="connsiteX25" fmla="*/ 286224 w 1881147"/>
                <a:gd name="connsiteY25" fmla="*/ 243650 h 1698556"/>
                <a:gd name="connsiteX26" fmla="*/ 143349 w 1881147"/>
                <a:gd name="connsiteY26" fmla="*/ 262700 h 1698556"/>
                <a:gd name="connsiteX27" fmla="*/ 124299 w 1881147"/>
                <a:gd name="connsiteY27" fmla="*/ 338900 h 1698556"/>
                <a:gd name="connsiteX28" fmla="*/ 110011 w 1881147"/>
                <a:gd name="connsiteY28" fmla="*/ 372237 h 1698556"/>
                <a:gd name="connsiteX29" fmla="*/ 133824 w 1881147"/>
                <a:gd name="connsiteY29" fmla="*/ 419862 h 1698556"/>
                <a:gd name="connsiteX30" fmla="*/ 81436 w 1881147"/>
                <a:gd name="connsiteY30" fmla="*/ 457962 h 1698556"/>
                <a:gd name="connsiteX31" fmla="*/ 33811 w 1881147"/>
                <a:gd name="connsiteY31" fmla="*/ 453200 h 1698556"/>
                <a:gd name="connsiteX32" fmla="*/ 33811 w 1881147"/>
                <a:gd name="connsiteY32" fmla="*/ 524637 h 1698556"/>
                <a:gd name="connsiteX33" fmla="*/ 474 w 1881147"/>
                <a:gd name="connsiteY33" fmla="*/ 629412 h 1698556"/>
                <a:gd name="connsiteX34" fmla="*/ 62386 w 1881147"/>
                <a:gd name="connsiteY34" fmla="*/ 705612 h 1698556"/>
                <a:gd name="connsiteX35" fmla="*/ 111977 w 1881147"/>
                <a:gd name="connsiteY35" fmla="*/ 685874 h 1698556"/>
                <a:gd name="connsiteX36" fmla="*/ 112334 w 1881147"/>
                <a:gd name="connsiteY36" fmla="*/ 756133 h 1698556"/>
                <a:gd name="connsiteX37" fmla="*/ 167161 w 1881147"/>
                <a:gd name="connsiteY37" fmla="*/ 786575 h 1698556"/>
                <a:gd name="connsiteX38" fmla="*/ 236159 w 1881147"/>
                <a:gd name="connsiteY38" fmla="*/ 796787 h 1698556"/>
                <a:gd name="connsiteX39" fmla="*/ 271462 w 1881147"/>
                <a:gd name="connsiteY39" fmla="*/ 852758 h 1698556"/>
                <a:gd name="connsiteX40" fmla="*/ 270869 w 1881147"/>
                <a:gd name="connsiteY40" fmla="*/ 897830 h 1698556"/>
                <a:gd name="connsiteX41" fmla="*/ 295393 w 1881147"/>
                <a:gd name="connsiteY41" fmla="*/ 937305 h 1698556"/>
                <a:gd name="connsiteX42" fmla="*/ 341051 w 1881147"/>
                <a:gd name="connsiteY42" fmla="*/ 975897 h 1698556"/>
                <a:gd name="connsiteX43" fmla="*/ 426184 w 1881147"/>
                <a:gd name="connsiteY43" fmla="*/ 1030149 h 1698556"/>
                <a:gd name="connsiteX44" fmla="*/ 461961 w 1881147"/>
                <a:gd name="connsiteY44" fmla="*/ 1101242 h 1698556"/>
                <a:gd name="connsiteX45" fmla="*/ 441064 w 1881147"/>
                <a:gd name="connsiteY45" fmla="*/ 1170815 h 1698556"/>
                <a:gd name="connsiteX46" fmla="*/ 519111 w 1881147"/>
                <a:gd name="connsiteY46" fmla="*/ 1227278 h 1698556"/>
                <a:gd name="connsiteX47" fmla="*/ 591143 w 1881147"/>
                <a:gd name="connsiteY47" fmla="*/ 1260272 h 1698556"/>
                <a:gd name="connsiteX48" fmla="*/ 571974 w 1881147"/>
                <a:gd name="connsiteY48" fmla="*/ 1319975 h 1698556"/>
                <a:gd name="connsiteX49" fmla="*/ 662461 w 1881147"/>
                <a:gd name="connsiteY49" fmla="*/ 1472375 h 1698556"/>
                <a:gd name="connsiteX50" fmla="*/ 755271 w 1881147"/>
                <a:gd name="connsiteY50" fmla="*/ 1545529 h 1698556"/>
                <a:gd name="connsiteX51" fmla="*/ 805336 w 1881147"/>
                <a:gd name="connsiteY51" fmla="*/ 1496187 h 1698556"/>
                <a:gd name="connsiteX52" fmla="*/ 869926 w 1881147"/>
                <a:gd name="connsiteY52" fmla="*/ 1523584 h 1698556"/>
                <a:gd name="connsiteX53" fmla="*/ 924399 w 1881147"/>
                <a:gd name="connsiteY53" fmla="*/ 1491425 h 1698556"/>
                <a:gd name="connsiteX54" fmla="*/ 941246 w 1881147"/>
                <a:gd name="connsiteY54" fmla="*/ 1449249 h 1698556"/>
                <a:gd name="connsiteX55" fmla="*/ 1005123 w 1881147"/>
                <a:gd name="connsiteY55" fmla="*/ 1535661 h 1698556"/>
                <a:gd name="connsiteX56" fmla="*/ 1050190 w 1881147"/>
                <a:gd name="connsiteY56" fmla="*/ 1606755 h 1698556"/>
                <a:gd name="connsiteX57" fmla="*/ 1120136 w 1881147"/>
                <a:gd name="connsiteY57" fmla="*/ 1698274 h 1698556"/>
                <a:gd name="connsiteX58" fmla="*/ 1151034 w 1881147"/>
                <a:gd name="connsiteY58" fmla="*/ 1635183 h 1698556"/>
                <a:gd name="connsiteX59" fmla="*/ 1181693 w 1881147"/>
                <a:gd name="connsiteY59" fmla="*/ 1628703 h 1698556"/>
                <a:gd name="connsiteX60" fmla="*/ 1224792 w 1881147"/>
                <a:gd name="connsiteY60" fmla="*/ 1657966 h 1698556"/>
                <a:gd name="connsiteX61" fmla="*/ 1258367 w 1881147"/>
                <a:gd name="connsiteY61" fmla="*/ 1617312 h 1698556"/>
                <a:gd name="connsiteX62" fmla="*/ 1277188 w 1881147"/>
                <a:gd name="connsiteY62" fmla="*/ 1621929 h 1698556"/>
                <a:gd name="connsiteX63" fmla="*/ 1311230 w 1881147"/>
                <a:gd name="connsiteY63" fmla="*/ 1688406 h 1698556"/>
                <a:gd name="connsiteX64" fmla="*/ 1367786 w 1881147"/>
                <a:gd name="connsiteY64" fmla="*/ 1664937 h 1698556"/>
                <a:gd name="connsiteX65" fmla="*/ 1419818 w 1881147"/>
                <a:gd name="connsiteY65" fmla="*/ 1608816 h 1698556"/>
                <a:gd name="connsiteX66" fmla="*/ 1470595 w 1881147"/>
                <a:gd name="connsiteY66" fmla="*/ 1592273 h 1698556"/>
                <a:gd name="connsiteX67" fmla="*/ 1488274 w 1881147"/>
                <a:gd name="connsiteY67" fmla="*/ 1648095 h 1698556"/>
                <a:gd name="connsiteX68" fmla="*/ 1558169 w 1881147"/>
                <a:gd name="connsiteY68" fmla="*/ 1622417 h 1698556"/>
                <a:gd name="connsiteX69" fmla="*/ 1588947 w 1881147"/>
                <a:gd name="connsiteY69" fmla="*/ 1535661 h 1698556"/>
                <a:gd name="connsiteX70" fmla="*/ 1670383 w 1881147"/>
                <a:gd name="connsiteY70" fmla="*/ 1445519 h 1698556"/>
                <a:gd name="connsiteX71" fmla="*/ 1714974 w 1881147"/>
                <a:gd name="connsiteY71" fmla="*/ 1414389 h 1698556"/>
                <a:gd name="connsiteX72" fmla="*/ 1743343 w 1881147"/>
                <a:gd name="connsiteY72" fmla="*/ 1417684 h 1698556"/>
                <a:gd name="connsiteX73" fmla="*/ 1820935 w 1881147"/>
                <a:gd name="connsiteY73" fmla="*/ 1407076 h 1698556"/>
                <a:gd name="connsiteX74" fmla="*/ 1816054 w 1881147"/>
                <a:gd name="connsiteY74" fmla="*/ 1460640 h 1698556"/>
                <a:gd name="connsiteX75" fmla="*/ 1874221 w 1881147"/>
                <a:gd name="connsiteY75" fmla="*/ 1483961 h 1698556"/>
                <a:gd name="connsiteX76" fmla="*/ 1875829 w 1881147"/>
                <a:gd name="connsiteY76" fmla="*/ 1461327 h 1698556"/>
                <a:gd name="connsiteX77" fmla="*/ 1875051 w 1881147"/>
                <a:gd name="connsiteY77" fmla="*/ 1400593 h 1698556"/>
                <a:gd name="connsiteX78" fmla="*/ 1853086 w 1881147"/>
                <a:gd name="connsiteY78" fmla="*/ 1310450 h 1698556"/>
                <a:gd name="connsiteX79" fmla="*/ 1853086 w 1881147"/>
                <a:gd name="connsiteY79" fmla="*/ 1253300 h 1698556"/>
                <a:gd name="connsiteX80" fmla="*/ 1810224 w 1881147"/>
                <a:gd name="connsiteY80" fmla="*/ 1243775 h 1698556"/>
                <a:gd name="connsiteX81" fmla="*/ 1734024 w 1881147"/>
                <a:gd name="connsiteY81" fmla="*/ 1162812 h 1698556"/>
                <a:gd name="connsiteX82" fmla="*/ 1695924 w 1881147"/>
                <a:gd name="connsiteY82" fmla="*/ 981837 h 1698556"/>
                <a:gd name="connsiteX83" fmla="*/ 1643536 w 1881147"/>
                <a:gd name="connsiteY83" fmla="*/ 948500 h 1698556"/>
                <a:gd name="connsiteX84" fmla="*/ 1605436 w 1881147"/>
                <a:gd name="connsiteY84" fmla="*/ 891350 h 1698556"/>
                <a:gd name="connsiteX85" fmla="*/ 1557811 w 1881147"/>
                <a:gd name="connsiteY85" fmla="*/ 843725 h 1698556"/>
                <a:gd name="connsiteX86" fmla="*/ 1505424 w 1881147"/>
                <a:gd name="connsiteY86" fmla="*/ 824675 h 1698556"/>
                <a:gd name="connsiteX87" fmla="*/ 1453036 w 1881147"/>
                <a:gd name="connsiteY87" fmla="*/ 819912 h 1698556"/>
                <a:gd name="connsiteX88" fmla="*/ 1510186 w 1881147"/>
                <a:gd name="connsiteY88" fmla="*/ 786575 h 1698556"/>
                <a:gd name="connsiteX89" fmla="*/ 1476849 w 1881147"/>
                <a:gd name="connsiteY89" fmla="*/ 753237 h 1698556"/>
                <a:gd name="connsiteX90" fmla="*/ 1481611 w 1881147"/>
                <a:gd name="connsiteY90" fmla="*/ 729425 h 1698556"/>
                <a:gd name="connsiteX91" fmla="*/ 1572099 w 1881147"/>
                <a:gd name="connsiteY91" fmla="*/ 767525 h 1698556"/>
                <a:gd name="connsiteX92" fmla="*/ 1624486 w 1881147"/>
                <a:gd name="connsiteY92" fmla="*/ 700850 h 1698556"/>
                <a:gd name="connsiteX93" fmla="*/ 1622283 w 1881147"/>
                <a:gd name="connsiteY93" fmla="*/ 557975 h 1698556"/>
                <a:gd name="connsiteX94" fmla="*/ 1639486 w 1881147"/>
                <a:gd name="connsiteY94" fmla="*/ 409649 h 1698556"/>
                <a:gd name="connsiteX0" fmla="*/ 1639486 w 1881147"/>
                <a:gd name="connsiteY0" fmla="*/ 411844 h 1700751"/>
                <a:gd name="connsiteX1" fmla="*/ 1567336 w 1881147"/>
                <a:gd name="connsiteY1" fmla="*/ 379195 h 1700751"/>
                <a:gd name="connsiteX2" fmla="*/ 1477087 w 1881147"/>
                <a:gd name="connsiteY2" fmla="*/ 355382 h 1700751"/>
                <a:gd name="connsiteX3" fmla="*/ 1423767 w 1881147"/>
                <a:gd name="connsiteY3" fmla="*/ 278298 h 1700751"/>
                <a:gd name="connsiteX4" fmla="*/ 1395785 w 1881147"/>
                <a:gd name="connsiteY4" fmla="*/ 176453 h 1700751"/>
                <a:gd name="connsiteX5" fmla="*/ 1364769 w 1881147"/>
                <a:gd name="connsiteY5" fmla="*/ 8391 h 1700751"/>
                <a:gd name="connsiteX6" fmla="*/ 1282757 w 1881147"/>
                <a:gd name="connsiteY6" fmla="*/ 44983 h 1700751"/>
                <a:gd name="connsiteX7" fmla="*/ 1291832 w 1881147"/>
                <a:gd name="connsiteY7" fmla="*/ 107612 h 1700751"/>
                <a:gd name="connsiteX8" fmla="*/ 1275927 w 1881147"/>
                <a:gd name="connsiteY8" fmla="*/ 158825 h 1700751"/>
                <a:gd name="connsiteX9" fmla="*/ 1214911 w 1881147"/>
                <a:gd name="connsiteY9" fmla="*/ 164882 h 1700751"/>
                <a:gd name="connsiteX10" fmla="*/ 1186336 w 1881147"/>
                <a:gd name="connsiteY10" fmla="*/ 193457 h 1700751"/>
                <a:gd name="connsiteX11" fmla="*/ 1176811 w 1881147"/>
                <a:gd name="connsiteY11" fmla="*/ 264895 h 1700751"/>
                <a:gd name="connsiteX12" fmla="*/ 1114899 w 1881147"/>
                <a:gd name="connsiteY12" fmla="*/ 307757 h 1700751"/>
                <a:gd name="connsiteX13" fmla="*/ 1005361 w 1881147"/>
                <a:gd name="connsiteY13" fmla="*/ 322045 h 1700751"/>
                <a:gd name="connsiteX14" fmla="*/ 962499 w 1881147"/>
                <a:gd name="connsiteY14" fmla="*/ 364907 h 1700751"/>
                <a:gd name="connsiteX15" fmla="*/ 838674 w 1881147"/>
                <a:gd name="connsiteY15" fmla="*/ 364907 h 1700751"/>
                <a:gd name="connsiteX16" fmla="*/ 781524 w 1881147"/>
                <a:gd name="connsiteY16" fmla="*/ 436345 h 1700751"/>
                <a:gd name="connsiteX17" fmla="*/ 781524 w 1881147"/>
                <a:gd name="connsiteY17" fmla="*/ 469682 h 1700751"/>
                <a:gd name="connsiteX18" fmla="*/ 743424 w 1881147"/>
                <a:gd name="connsiteY18" fmla="*/ 493495 h 1700751"/>
                <a:gd name="connsiteX19" fmla="*/ 671986 w 1881147"/>
                <a:gd name="connsiteY19" fmla="*/ 426820 h 1700751"/>
                <a:gd name="connsiteX20" fmla="*/ 519586 w 1881147"/>
                <a:gd name="connsiteY20" fmla="*/ 422057 h 1700751"/>
                <a:gd name="connsiteX21" fmla="*/ 457674 w 1881147"/>
                <a:gd name="connsiteY21" fmla="*/ 441107 h 1700751"/>
                <a:gd name="connsiteX22" fmla="*/ 419574 w 1881147"/>
                <a:gd name="connsiteY22" fmla="*/ 426820 h 1700751"/>
                <a:gd name="connsiteX23" fmla="*/ 400524 w 1881147"/>
                <a:gd name="connsiteY23" fmla="*/ 364907 h 1700751"/>
                <a:gd name="connsiteX24" fmla="*/ 333849 w 1881147"/>
                <a:gd name="connsiteY24" fmla="*/ 312520 h 1700751"/>
                <a:gd name="connsiteX25" fmla="*/ 286224 w 1881147"/>
                <a:gd name="connsiteY25" fmla="*/ 245845 h 1700751"/>
                <a:gd name="connsiteX26" fmla="*/ 143349 w 1881147"/>
                <a:gd name="connsiteY26" fmla="*/ 264895 h 1700751"/>
                <a:gd name="connsiteX27" fmla="*/ 124299 w 1881147"/>
                <a:gd name="connsiteY27" fmla="*/ 341095 h 1700751"/>
                <a:gd name="connsiteX28" fmla="*/ 110011 w 1881147"/>
                <a:gd name="connsiteY28" fmla="*/ 374432 h 1700751"/>
                <a:gd name="connsiteX29" fmla="*/ 133824 w 1881147"/>
                <a:gd name="connsiteY29" fmla="*/ 422057 h 1700751"/>
                <a:gd name="connsiteX30" fmla="*/ 81436 w 1881147"/>
                <a:gd name="connsiteY30" fmla="*/ 460157 h 1700751"/>
                <a:gd name="connsiteX31" fmla="*/ 33811 w 1881147"/>
                <a:gd name="connsiteY31" fmla="*/ 455395 h 1700751"/>
                <a:gd name="connsiteX32" fmla="*/ 33811 w 1881147"/>
                <a:gd name="connsiteY32" fmla="*/ 526832 h 1700751"/>
                <a:gd name="connsiteX33" fmla="*/ 474 w 1881147"/>
                <a:gd name="connsiteY33" fmla="*/ 631607 h 1700751"/>
                <a:gd name="connsiteX34" fmla="*/ 62386 w 1881147"/>
                <a:gd name="connsiteY34" fmla="*/ 707807 h 1700751"/>
                <a:gd name="connsiteX35" fmla="*/ 111977 w 1881147"/>
                <a:gd name="connsiteY35" fmla="*/ 688069 h 1700751"/>
                <a:gd name="connsiteX36" fmla="*/ 112334 w 1881147"/>
                <a:gd name="connsiteY36" fmla="*/ 758328 h 1700751"/>
                <a:gd name="connsiteX37" fmla="*/ 167161 w 1881147"/>
                <a:gd name="connsiteY37" fmla="*/ 788770 h 1700751"/>
                <a:gd name="connsiteX38" fmla="*/ 236159 w 1881147"/>
                <a:gd name="connsiteY38" fmla="*/ 798982 h 1700751"/>
                <a:gd name="connsiteX39" fmla="*/ 271462 w 1881147"/>
                <a:gd name="connsiteY39" fmla="*/ 854953 h 1700751"/>
                <a:gd name="connsiteX40" fmla="*/ 270869 w 1881147"/>
                <a:gd name="connsiteY40" fmla="*/ 900025 h 1700751"/>
                <a:gd name="connsiteX41" fmla="*/ 295393 w 1881147"/>
                <a:gd name="connsiteY41" fmla="*/ 939500 h 1700751"/>
                <a:gd name="connsiteX42" fmla="*/ 341051 w 1881147"/>
                <a:gd name="connsiteY42" fmla="*/ 978092 h 1700751"/>
                <a:gd name="connsiteX43" fmla="*/ 426184 w 1881147"/>
                <a:gd name="connsiteY43" fmla="*/ 1032344 h 1700751"/>
                <a:gd name="connsiteX44" fmla="*/ 461961 w 1881147"/>
                <a:gd name="connsiteY44" fmla="*/ 1103437 h 1700751"/>
                <a:gd name="connsiteX45" fmla="*/ 441064 w 1881147"/>
                <a:gd name="connsiteY45" fmla="*/ 1173010 h 1700751"/>
                <a:gd name="connsiteX46" fmla="*/ 519111 w 1881147"/>
                <a:gd name="connsiteY46" fmla="*/ 1229473 h 1700751"/>
                <a:gd name="connsiteX47" fmla="*/ 591143 w 1881147"/>
                <a:gd name="connsiteY47" fmla="*/ 1262467 h 1700751"/>
                <a:gd name="connsiteX48" fmla="*/ 571974 w 1881147"/>
                <a:gd name="connsiteY48" fmla="*/ 1322170 h 1700751"/>
                <a:gd name="connsiteX49" fmla="*/ 662461 w 1881147"/>
                <a:gd name="connsiteY49" fmla="*/ 1474570 h 1700751"/>
                <a:gd name="connsiteX50" fmla="*/ 755271 w 1881147"/>
                <a:gd name="connsiteY50" fmla="*/ 1547724 h 1700751"/>
                <a:gd name="connsiteX51" fmla="*/ 805336 w 1881147"/>
                <a:gd name="connsiteY51" fmla="*/ 1498382 h 1700751"/>
                <a:gd name="connsiteX52" fmla="*/ 869926 w 1881147"/>
                <a:gd name="connsiteY52" fmla="*/ 1525779 h 1700751"/>
                <a:gd name="connsiteX53" fmla="*/ 924399 w 1881147"/>
                <a:gd name="connsiteY53" fmla="*/ 1493620 h 1700751"/>
                <a:gd name="connsiteX54" fmla="*/ 941246 w 1881147"/>
                <a:gd name="connsiteY54" fmla="*/ 1451444 h 1700751"/>
                <a:gd name="connsiteX55" fmla="*/ 1005123 w 1881147"/>
                <a:gd name="connsiteY55" fmla="*/ 1537856 h 1700751"/>
                <a:gd name="connsiteX56" fmla="*/ 1050190 w 1881147"/>
                <a:gd name="connsiteY56" fmla="*/ 1608950 h 1700751"/>
                <a:gd name="connsiteX57" fmla="*/ 1120136 w 1881147"/>
                <a:gd name="connsiteY57" fmla="*/ 1700469 h 1700751"/>
                <a:gd name="connsiteX58" fmla="*/ 1151034 w 1881147"/>
                <a:gd name="connsiteY58" fmla="*/ 1637378 h 1700751"/>
                <a:gd name="connsiteX59" fmla="*/ 1181693 w 1881147"/>
                <a:gd name="connsiteY59" fmla="*/ 1630898 h 1700751"/>
                <a:gd name="connsiteX60" fmla="*/ 1224792 w 1881147"/>
                <a:gd name="connsiteY60" fmla="*/ 1660161 h 1700751"/>
                <a:gd name="connsiteX61" fmla="*/ 1258367 w 1881147"/>
                <a:gd name="connsiteY61" fmla="*/ 1619507 h 1700751"/>
                <a:gd name="connsiteX62" fmla="*/ 1277188 w 1881147"/>
                <a:gd name="connsiteY62" fmla="*/ 1624124 h 1700751"/>
                <a:gd name="connsiteX63" fmla="*/ 1311230 w 1881147"/>
                <a:gd name="connsiteY63" fmla="*/ 1690601 h 1700751"/>
                <a:gd name="connsiteX64" fmla="*/ 1367786 w 1881147"/>
                <a:gd name="connsiteY64" fmla="*/ 1667132 h 1700751"/>
                <a:gd name="connsiteX65" fmla="*/ 1419818 w 1881147"/>
                <a:gd name="connsiteY65" fmla="*/ 1611011 h 1700751"/>
                <a:gd name="connsiteX66" fmla="*/ 1470595 w 1881147"/>
                <a:gd name="connsiteY66" fmla="*/ 1594468 h 1700751"/>
                <a:gd name="connsiteX67" fmla="*/ 1488274 w 1881147"/>
                <a:gd name="connsiteY67" fmla="*/ 1650290 h 1700751"/>
                <a:gd name="connsiteX68" fmla="*/ 1558169 w 1881147"/>
                <a:gd name="connsiteY68" fmla="*/ 1624612 h 1700751"/>
                <a:gd name="connsiteX69" fmla="*/ 1588947 w 1881147"/>
                <a:gd name="connsiteY69" fmla="*/ 1537856 h 1700751"/>
                <a:gd name="connsiteX70" fmla="*/ 1670383 w 1881147"/>
                <a:gd name="connsiteY70" fmla="*/ 1447714 h 1700751"/>
                <a:gd name="connsiteX71" fmla="*/ 1714974 w 1881147"/>
                <a:gd name="connsiteY71" fmla="*/ 1416584 h 1700751"/>
                <a:gd name="connsiteX72" fmla="*/ 1743343 w 1881147"/>
                <a:gd name="connsiteY72" fmla="*/ 1419879 h 1700751"/>
                <a:gd name="connsiteX73" fmla="*/ 1820935 w 1881147"/>
                <a:gd name="connsiteY73" fmla="*/ 1409271 h 1700751"/>
                <a:gd name="connsiteX74" fmla="*/ 1816054 w 1881147"/>
                <a:gd name="connsiteY74" fmla="*/ 1462835 h 1700751"/>
                <a:gd name="connsiteX75" fmla="*/ 1874221 w 1881147"/>
                <a:gd name="connsiteY75" fmla="*/ 1486156 h 1700751"/>
                <a:gd name="connsiteX76" fmla="*/ 1875829 w 1881147"/>
                <a:gd name="connsiteY76" fmla="*/ 1463522 h 1700751"/>
                <a:gd name="connsiteX77" fmla="*/ 1875051 w 1881147"/>
                <a:gd name="connsiteY77" fmla="*/ 1402788 h 1700751"/>
                <a:gd name="connsiteX78" fmla="*/ 1853086 w 1881147"/>
                <a:gd name="connsiteY78" fmla="*/ 1312645 h 1700751"/>
                <a:gd name="connsiteX79" fmla="*/ 1853086 w 1881147"/>
                <a:gd name="connsiteY79" fmla="*/ 1255495 h 1700751"/>
                <a:gd name="connsiteX80" fmla="*/ 1810224 w 1881147"/>
                <a:gd name="connsiteY80" fmla="*/ 1245970 h 1700751"/>
                <a:gd name="connsiteX81" fmla="*/ 1734024 w 1881147"/>
                <a:gd name="connsiteY81" fmla="*/ 1165007 h 1700751"/>
                <a:gd name="connsiteX82" fmla="*/ 1695924 w 1881147"/>
                <a:gd name="connsiteY82" fmla="*/ 984032 h 1700751"/>
                <a:gd name="connsiteX83" fmla="*/ 1643536 w 1881147"/>
                <a:gd name="connsiteY83" fmla="*/ 950695 h 1700751"/>
                <a:gd name="connsiteX84" fmla="*/ 1605436 w 1881147"/>
                <a:gd name="connsiteY84" fmla="*/ 893545 h 1700751"/>
                <a:gd name="connsiteX85" fmla="*/ 1557811 w 1881147"/>
                <a:gd name="connsiteY85" fmla="*/ 845920 h 1700751"/>
                <a:gd name="connsiteX86" fmla="*/ 1505424 w 1881147"/>
                <a:gd name="connsiteY86" fmla="*/ 826870 h 1700751"/>
                <a:gd name="connsiteX87" fmla="*/ 1453036 w 1881147"/>
                <a:gd name="connsiteY87" fmla="*/ 822107 h 1700751"/>
                <a:gd name="connsiteX88" fmla="*/ 1510186 w 1881147"/>
                <a:gd name="connsiteY88" fmla="*/ 788770 h 1700751"/>
                <a:gd name="connsiteX89" fmla="*/ 1476849 w 1881147"/>
                <a:gd name="connsiteY89" fmla="*/ 755432 h 1700751"/>
                <a:gd name="connsiteX90" fmla="*/ 1481611 w 1881147"/>
                <a:gd name="connsiteY90" fmla="*/ 731620 h 1700751"/>
                <a:gd name="connsiteX91" fmla="*/ 1572099 w 1881147"/>
                <a:gd name="connsiteY91" fmla="*/ 769720 h 1700751"/>
                <a:gd name="connsiteX92" fmla="*/ 1624486 w 1881147"/>
                <a:gd name="connsiteY92" fmla="*/ 703045 h 1700751"/>
                <a:gd name="connsiteX93" fmla="*/ 1622283 w 1881147"/>
                <a:gd name="connsiteY93" fmla="*/ 560170 h 1700751"/>
                <a:gd name="connsiteX94" fmla="*/ 1639486 w 1881147"/>
                <a:gd name="connsiteY94" fmla="*/ 411844 h 1700751"/>
                <a:gd name="connsiteX0" fmla="*/ 1639486 w 1881147"/>
                <a:gd name="connsiteY0" fmla="*/ 410679 h 1699586"/>
                <a:gd name="connsiteX1" fmla="*/ 1567336 w 1881147"/>
                <a:gd name="connsiteY1" fmla="*/ 378030 h 1699586"/>
                <a:gd name="connsiteX2" fmla="*/ 1477087 w 1881147"/>
                <a:gd name="connsiteY2" fmla="*/ 354217 h 1699586"/>
                <a:gd name="connsiteX3" fmla="*/ 1423767 w 1881147"/>
                <a:gd name="connsiteY3" fmla="*/ 277133 h 1699586"/>
                <a:gd name="connsiteX4" fmla="*/ 1395785 w 1881147"/>
                <a:gd name="connsiteY4" fmla="*/ 175288 h 1699586"/>
                <a:gd name="connsiteX5" fmla="*/ 1364769 w 1881147"/>
                <a:gd name="connsiteY5" fmla="*/ 7226 h 1699586"/>
                <a:gd name="connsiteX6" fmla="*/ 1297400 w 1881147"/>
                <a:gd name="connsiteY6" fmla="*/ 48924 h 1699586"/>
                <a:gd name="connsiteX7" fmla="*/ 1291832 w 1881147"/>
                <a:gd name="connsiteY7" fmla="*/ 106447 h 1699586"/>
                <a:gd name="connsiteX8" fmla="*/ 1275927 w 1881147"/>
                <a:gd name="connsiteY8" fmla="*/ 157660 h 1699586"/>
                <a:gd name="connsiteX9" fmla="*/ 1214911 w 1881147"/>
                <a:gd name="connsiteY9" fmla="*/ 163717 h 1699586"/>
                <a:gd name="connsiteX10" fmla="*/ 1186336 w 1881147"/>
                <a:gd name="connsiteY10" fmla="*/ 192292 h 1699586"/>
                <a:gd name="connsiteX11" fmla="*/ 1176811 w 1881147"/>
                <a:gd name="connsiteY11" fmla="*/ 263730 h 1699586"/>
                <a:gd name="connsiteX12" fmla="*/ 1114899 w 1881147"/>
                <a:gd name="connsiteY12" fmla="*/ 306592 h 1699586"/>
                <a:gd name="connsiteX13" fmla="*/ 1005361 w 1881147"/>
                <a:gd name="connsiteY13" fmla="*/ 320880 h 1699586"/>
                <a:gd name="connsiteX14" fmla="*/ 962499 w 1881147"/>
                <a:gd name="connsiteY14" fmla="*/ 363742 h 1699586"/>
                <a:gd name="connsiteX15" fmla="*/ 838674 w 1881147"/>
                <a:gd name="connsiteY15" fmla="*/ 363742 h 1699586"/>
                <a:gd name="connsiteX16" fmla="*/ 781524 w 1881147"/>
                <a:gd name="connsiteY16" fmla="*/ 435180 h 1699586"/>
                <a:gd name="connsiteX17" fmla="*/ 781524 w 1881147"/>
                <a:gd name="connsiteY17" fmla="*/ 468517 h 1699586"/>
                <a:gd name="connsiteX18" fmla="*/ 743424 w 1881147"/>
                <a:gd name="connsiteY18" fmla="*/ 492330 h 1699586"/>
                <a:gd name="connsiteX19" fmla="*/ 671986 w 1881147"/>
                <a:gd name="connsiteY19" fmla="*/ 425655 h 1699586"/>
                <a:gd name="connsiteX20" fmla="*/ 519586 w 1881147"/>
                <a:gd name="connsiteY20" fmla="*/ 420892 h 1699586"/>
                <a:gd name="connsiteX21" fmla="*/ 457674 w 1881147"/>
                <a:gd name="connsiteY21" fmla="*/ 439942 h 1699586"/>
                <a:gd name="connsiteX22" fmla="*/ 419574 w 1881147"/>
                <a:gd name="connsiteY22" fmla="*/ 425655 h 1699586"/>
                <a:gd name="connsiteX23" fmla="*/ 400524 w 1881147"/>
                <a:gd name="connsiteY23" fmla="*/ 363742 h 1699586"/>
                <a:gd name="connsiteX24" fmla="*/ 333849 w 1881147"/>
                <a:gd name="connsiteY24" fmla="*/ 311355 h 1699586"/>
                <a:gd name="connsiteX25" fmla="*/ 286224 w 1881147"/>
                <a:gd name="connsiteY25" fmla="*/ 244680 h 1699586"/>
                <a:gd name="connsiteX26" fmla="*/ 143349 w 1881147"/>
                <a:gd name="connsiteY26" fmla="*/ 263730 h 1699586"/>
                <a:gd name="connsiteX27" fmla="*/ 124299 w 1881147"/>
                <a:gd name="connsiteY27" fmla="*/ 339930 h 1699586"/>
                <a:gd name="connsiteX28" fmla="*/ 110011 w 1881147"/>
                <a:gd name="connsiteY28" fmla="*/ 373267 h 1699586"/>
                <a:gd name="connsiteX29" fmla="*/ 133824 w 1881147"/>
                <a:gd name="connsiteY29" fmla="*/ 420892 h 1699586"/>
                <a:gd name="connsiteX30" fmla="*/ 81436 w 1881147"/>
                <a:gd name="connsiteY30" fmla="*/ 458992 h 1699586"/>
                <a:gd name="connsiteX31" fmla="*/ 33811 w 1881147"/>
                <a:gd name="connsiteY31" fmla="*/ 454230 h 1699586"/>
                <a:gd name="connsiteX32" fmla="*/ 33811 w 1881147"/>
                <a:gd name="connsiteY32" fmla="*/ 525667 h 1699586"/>
                <a:gd name="connsiteX33" fmla="*/ 474 w 1881147"/>
                <a:gd name="connsiteY33" fmla="*/ 630442 h 1699586"/>
                <a:gd name="connsiteX34" fmla="*/ 62386 w 1881147"/>
                <a:gd name="connsiteY34" fmla="*/ 706642 h 1699586"/>
                <a:gd name="connsiteX35" fmla="*/ 111977 w 1881147"/>
                <a:gd name="connsiteY35" fmla="*/ 686904 h 1699586"/>
                <a:gd name="connsiteX36" fmla="*/ 112334 w 1881147"/>
                <a:gd name="connsiteY36" fmla="*/ 757163 h 1699586"/>
                <a:gd name="connsiteX37" fmla="*/ 167161 w 1881147"/>
                <a:gd name="connsiteY37" fmla="*/ 787605 h 1699586"/>
                <a:gd name="connsiteX38" fmla="*/ 236159 w 1881147"/>
                <a:gd name="connsiteY38" fmla="*/ 797817 h 1699586"/>
                <a:gd name="connsiteX39" fmla="*/ 271462 w 1881147"/>
                <a:gd name="connsiteY39" fmla="*/ 853788 h 1699586"/>
                <a:gd name="connsiteX40" fmla="*/ 270869 w 1881147"/>
                <a:gd name="connsiteY40" fmla="*/ 898860 h 1699586"/>
                <a:gd name="connsiteX41" fmla="*/ 295393 w 1881147"/>
                <a:gd name="connsiteY41" fmla="*/ 938335 h 1699586"/>
                <a:gd name="connsiteX42" fmla="*/ 341051 w 1881147"/>
                <a:gd name="connsiteY42" fmla="*/ 976927 h 1699586"/>
                <a:gd name="connsiteX43" fmla="*/ 426184 w 1881147"/>
                <a:gd name="connsiteY43" fmla="*/ 1031179 h 1699586"/>
                <a:gd name="connsiteX44" fmla="*/ 461961 w 1881147"/>
                <a:gd name="connsiteY44" fmla="*/ 1102272 h 1699586"/>
                <a:gd name="connsiteX45" fmla="*/ 441064 w 1881147"/>
                <a:gd name="connsiteY45" fmla="*/ 1171845 h 1699586"/>
                <a:gd name="connsiteX46" fmla="*/ 519111 w 1881147"/>
                <a:gd name="connsiteY46" fmla="*/ 1228308 h 1699586"/>
                <a:gd name="connsiteX47" fmla="*/ 591143 w 1881147"/>
                <a:gd name="connsiteY47" fmla="*/ 1261302 h 1699586"/>
                <a:gd name="connsiteX48" fmla="*/ 571974 w 1881147"/>
                <a:gd name="connsiteY48" fmla="*/ 1321005 h 1699586"/>
                <a:gd name="connsiteX49" fmla="*/ 662461 w 1881147"/>
                <a:gd name="connsiteY49" fmla="*/ 1473405 h 1699586"/>
                <a:gd name="connsiteX50" fmla="*/ 755271 w 1881147"/>
                <a:gd name="connsiteY50" fmla="*/ 1546559 h 1699586"/>
                <a:gd name="connsiteX51" fmla="*/ 805336 w 1881147"/>
                <a:gd name="connsiteY51" fmla="*/ 1497217 h 1699586"/>
                <a:gd name="connsiteX52" fmla="*/ 869926 w 1881147"/>
                <a:gd name="connsiteY52" fmla="*/ 1524614 h 1699586"/>
                <a:gd name="connsiteX53" fmla="*/ 924399 w 1881147"/>
                <a:gd name="connsiteY53" fmla="*/ 1492455 h 1699586"/>
                <a:gd name="connsiteX54" fmla="*/ 941246 w 1881147"/>
                <a:gd name="connsiteY54" fmla="*/ 1450279 h 1699586"/>
                <a:gd name="connsiteX55" fmla="*/ 1005123 w 1881147"/>
                <a:gd name="connsiteY55" fmla="*/ 1536691 h 1699586"/>
                <a:gd name="connsiteX56" fmla="*/ 1050190 w 1881147"/>
                <a:gd name="connsiteY56" fmla="*/ 1607785 h 1699586"/>
                <a:gd name="connsiteX57" fmla="*/ 1120136 w 1881147"/>
                <a:gd name="connsiteY57" fmla="*/ 1699304 h 1699586"/>
                <a:gd name="connsiteX58" fmla="*/ 1151034 w 1881147"/>
                <a:gd name="connsiteY58" fmla="*/ 1636213 h 1699586"/>
                <a:gd name="connsiteX59" fmla="*/ 1181693 w 1881147"/>
                <a:gd name="connsiteY59" fmla="*/ 1629733 h 1699586"/>
                <a:gd name="connsiteX60" fmla="*/ 1224792 w 1881147"/>
                <a:gd name="connsiteY60" fmla="*/ 1658996 h 1699586"/>
                <a:gd name="connsiteX61" fmla="*/ 1258367 w 1881147"/>
                <a:gd name="connsiteY61" fmla="*/ 1618342 h 1699586"/>
                <a:gd name="connsiteX62" fmla="*/ 1277188 w 1881147"/>
                <a:gd name="connsiteY62" fmla="*/ 1622959 h 1699586"/>
                <a:gd name="connsiteX63" fmla="*/ 1311230 w 1881147"/>
                <a:gd name="connsiteY63" fmla="*/ 1689436 h 1699586"/>
                <a:gd name="connsiteX64" fmla="*/ 1367786 w 1881147"/>
                <a:gd name="connsiteY64" fmla="*/ 1665967 h 1699586"/>
                <a:gd name="connsiteX65" fmla="*/ 1419818 w 1881147"/>
                <a:gd name="connsiteY65" fmla="*/ 1609846 h 1699586"/>
                <a:gd name="connsiteX66" fmla="*/ 1470595 w 1881147"/>
                <a:gd name="connsiteY66" fmla="*/ 1593303 h 1699586"/>
                <a:gd name="connsiteX67" fmla="*/ 1488274 w 1881147"/>
                <a:gd name="connsiteY67" fmla="*/ 1649125 h 1699586"/>
                <a:gd name="connsiteX68" fmla="*/ 1558169 w 1881147"/>
                <a:gd name="connsiteY68" fmla="*/ 1623447 h 1699586"/>
                <a:gd name="connsiteX69" fmla="*/ 1588947 w 1881147"/>
                <a:gd name="connsiteY69" fmla="*/ 1536691 h 1699586"/>
                <a:gd name="connsiteX70" fmla="*/ 1670383 w 1881147"/>
                <a:gd name="connsiteY70" fmla="*/ 1446549 h 1699586"/>
                <a:gd name="connsiteX71" fmla="*/ 1714974 w 1881147"/>
                <a:gd name="connsiteY71" fmla="*/ 1415419 h 1699586"/>
                <a:gd name="connsiteX72" fmla="*/ 1743343 w 1881147"/>
                <a:gd name="connsiteY72" fmla="*/ 1418714 h 1699586"/>
                <a:gd name="connsiteX73" fmla="*/ 1820935 w 1881147"/>
                <a:gd name="connsiteY73" fmla="*/ 1408106 h 1699586"/>
                <a:gd name="connsiteX74" fmla="*/ 1816054 w 1881147"/>
                <a:gd name="connsiteY74" fmla="*/ 1461670 h 1699586"/>
                <a:gd name="connsiteX75" fmla="*/ 1874221 w 1881147"/>
                <a:gd name="connsiteY75" fmla="*/ 1484991 h 1699586"/>
                <a:gd name="connsiteX76" fmla="*/ 1875829 w 1881147"/>
                <a:gd name="connsiteY76" fmla="*/ 1462357 h 1699586"/>
                <a:gd name="connsiteX77" fmla="*/ 1875051 w 1881147"/>
                <a:gd name="connsiteY77" fmla="*/ 1401623 h 1699586"/>
                <a:gd name="connsiteX78" fmla="*/ 1853086 w 1881147"/>
                <a:gd name="connsiteY78" fmla="*/ 1311480 h 1699586"/>
                <a:gd name="connsiteX79" fmla="*/ 1853086 w 1881147"/>
                <a:gd name="connsiteY79" fmla="*/ 1254330 h 1699586"/>
                <a:gd name="connsiteX80" fmla="*/ 1810224 w 1881147"/>
                <a:gd name="connsiteY80" fmla="*/ 1244805 h 1699586"/>
                <a:gd name="connsiteX81" fmla="*/ 1734024 w 1881147"/>
                <a:gd name="connsiteY81" fmla="*/ 1163842 h 1699586"/>
                <a:gd name="connsiteX82" fmla="*/ 1695924 w 1881147"/>
                <a:gd name="connsiteY82" fmla="*/ 982867 h 1699586"/>
                <a:gd name="connsiteX83" fmla="*/ 1643536 w 1881147"/>
                <a:gd name="connsiteY83" fmla="*/ 949530 h 1699586"/>
                <a:gd name="connsiteX84" fmla="*/ 1605436 w 1881147"/>
                <a:gd name="connsiteY84" fmla="*/ 892380 h 1699586"/>
                <a:gd name="connsiteX85" fmla="*/ 1557811 w 1881147"/>
                <a:gd name="connsiteY85" fmla="*/ 844755 h 1699586"/>
                <a:gd name="connsiteX86" fmla="*/ 1505424 w 1881147"/>
                <a:gd name="connsiteY86" fmla="*/ 825705 h 1699586"/>
                <a:gd name="connsiteX87" fmla="*/ 1453036 w 1881147"/>
                <a:gd name="connsiteY87" fmla="*/ 820942 h 1699586"/>
                <a:gd name="connsiteX88" fmla="*/ 1510186 w 1881147"/>
                <a:gd name="connsiteY88" fmla="*/ 787605 h 1699586"/>
                <a:gd name="connsiteX89" fmla="*/ 1476849 w 1881147"/>
                <a:gd name="connsiteY89" fmla="*/ 754267 h 1699586"/>
                <a:gd name="connsiteX90" fmla="*/ 1481611 w 1881147"/>
                <a:gd name="connsiteY90" fmla="*/ 730455 h 1699586"/>
                <a:gd name="connsiteX91" fmla="*/ 1572099 w 1881147"/>
                <a:gd name="connsiteY91" fmla="*/ 768555 h 1699586"/>
                <a:gd name="connsiteX92" fmla="*/ 1624486 w 1881147"/>
                <a:gd name="connsiteY92" fmla="*/ 701880 h 1699586"/>
                <a:gd name="connsiteX93" fmla="*/ 1622283 w 1881147"/>
                <a:gd name="connsiteY93" fmla="*/ 559005 h 1699586"/>
                <a:gd name="connsiteX94" fmla="*/ 1639486 w 1881147"/>
                <a:gd name="connsiteY94" fmla="*/ 410679 h 1699586"/>
                <a:gd name="connsiteX0" fmla="*/ 1639486 w 1881147"/>
                <a:gd name="connsiteY0" fmla="*/ 403727 h 1692634"/>
                <a:gd name="connsiteX1" fmla="*/ 1567336 w 1881147"/>
                <a:gd name="connsiteY1" fmla="*/ 371078 h 1692634"/>
                <a:gd name="connsiteX2" fmla="*/ 1477087 w 1881147"/>
                <a:gd name="connsiteY2" fmla="*/ 347265 h 1692634"/>
                <a:gd name="connsiteX3" fmla="*/ 1423767 w 1881147"/>
                <a:gd name="connsiteY3" fmla="*/ 270181 h 1692634"/>
                <a:gd name="connsiteX4" fmla="*/ 1395785 w 1881147"/>
                <a:gd name="connsiteY4" fmla="*/ 168336 h 1692634"/>
                <a:gd name="connsiteX5" fmla="*/ 1364769 w 1881147"/>
                <a:gd name="connsiteY5" fmla="*/ 274 h 1692634"/>
                <a:gd name="connsiteX6" fmla="*/ 1297400 w 1881147"/>
                <a:gd name="connsiteY6" fmla="*/ 41972 h 1692634"/>
                <a:gd name="connsiteX7" fmla="*/ 1291832 w 1881147"/>
                <a:gd name="connsiteY7" fmla="*/ 99495 h 1692634"/>
                <a:gd name="connsiteX8" fmla="*/ 1275927 w 1881147"/>
                <a:gd name="connsiteY8" fmla="*/ 150708 h 1692634"/>
                <a:gd name="connsiteX9" fmla="*/ 1214911 w 1881147"/>
                <a:gd name="connsiteY9" fmla="*/ 156765 h 1692634"/>
                <a:gd name="connsiteX10" fmla="*/ 1186336 w 1881147"/>
                <a:gd name="connsiteY10" fmla="*/ 185340 h 1692634"/>
                <a:gd name="connsiteX11" fmla="*/ 1176811 w 1881147"/>
                <a:gd name="connsiteY11" fmla="*/ 256778 h 1692634"/>
                <a:gd name="connsiteX12" fmla="*/ 1114899 w 1881147"/>
                <a:gd name="connsiteY12" fmla="*/ 299640 h 1692634"/>
                <a:gd name="connsiteX13" fmla="*/ 1005361 w 1881147"/>
                <a:gd name="connsiteY13" fmla="*/ 313928 h 1692634"/>
                <a:gd name="connsiteX14" fmla="*/ 962499 w 1881147"/>
                <a:gd name="connsiteY14" fmla="*/ 356790 h 1692634"/>
                <a:gd name="connsiteX15" fmla="*/ 838674 w 1881147"/>
                <a:gd name="connsiteY15" fmla="*/ 356790 h 1692634"/>
                <a:gd name="connsiteX16" fmla="*/ 781524 w 1881147"/>
                <a:gd name="connsiteY16" fmla="*/ 428228 h 1692634"/>
                <a:gd name="connsiteX17" fmla="*/ 781524 w 1881147"/>
                <a:gd name="connsiteY17" fmla="*/ 461565 h 1692634"/>
                <a:gd name="connsiteX18" fmla="*/ 743424 w 1881147"/>
                <a:gd name="connsiteY18" fmla="*/ 485378 h 1692634"/>
                <a:gd name="connsiteX19" fmla="*/ 671986 w 1881147"/>
                <a:gd name="connsiteY19" fmla="*/ 418703 h 1692634"/>
                <a:gd name="connsiteX20" fmla="*/ 519586 w 1881147"/>
                <a:gd name="connsiteY20" fmla="*/ 413940 h 1692634"/>
                <a:gd name="connsiteX21" fmla="*/ 457674 w 1881147"/>
                <a:gd name="connsiteY21" fmla="*/ 432990 h 1692634"/>
                <a:gd name="connsiteX22" fmla="*/ 419574 w 1881147"/>
                <a:gd name="connsiteY22" fmla="*/ 418703 h 1692634"/>
                <a:gd name="connsiteX23" fmla="*/ 400524 w 1881147"/>
                <a:gd name="connsiteY23" fmla="*/ 356790 h 1692634"/>
                <a:gd name="connsiteX24" fmla="*/ 333849 w 1881147"/>
                <a:gd name="connsiteY24" fmla="*/ 304403 h 1692634"/>
                <a:gd name="connsiteX25" fmla="*/ 286224 w 1881147"/>
                <a:gd name="connsiteY25" fmla="*/ 237728 h 1692634"/>
                <a:gd name="connsiteX26" fmla="*/ 143349 w 1881147"/>
                <a:gd name="connsiteY26" fmla="*/ 256778 h 1692634"/>
                <a:gd name="connsiteX27" fmla="*/ 124299 w 1881147"/>
                <a:gd name="connsiteY27" fmla="*/ 332978 h 1692634"/>
                <a:gd name="connsiteX28" fmla="*/ 110011 w 1881147"/>
                <a:gd name="connsiteY28" fmla="*/ 366315 h 1692634"/>
                <a:gd name="connsiteX29" fmla="*/ 133824 w 1881147"/>
                <a:gd name="connsiteY29" fmla="*/ 413940 h 1692634"/>
                <a:gd name="connsiteX30" fmla="*/ 81436 w 1881147"/>
                <a:gd name="connsiteY30" fmla="*/ 452040 h 1692634"/>
                <a:gd name="connsiteX31" fmla="*/ 33811 w 1881147"/>
                <a:gd name="connsiteY31" fmla="*/ 447278 h 1692634"/>
                <a:gd name="connsiteX32" fmla="*/ 33811 w 1881147"/>
                <a:gd name="connsiteY32" fmla="*/ 518715 h 1692634"/>
                <a:gd name="connsiteX33" fmla="*/ 474 w 1881147"/>
                <a:gd name="connsiteY33" fmla="*/ 623490 h 1692634"/>
                <a:gd name="connsiteX34" fmla="*/ 62386 w 1881147"/>
                <a:gd name="connsiteY34" fmla="*/ 699690 h 1692634"/>
                <a:gd name="connsiteX35" fmla="*/ 111977 w 1881147"/>
                <a:gd name="connsiteY35" fmla="*/ 679952 h 1692634"/>
                <a:gd name="connsiteX36" fmla="*/ 112334 w 1881147"/>
                <a:gd name="connsiteY36" fmla="*/ 750211 h 1692634"/>
                <a:gd name="connsiteX37" fmla="*/ 167161 w 1881147"/>
                <a:gd name="connsiteY37" fmla="*/ 780653 h 1692634"/>
                <a:gd name="connsiteX38" fmla="*/ 236159 w 1881147"/>
                <a:gd name="connsiteY38" fmla="*/ 790865 h 1692634"/>
                <a:gd name="connsiteX39" fmla="*/ 271462 w 1881147"/>
                <a:gd name="connsiteY39" fmla="*/ 846836 h 1692634"/>
                <a:gd name="connsiteX40" fmla="*/ 270869 w 1881147"/>
                <a:gd name="connsiteY40" fmla="*/ 891908 h 1692634"/>
                <a:gd name="connsiteX41" fmla="*/ 295393 w 1881147"/>
                <a:gd name="connsiteY41" fmla="*/ 931383 h 1692634"/>
                <a:gd name="connsiteX42" fmla="*/ 341051 w 1881147"/>
                <a:gd name="connsiteY42" fmla="*/ 969975 h 1692634"/>
                <a:gd name="connsiteX43" fmla="*/ 426184 w 1881147"/>
                <a:gd name="connsiteY43" fmla="*/ 1024227 h 1692634"/>
                <a:gd name="connsiteX44" fmla="*/ 461961 w 1881147"/>
                <a:gd name="connsiteY44" fmla="*/ 1095320 h 1692634"/>
                <a:gd name="connsiteX45" fmla="*/ 441064 w 1881147"/>
                <a:gd name="connsiteY45" fmla="*/ 1164893 h 1692634"/>
                <a:gd name="connsiteX46" fmla="*/ 519111 w 1881147"/>
                <a:gd name="connsiteY46" fmla="*/ 1221356 h 1692634"/>
                <a:gd name="connsiteX47" fmla="*/ 591143 w 1881147"/>
                <a:gd name="connsiteY47" fmla="*/ 1254350 h 1692634"/>
                <a:gd name="connsiteX48" fmla="*/ 571974 w 1881147"/>
                <a:gd name="connsiteY48" fmla="*/ 1314053 h 1692634"/>
                <a:gd name="connsiteX49" fmla="*/ 662461 w 1881147"/>
                <a:gd name="connsiteY49" fmla="*/ 1466453 h 1692634"/>
                <a:gd name="connsiteX50" fmla="*/ 755271 w 1881147"/>
                <a:gd name="connsiteY50" fmla="*/ 1539607 h 1692634"/>
                <a:gd name="connsiteX51" fmla="*/ 805336 w 1881147"/>
                <a:gd name="connsiteY51" fmla="*/ 1490265 h 1692634"/>
                <a:gd name="connsiteX52" fmla="*/ 869926 w 1881147"/>
                <a:gd name="connsiteY52" fmla="*/ 1517662 h 1692634"/>
                <a:gd name="connsiteX53" fmla="*/ 924399 w 1881147"/>
                <a:gd name="connsiteY53" fmla="*/ 1485503 h 1692634"/>
                <a:gd name="connsiteX54" fmla="*/ 941246 w 1881147"/>
                <a:gd name="connsiteY54" fmla="*/ 1443327 h 1692634"/>
                <a:gd name="connsiteX55" fmla="*/ 1005123 w 1881147"/>
                <a:gd name="connsiteY55" fmla="*/ 1529739 h 1692634"/>
                <a:gd name="connsiteX56" fmla="*/ 1050190 w 1881147"/>
                <a:gd name="connsiteY56" fmla="*/ 1600833 h 1692634"/>
                <a:gd name="connsiteX57" fmla="*/ 1120136 w 1881147"/>
                <a:gd name="connsiteY57" fmla="*/ 1692352 h 1692634"/>
                <a:gd name="connsiteX58" fmla="*/ 1151034 w 1881147"/>
                <a:gd name="connsiteY58" fmla="*/ 1629261 h 1692634"/>
                <a:gd name="connsiteX59" fmla="*/ 1181693 w 1881147"/>
                <a:gd name="connsiteY59" fmla="*/ 1622781 h 1692634"/>
                <a:gd name="connsiteX60" fmla="*/ 1224792 w 1881147"/>
                <a:gd name="connsiteY60" fmla="*/ 1652044 h 1692634"/>
                <a:gd name="connsiteX61" fmla="*/ 1258367 w 1881147"/>
                <a:gd name="connsiteY61" fmla="*/ 1611390 h 1692634"/>
                <a:gd name="connsiteX62" fmla="*/ 1277188 w 1881147"/>
                <a:gd name="connsiteY62" fmla="*/ 1616007 h 1692634"/>
                <a:gd name="connsiteX63" fmla="*/ 1311230 w 1881147"/>
                <a:gd name="connsiteY63" fmla="*/ 1682484 h 1692634"/>
                <a:gd name="connsiteX64" fmla="*/ 1367786 w 1881147"/>
                <a:gd name="connsiteY64" fmla="*/ 1659015 h 1692634"/>
                <a:gd name="connsiteX65" fmla="*/ 1419818 w 1881147"/>
                <a:gd name="connsiteY65" fmla="*/ 1602894 h 1692634"/>
                <a:gd name="connsiteX66" fmla="*/ 1470595 w 1881147"/>
                <a:gd name="connsiteY66" fmla="*/ 1586351 h 1692634"/>
                <a:gd name="connsiteX67" fmla="*/ 1488274 w 1881147"/>
                <a:gd name="connsiteY67" fmla="*/ 1642173 h 1692634"/>
                <a:gd name="connsiteX68" fmla="*/ 1558169 w 1881147"/>
                <a:gd name="connsiteY68" fmla="*/ 1616495 h 1692634"/>
                <a:gd name="connsiteX69" fmla="*/ 1588947 w 1881147"/>
                <a:gd name="connsiteY69" fmla="*/ 1529739 h 1692634"/>
                <a:gd name="connsiteX70" fmla="*/ 1670383 w 1881147"/>
                <a:gd name="connsiteY70" fmla="*/ 1439597 h 1692634"/>
                <a:gd name="connsiteX71" fmla="*/ 1714974 w 1881147"/>
                <a:gd name="connsiteY71" fmla="*/ 1408467 h 1692634"/>
                <a:gd name="connsiteX72" fmla="*/ 1743343 w 1881147"/>
                <a:gd name="connsiteY72" fmla="*/ 1411762 h 1692634"/>
                <a:gd name="connsiteX73" fmla="*/ 1820935 w 1881147"/>
                <a:gd name="connsiteY73" fmla="*/ 1401154 h 1692634"/>
                <a:gd name="connsiteX74" fmla="*/ 1816054 w 1881147"/>
                <a:gd name="connsiteY74" fmla="*/ 1454718 h 1692634"/>
                <a:gd name="connsiteX75" fmla="*/ 1874221 w 1881147"/>
                <a:gd name="connsiteY75" fmla="*/ 1478039 h 1692634"/>
                <a:gd name="connsiteX76" fmla="*/ 1875829 w 1881147"/>
                <a:gd name="connsiteY76" fmla="*/ 1455405 h 1692634"/>
                <a:gd name="connsiteX77" fmla="*/ 1875051 w 1881147"/>
                <a:gd name="connsiteY77" fmla="*/ 1394671 h 1692634"/>
                <a:gd name="connsiteX78" fmla="*/ 1853086 w 1881147"/>
                <a:gd name="connsiteY78" fmla="*/ 1304528 h 1692634"/>
                <a:gd name="connsiteX79" fmla="*/ 1853086 w 1881147"/>
                <a:gd name="connsiteY79" fmla="*/ 1247378 h 1692634"/>
                <a:gd name="connsiteX80" fmla="*/ 1810224 w 1881147"/>
                <a:gd name="connsiteY80" fmla="*/ 1237853 h 1692634"/>
                <a:gd name="connsiteX81" fmla="*/ 1734024 w 1881147"/>
                <a:gd name="connsiteY81" fmla="*/ 1156890 h 1692634"/>
                <a:gd name="connsiteX82" fmla="*/ 1695924 w 1881147"/>
                <a:gd name="connsiteY82" fmla="*/ 975915 h 1692634"/>
                <a:gd name="connsiteX83" fmla="*/ 1643536 w 1881147"/>
                <a:gd name="connsiteY83" fmla="*/ 942578 h 1692634"/>
                <a:gd name="connsiteX84" fmla="*/ 1605436 w 1881147"/>
                <a:gd name="connsiteY84" fmla="*/ 885428 h 1692634"/>
                <a:gd name="connsiteX85" fmla="*/ 1557811 w 1881147"/>
                <a:gd name="connsiteY85" fmla="*/ 837803 h 1692634"/>
                <a:gd name="connsiteX86" fmla="*/ 1505424 w 1881147"/>
                <a:gd name="connsiteY86" fmla="*/ 818753 h 1692634"/>
                <a:gd name="connsiteX87" fmla="*/ 1453036 w 1881147"/>
                <a:gd name="connsiteY87" fmla="*/ 813990 h 1692634"/>
                <a:gd name="connsiteX88" fmla="*/ 1510186 w 1881147"/>
                <a:gd name="connsiteY88" fmla="*/ 780653 h 1692634"/>
                <a:gd name="connsiteX89" fmla="*/ 1476849 w 1881147"/>
                <a:gd name="connsiteY89" fmla="*/ 747315 h 1692634"/>
                <a:gd name="connsiteX90" fmla="*/ 1481611 w 1881147"/>
                <a:gd name="connsiteY90" fmla="*/ 723503 h 1692634"/>
                <a:gd name="connsiteX91" fmla="*/ 1572099 w 1881147"/>
                <a:gd name="connsiteY91" fmla="*/ 761603 h 1692634"/>
                <a:gd name="connsiteX92" fmla="*/ 1624486 w 1881147"/>
                <a:gd name="connsiteY92" fmla="*/ 694928 h 1692634"/>
                <a:gd name="connsiteX93" fmla="*/ 1622283 w 1881147"/>
                <a:gd name="connsiteY93" fmla="*/ 552053 h 1692634"/>
                <a:gd name="connsiteX94" fmla="*/ 1639486 w 1881147"/>
                <a:gd name="connsiteY94" fmla="*/ 403727 h 1692634"/>
                <a:gd name="connsiteX0" fmla="*/ 1639486 w 1881147"/>
                <a:gd name="connsiteY0" fmla="*/ 403995 h 1692902"/>
                <a:gd name="connsiteX1" fmla="*/ 1567336 w 1881147"/>
                <a:gd name="connsiteY1" fmla="*/ 371346 h 1692902"/>
                <a:gd name="connsiteX2" fmla="*/ 1477087 w 1881147"/>
                <a:gd name="connsiteY2" fmla="*/ 347533 h 1692902"/>
                <a:gd name="connsiteX3" fmla="*/ 1423767 w 1881147"/>
                <a:gd name="connsiteY3" fmla="*/ 270449 h 1692902"/>
                <a:gd name="connsiteX4" fmla="*/ 1395785 w 1881147"/>
                <a:gd name="connsiteY4" fmla="*/ 168604 h 1692902"/>
                <a:gd name="connsiteX5" fmla="*/ 1364769 w 1881147"/>
                <a:gd name="connsiteY5" fmla="*/ 542 h 1692902"/>
                <a:gd name="connsiteX6" fmla="*/ 1297400 w 1881147"/>
                <a:gd name="connsiteY6" fmla="*/ 42240 h 1692902"/>
                <a:gd name="connsiteX7" fmla="*/ 1291832 w 1881147"/>
                <a:gd name="connsiteY7" fmla="*/ 99763 h 1692902"/>
                <a:gd name="connsiteX8" fmla="*/ 1275927 w 1881147"/>
                <a:gd name="connsiteY8" fmla="*/ 150976 h 1692902"/>
                <a:gd name="connsiteX9" fmla="*/ 1214911 w 1881147"/>
                <a:gd name="connsiteY9" fmla="*/ 157033 h 1692902"/>
                <a:gd name="connsiteX10" fmla="*/ 1186336 w 1881147"/>
                <a:gd name="connsiteY10" fmla="*/ 185608 h 1692902"/>
                <a:gd name="connsiteX11" fmla="*/ 1176811 w 1881147"/>
                <a:gd name="connsiteY11" fmla="*/ 257046 h 1692902"/>
                <a:gd name="connsiteX12" fmla="*/ 1114899 w 1881147"/>
                <a:gd name="connsiteY12" fmla="*/ 299908 h 1692902"/>
                <a:gd name="connsiteX13" fmla="*/ 1005361 w 1881147"/>
                <a:gd name="connsiteY13" fmla="*/ 314196 h 1692902"/>
                <a:gd name="connsiteX14" fmla="*/ 962499 w 1881147"/>
                <a:gd name="connsiteY14" fmla="*/ 357058 h 1692902"/>
                <a:gd name="connsiteX15" fmla="*/ 838674 w 1881147"/>
                <a:gd name="connsiteY15" fmla="*/ 357058 h 1692902"/>
                <a:gd name="connsiteX16" fmla="*/ 781524 w 1881147"/>
                <a:gd name="connsiteY16" fmla="*/ 428496 h 1692902"/>
                <a:gd name="connsiteX17" fmla="*/ 781524 w 1881147"/>
                <a:gd name="connsiteY17" fmla="*/ 461833 h 1692902"/>
                <a:gd name="connsiteX18" fmla="*/ 743424 w 1881147"/>
                <a:gd name="connsiteY18" fmla="*/ 485646 h 1692902"/>
                <a:gd name="connsiteX19" fmla="*/ 671986 w 1881147"/>
                <a:gd name="connsiteY19" fmla="*/ 418971 h 1692902"/>
                <a:gd name="connsiteX20" fmla="*/ 519586 w 1881147"/>
                <a:gd name="connsiteY20" fmla="*/ 414208 h 1692902"/>
                <a:gd name="connsiteX21" fmla="*/ 457674 w 1881147"/>
                <a:gd name="connsiteY21" fmla="*/ 433258 h 1692902"/>
                <a:gd name="connsiteX22" fmla="*/ 419574 w 1881147"/>
                <a:gd name="connsiteY22" fmla="*/ 418971 h 1692902"/>
                <a:gd name="connsiteX23" fmla="*/ 400524 w 1881147"/>
                <a:gd name="connsiteY23" fmla="*/ 357058 h 1692902"/>
                <a:gd name="connsiteX24" fmla="*/ 333849 w 1881147"/>
                <a:gd name="connsiteY24" fmla="*/ 304671 h 1692902"/>
                <a:gd name="connsiteX25" fmla="*/ 286224 w 1881147"/>
                <a:gd name="connsiteY25" fmla="*/ 237996 h 1692902"/>
                <a:gd name="connsiteX26" fmla="*/ 143349 w 1881147"/>
                <a:gd name="connsiteY26" fmla="*/ 257046 h 1692902"/>
                <a:gd name="connsiteX27" fmla="*/ 124299 w 1881147"/>
                <a:gd name="connsiteY27" fmla="*/ 333246 h 1692902"/>
                <a:gd name="connsiteX28" fmla="*/ 110011 w 1881147"/>
                <a:gd name="connsiteY28" fmla="*/ 366583 h 1692902"/>
                <a:gd name="connsiteX29" fmla="*/ 133824 w 1881147"/>
                <a:gd name="connsiteY29" fmla="*/ 414208 h 1692902"/>
                <a:gd name="connsiteX30" fmla="*/ 81436 w 1881147"/>
                <a:gd name="connsiteY30" fmla="*/ 452308 h 1692902"/>
                <a:gd name="connsiteX31" fmla="*/ 33811 w 1881147"/>
                <a:gd name="connsiteY31" fmla="*/ 447546 h 1692902"/>
                <a:gd name="connsiteX32" fmla="*/ 33811 w 1881147"/>
                <a:gd name="connsiteY32" fmla="*/ 518983 h 1692902"/>
                <a:gd name="connsiteX33" fmla="*/ 474 w 1881147"/>
                <a:gd name="connsiteY33" fmla="*/ 623758 h 1692902"/>
                <a:gd name="connsiteX34" fmla="*/ 62386 w 1881147"/>
                <a:gd name="connsiteY34" fmla="*/ 699958 h 1692902"/>
                <a:gd name="connsiteX35" fmla="*/ 111977 w 1881147"/>
                <a:gd name="connsiteY35" fmla="*/ 680220 h 1692902"/>
                <a:gd name="connsiteX36" fmla="*/ 112334 w 1881147"/>
                <a:gd name="connsiteY36" fmla="*/ 750479 h 1692902"/>
                <a:gd name="connsiteX37" fmla="*/ 167161 w 1881147"/>
                <a:gd name="connsiteY37" fmla="*/ 780921 h 1692902"/>
                <a:gd name="connsiteX38" fmla="*/ 236159 w 1881147"/>
                <a:gd name="connsiteY38" fmla="*/ 791133 h 1692902"/>
                <a:gd name="connsiteX39" fmla="*/ 271462 w 1881147"/>
                <a:gd name="connsiteY39" fmla="*/ 847104 h 1692902"/>
                <a:gd name="connsiteX40" fmla="*/ 270869 w 1881147"/>
                <a:gd name="connsiteY40" fmla="*/ 892176 h 1692902"/>
                <a:gd name="connsiteX41" fmla="*/ 295393 w 1881147"/>
                <a:gd name="connsiteY41" fmla="*/ 931651 h 1692902"/>
                <a:gd name="connsiteX42" fmla="*/ 341051 w 1881147"/>
                <a:gd name="connsiteY42" fmla="*/ 970243 h 1692902"/>
                <a:gd name="connsiteX43" fmla="*/ 426184 w 1881147"/>
                <a:gd name="connsiteY43" fmla="*/ 1024495 h 1692902"/>
                <a:gd name="connsiteX44" fmla="*/ 461961 w 1881147"/>
                <a:gd name="connsiteY44" fmla="*/ 1095588 h 1692902"/>
                <a:gd name="connsiteX45" fmla="*/ 441064 w 1881147"/>
                <a:gd name="connsiteY45" fmla="*/ 1165161 h 1692902"/>
                <a:gd name="connsiteX46" fmla="*/ 519111 w 1881147"/>
                <a:gd name="connsiteY46" fmla="*/ 1221624 h 1692902"/>
                <a:gd name="connsiteX47" fmla="*/ 591143 w 1881147"/>
                <a:gd name="connsiteY47" fmla="*/ 1254618 h 1692902"/>
                <a:gd name="connsiteX48" fmla="*/ 571974 w 1881147"/>
                <a:gd name="connsiteY48" fmla="*/ 1314321 h 1692902"/>
                <a:gd name="connsiteX49" fmla="*/ 662461 w 1881147"/>
                <a:gd name="connsiteY49" fmla="*/ 1466721 h 1692902"/>
                <a:gd name="connsiteX50" fmla="*/ 755271 w 1881147"/>
                <a:gd name="connsiteY50" fmla="*/ 1539875 h 1692902"/>
                <a:gd name="connsiteX51" fmla="*/ 805336 w 1881147"/>
                <a:gd name="connsiteY51" fmla="*/ 1490533 h 1692902"/>
                <a:gd name="connsiteX52" fmla="*/ 869926 w 1881147"/>
                <a:gd name="connsiteY52" fmla="*/ 1517930 h 1692902"/>
                <a:gd name="connsiteX53" fmla="*/ 924399 w 1881147"/>
                <a:gd name="connsiteY53" fmla="*/ 1485771 h 1692902"/>
                <a:gd name="connsiteX54" fmla="*/ 941246 w 1881147"/>
                <a:gd name="connsiteY54" fmla="*/ 1443595 h 1692902"/>
                <a:gd name="connsiteX55" fmla="*/ 1005123 w 1881147"/>
                <a:gd name="connsiteY55" fmla="*/ 1530007 h 1692902"/>
                <a:gd name="connsiteX56" fmla="*/ 1050190 w 1881147"/>
                <a:gd name="connsiteY56" fmla="*/ 1601101 h 1692902"/>
                <a:gd name="connsiteX57" fmla="*/ 1120136 w 1881147"/>
                <a:gd name="connsiteY57" fmla="*/ 1692620 h 1692902"/>
                <a:gd name="connsiteX58" fmla="*/ 1151034 w 1881147"/>
                <a:gd name="connsiteY58" fmla="*/ 1629529 h 1692902"/>
                <a:gd name="connsiteX59" fmla="*/ 1181693 w 1881147"/>
                <a:gd name="connsiteY59" fmla="*/ 1623049 h 1692902"/>
                <a:gd name="connsiteX60" fmla="*/ 1224792 w 1881147"/>
                <a:gd name="connsiteY60" fmla="*/ 1652312 h 1692902"/>
                <a:gd name="connsiteX61" fmla="*/ 1258367 w 1881147"/>
                <a:gd name="connsiteY61" fmla="*/ 1611658 h 1692902"/>
                <a:gd name="connsiteX62" fmla="*/ 1277188 w 1881147"/>
                <a:gd name="connsiteY62" fmla="*/ 1616275 h 1692902"/>
                <a:gd name="connsiteX63" fmla="*/ 1311230 w 1881147"/>
                <a:gd name="connsiteY63" fmla="*/ 1682752 h 1692902"/>
                <a:gd name="connsiteX64" fmla="*/ 1367786 w 1881147"/>
                <a:gd name="connsiteY64" fmla="*/ 1659283 h 1692902"/>
                <a:gd name="connsiteX65" fmla="*/ 1419818 w 1881147"/>
                <a:gd name="connsiteY65" fmla="*/ 1603162 h 1692902"/>
                <a:gd name="connsiteX66" fmla="*/ 1470595 w 1881147"/>
                <a:gd name="connsiteY66" fmla="*/ 1586619 h 1692902"/>
                <a:gd name="connsiteX67" fmla="*/ 1488274 w 1881147"/>
                <a:gd name="connsiteY67" fmla="*/ 1642441 h 1692902"/>
                <a:gd name="connsiteX68" fmla="*/ 1558169 w 1881147"/>
                <a:gd name="connsiteY68" fmla="*/ 1616763 h 1692902"/>
                <a:gd name="connsiteX69" fmla="*/ 1588947 w 1881147"/>
                <a:gd name="connsiteY69" fmla="*/ 1530007 h 1692902"/>
                <a:gd name="connsiteX70" fmla="*/ 1670383 w 1881147"/>
                <a:gd name="connsiteY70" fmla="*/ 1439865 h 1692902"/>
                <a:gd name="connsiteX71" fmla="*/ 1714974 w 1881147"/>
                <a:gd name="connsiteY71" fmla="*/ 1408735 h 1692902"/>
                <a:gd name="connsiteX72" fmla="*/ 1743343 w 1881147"/>
                <a:gd name="connsiteY72" fmla="*/ 1412030 h 1692902"/>
                <a:gd name="connsiteX73" fmla="*/ 1820935 w 1881147"/>
                <a:gd name="connsiteY73" fmla="*/ 1401422 h 1692902"/>
                <a:gd name="connsiteX74" fmla="*/ 1816054 w 1881147"/>
                <a:gd name="connsiteY74" fmla="*/ 1454986 h 1692902"/>
                <a:gd name="connsiteX75" fmla="*/ 1874221 w 1881147"/>
                <a:gd name="connsiteY75" fmla="*/ 1478307 h 1692902"/>
                <a:gd name="connsiteX76" fmla="*/ 1875829 w 1881147"/>
                <a:gd name="connsiteY76" fmla="*/ 1455673 h 1692902"/>
                <a:gd name="connsiteX77" fmla="*/ 1875051 w 1881147"/>
                <a:gd name="connsiteY77" fmla="*/ 1394939 h 1692902"/>
                <a:gd name="connsiteX78" fmla="*/ 1853086 w 1881147"/>
                <a:gd name="connsiteY78" fmla="*/ 1304796 h 1692902"/>
                <a:gd name="connsiteX79" fmla="*/ 1853086 w 1881147"/>
                <a:gd name="connsiteY79" fmla="*/ 1247646 h 1692902"/>
                <a:gd name="connsiteX80" fmla="*/ 1810224 w 1881147"/>
                <a:gd name="connsiteY80" fmla="*/ 1238121 h 1692902"/>
                <a:gd name="connsiteX81" fmla="*/ 1734024 w 1881147"/>
                <a:gd name="connsiteY81" fmla="*/ 1157158 h 1692902"/>
                <a:gd name="connsiteX82" fmla="*/ 1695924 w 1881147"/>
                <a:gd name="connsiteY82" fmla="*/ 976183 h 1692902"/>
                <a:gd name="connsiteX83" fmla="*/ 1643536 w 1881147"/>
                <a:gd name="connsiteY83" fmla="*/ 942846 h 1692902"/>
                <a:gd name="connsiteX84" fmla="*/ 1605436 w 1881147"/>
                <a:gd name="connsiteY84" fmla="*/ 885696 h 1692902"/>
                <a:gd name="connsiteX85" fmla="*/ 1557811 w 1881147"/>
                <a:gd name="connsiteY85" fmla="*/ 838071 h 1692902"/>
                <a:gd name="connsiteX86" fmla="*/ 1505424 w 1881147"/>
                <a:gd name="connsiteY86" fmla="*/ 819021 h 1692902"/>
                <a:gd name="connsiteX87" fmla="*/ 1453036 w 1881147"/>
                <a:gd name="connsiteY87" fmla="*/ 814258 h 1692902"/>
                <a:gd name="connsiteX88" fmla="*/ 1510186 w 1881147"/>
                <a:gd name="connsiteY88" fmla="*/ 780921 h 1692902"/>
                <a:gd name="connsiteX89" fmla="*/ 1476849 w 1881147"/>
                <a:gd name="connsiteY89" fmla="*/ 747583 h 1692902"/>
                <a:gd name="connsiteX90" fmla="*/ 1481611 w 1881147"/>
                <a:gd name="connsiteY90" fmla="*/ 723771 h 1692902"/>
                <a:gd name="connsiteX91" fmla="*/ 1572099 w 1881147"/>
                <a:gd name="connsiteY91" fmla="*/ 761871 h 1692902"/>
                <a:gd name="connsiteX92" fmla="*/ 1624486 w 1881147"/>
                <a:gd name="connsiteY92" fmla="*/ 695196 h 1692902"/>
                <a:gd name="connsiteX93" fmla="*/ 1622283 w 1881147"/>
                <a:gd name="connsiteY93" fmla="*/ 552321 h 1692902"/>
                <a:gd name="connsiteX94" fmla="*/ 1639486 w 1881147"/>
                <a:gd name="connsiteY94" fmla="*/ 403995 h 1692902"/>
                <a:gd name="connsiteX0" fmla="*/ 1639486 w 1881147"/>
                <a:gd name="connsiteY0" fmla="*/ 410678 h 1699585"/>
                <a:gd name="connsiteX1" fmla="*/ 1567336 w 1881147"/>
                <a:gd name="connsiteY1" fmla="*/ 378029 h 1699585"/>
                <a:gd name="connsiteX2" fmla="*/ 1477087 w 1881147"/>
                <a:gd name="connsiteY2" fmla="*/ 354216 h 1699585"/>
                <a:gd name="connsiteX3" fmla="*/ 1423767 w 1881147"/>
                <a:gd name="connsiteY3" fmla="*/ 277132 h 1699585"/>
                <a:gd name="connsiteX4" fmla="*/ 1400666 w 1881147"/>
                <a:gd name="connsiteY4" fmla="*/ 175287 h 1699585"/>
                <a:gd name="connsiteX5" fmla="*/ 1364769 w 1881147"/>
                <a:gd name="connsiteY5" fmla="*/ 7225 h 1699585"/>
                <a:gd name="connsiteX6" fmla="*/ 1297400 w 1881147"/>
                <a:gd name="connsiteY6" fmla="*/ 48923 h 1699585"/>
                <a:gd name="connsiteX7" fmla="*/ 1291832 w 1881147"/>
                <a:gd name="connsiteY7" fmla="*/ 106446 h 1699585"/>
                <a:gd name="connsiteX8" fmla="*/ 1275927 w 1881147"/>
                <a:gd name="connsiteY8" fmla="*/ 157659 h 1699585"/>
                <a:gd name="connsiteX9" fmla="*/ 1214911 w 1881147"/>
                <a:gd name="connsiteY9" fmla="*/ 163716 h 1699585"/>
                <a:gd name="connsiteX10" fmla="*/ 1186336 w 1881147"/>
                <a:gd name="connsiteY10" fmla="*/ 192291 h 1699585"/>
                <a:gd name="connsiteX11" fmla="*/ 1176811 w 1881147"/>
                <a:gd name="connsiteY11" fmla="*/ 263729 h 1699585"/>
                <a:gd name="connsiteX12" fmla="*/ 1114899 w 1881147"/>
                <a:gd name="connsiteY12" fmla="*/ 306591 h 1699585"/>
                <a:gd name="connsiteX13" fmla="*/ 1005361 w 1881147"/>
                <a:gd name="connsiteY13" fmla="*/ 320879 h 1699585"/>
                <a:gd name="connsiteX14" fmla="*/ 962499 w 1881147"/>
                <a:gd name="connsiteY14" fmla="*/ 363741 h 1699585"/>
                <a:gd name="connsiteX15" fmla="*/ 838674 w 1881147"/>
                <a:gd name="connsiteY15" fmla="*/ 363741 h 1699585"/>
                <a:gd name="connsiteX16" fmla="*/ 781524 w 1881147"/>
                <a:gd name="connsiteY16" fmla="*/ 435179 h 1699585"/>
                <a:gd name="connsiteX17" fmla="*/ 781524 w 1881147"/>
                <a:gd name="connsiteY17" fmla="*/ 468516 h 1699585"/>
                <a:gd name="connsiteX18" fmla="*/ 743424 w 1881147"/>
                <a:gd name="connsiteY18" fmla="*/ 492329 h 1699585"/>
                <a:gd name="connsiteX19" fmla="*/ 671986 w 1881147"/>
                <a:gd name="connsiteY19" fmla="*/ 425654 h 1699585"/>
                <a:gd name="connsiteX20" fmla="*/ 519586 w 1881147"/>
                <a:gd name="connsiteY20" fmla="*/ 420891 h 1699585"/>
                <a:gd name="connsiteX21" fmla="*/ 457674 w 1881147"/>
                <a:gd name="connsiteY21" fmla="*/ 439941 h 1699585"/>
                <a:gd name="connsiteX22" fmla="*/ 419574 w 1881147"/>
                <a:gd name="connsiteY22" fmla="*/ 425654 h 1699585"/>
                <a:gd name="connsiteX23" fmla="*/ 400524 w 1881147"/>
                <a:gd name="connsiteY23" fmla="*/ 363741 h 1699585"/>
                <a:gd name="connsiteX24" fmla="*/ 333849 w 1881147"/>
                <a:gd name="connsiteY24" fmla="*/ 311354 h 1699585"/>
                <a:gd name="connsiteX25" fmla="*/ 286224 w 1881147"/>
                <a:gd name="connsiteY25" fmla="*/ 244679 h 1699585"/>
                <a:gd name="connsiteX26" fmla="*/ 143349 w 1881147"/>
                <a:gd name="connsiteY26" fmla="*/ 263729 h 1699585"/>
                <a:gd name="connsiteX27" fmla="*/ 124299 w 1881147"/>
                <a:gd name="connsiteY27" fmla="*/ 339929 h 1699585"/>
                <a:gd name="connsiteX28" fmla="*/ 110011 w 1881147"/>
                <a:gd name="connsiteY28" fmla="*/ 373266 h 1699585"/>
                <a:gd name="connsiteX29" fmla="*/ 133824 w 1881147"/>
                <a:gd name="connsiteY29" fmla="*/ 420891 h 1699585"/>
                <a:gd name="connsiteX30" fmla="*/ 81436 w 1881147"/>
                <a:gd name="connsiteY30" fmla="*/ 458991 h 1699585"/>
                <a:gd name="connsiteX31" fmla="*/ 33811 w 1881147"/>
                <a:gd name="connsiteY31" fmla="*/ 454229 h 1699585"/>
                <a:gd name="connsiteX32" fmla="*/ 33811 w 1881147"/>
                <a:gd name="connsiteY32" fmla="*/ 525666 h 1699585"/>
                <a:gd name="connsiteX33" fmla="*/ 474 w 1881147"/>
                <a:gd name="connsiteY33" fmla="*/ 630441 h 1699585"/>
                <a:gd name="connsiteX34" fmla="*/ 62386 w 1881147"/>
                <a:gd name="connsiteY34" fmla="*/ 706641 h 1699585"/>
                <a:gd name="connsiteX35" fmla="*/ 111977 w 1881147"/>
                <a:gd name="connsiteY35" fmla="*/ 686903 h 1699585"/>
                <a:gd name="connsiteX36" fmla="*/ 112334 w 1881147"/>
                <a:gd name="connsiteY36" fmla="*/ 757162 h 1699585"/>
                <a:gd name="connsiteX37" fmla="*/ 167161 w 1881147"/>
                <a:gd name="connsiteY37" fmla="*/ 787604 h 1699585"/>
                <a:gd name="connsiteX38" fmla="*/ 236159 w 1881147"/>
                <a:gd name="connsiteY38" fmla="*/ 797816 h 1699585"/>
                <a:gd name="connsiteX39" fmla="*/ 271462 w 1881147"/>
                <a:gd name="connsiteY39" fmla="*/ 853787 h 1699585"/>
                <a:gd name="connsiteX40" fmla="*/ 270869 w 1881147"/>
                <a:gd name="connsiteY40" fmla="*/ 898859 h 1699585"/>
                <a:gd name="connsiteX41" fmla="*/ 295393 w 1881147"/>
                <a:gd name="connsiteY41" fmla="*/ 938334 h 1699585"/>
                <a:gd name="connsiteX42" fmla="*/ 341051 w 1881147"/>
                <a:gd name="connsiteY42" fmla="*/ 976926 h 1699585"/>
                <a:gd name="connsiteX43" fmla="*/ 426184 w 1881147"/>
                <a:gd name="connsiteY43" fmla="*/ 1031178 h 1699585"/>
                <a:gd name="connsiteX44" fmla="*/ 461961 w 1881147"/>
                <a:gd name="connsiteY44" fmla="*/ 1102271 h 1699585"/>
                <a:gd name="connsiteX45" fmla="*/ 441064 w 1881147"/>
                <a:gd name="connsiteY45" fmla="*/ 1171844 h 1699585"/>
                <a:gd name="connsiteX46" fmla="*/ 519111 w 1881147"/>
                <a:gd name="connsiteY46" fmla="*/ 1228307 h 1699585"/>
                <a:gd name="connsiteX47" fmla="*/ 591143 w 1881147"/>
                <a:gd name="connsiteY47" fmla="*/ 1261301 h 1699585"/>
                <a:gd name="connsiteX48" fmla="*/ 571974 w 1881147"/>
                <a:gd name="connsiteY48" fmla="*/ 1321004 h 1699585"/>
                <a:gd name="connsiteX49" fmla="*/ 662461 w 1881147"/>
                <a:gd name="connsiteY49" fmla="*/ 1473404 h 1699585"/>
                <a:gd name="connsiteX50" fmla="*/ 755271 w 1881147"/>
                <a:gd name="connsiteY50" fmla="*/ 1546558 h 1699585"/>
                <a:gd name="connsiteX51" fmla="*/ 805336 w 1881147"/>
                <a:gd name="connsiteY51" fmla="*/ 1497216 h 1699585"/>
                <a:gd name="connsiteX52" fmla="*/ 869926 w 1881147"/>
                <a:gd name="connsiteY52" fmla="*/ 1524613 h 1699585"/>
                <a:gd name="connsiteX53" fmla="*/ 924399 w 1881147"/>
                <a:gd name="connsiteY53" fmla="*/ 1492454 h 1699585"/>
                <a:gd name="connsiteX54" fmla="*/ 941246 w 1881147"/>
                <a:gd name="connsiteY54" fmla="*/ 1450278 h 1699585"/>
                <a:gd name="connsiteX55" fmla="*/ 1005123 w 1881147"/>
                <a:gd name="connsiteY55" fmla="*/ 1536690 h 1699585"/>
                <a:gd name="connsiteX56" fmla="*/ 1050190 w 1881147"/>
                <a:gd name="connsiteY56" fmla="*/ 1607784 h 1699585"/>
                <a:gd name="connsiteX57" fmla="*/ 1120136 w 1881147"/>
                <a:gd name="connsiteY57" fmla="*/ 1699303 h 1699585"/>
                <a:gd name="connsiteX58" fmla="*/ 1151034 w 1881147"/>
                <a:gd name="connsiteY58" fmla="*/ 1636212 h 1699585"/>
                <a:gd name="connsiteX59" fmla="*/ 1181693 w 1881147"/>
                <a:gd name="connsiteY59" fmla="*/ 1629732 h 1699585"/>
                <a:gd name="connsiteX60" fmla="*/ 1224792 w 1881147"/>
                <a:gd name="connsiteY60" fmla="*/ 1658995 h 1699585"/>
                <a:gd name="connsiteX61" fmla="*/ 1258367 w 1881147"/>
                <a:gd name="connsiteY61" fmla="*/ 1618341 h 1699585"/>
                <a:gd name="connsiteX62" fmla="*/ 1277188 w 1881147"/>
                <a:gd name="connsiteY62" fmla="*/ 1622958 h 1699585"/>
                <a:gd name="connsiteX63" fmla="*/ 1311230 w 1881147"/>
                <a:gd name="connsiteY63" fmla="*/ 1689435 h 1699585"/>
                <a:gd name="connsiteX64" fmla="*/ 1367786 w 1881147"/>
                <a:gd name="connsiteY64" fmla="*/ 1665966 h 1699585"/>
                <a:gd name="connsiteX65" fmla="*/ 1419818 w 1881147"/>
                <a:gd name="connsiteY65" fmla="*/ 1609845 h 1699585"/>
                <a:gd name="connsiteX66" fmla="*/ 1470595 w 1881147"/>
                <a:gd name="connsiteY66" fmla="*/ 1593302 h 1699585"/>
                <a:gd name="connsiteX67" fmla="*/ 1488274 w 1881147"/>
                <a:gd name="connsiteY67" fmla="*/ 1649124 h 1699585"/>
                <a:gd name="connsiteX68" fmla="*/ 1558169 w 1881147"/>
                <a:gd name="connsiteY68" fmla="*/ 1623446 h 1699585"/>
                <a:gd name="connsiteX69" fmla="*/ 1588947 w 1881147"/>
                <a:gd name="connsiteY69" fmla="*/ 1536690 h 1699585"/>
                <a:gd name="connsiteX70" fmla="*/ 1670383 w 1881147"/>
                <a:gd name="connsiteY70" fmla="*/ 1446548 h 1699585"/>
                <a:gd name="connsiteX71" fmla="*/ 1714974 w 1881147"/>
                <a:gd name="connsiteY71" fmla="*/ 1415418 h 1699585"/>
                <a:gd name="connsiteX72" fmla="*/ 1743343 w 1881147"/>
                <a:gd name="connsiteY72" fmla="*/ 1418713 h 1699585"/>
                <a:gd name="connsiteX73" fmla="*/ 1820935 w 1881147"/>
                <a:gd name="connsiteY73" fmla="*/ 1408105 h 1699585"/>
                <a:gd name="connsiteX74" fmla="*/ 1816054 w 1881147"/>
                <a:gd name="connsiteY74" fmla="*/ 1461669 h 1699585"/>
                <a:gd name="connsiteX75" fmla="*/ 1874221 w 1881147"/>
                <a:gd name="connsiteY75" fmla="*/ 1484990 h 1699585"/>
                <a:gd name="connsiteX76" fmla="*/ 1875829 w 1881147"/>
                <a:gd name="connsiteY76" fmla="*/ 1462356 h 1699585"/>
                <a:gd name="connsiteX77" fmla="*/ 1875051 w 1881147"/>
                <a:gd name="connsiteY77" fmla="*/ 1401622 h 1699585"/>
                <a:gd name="connsiteX78" fmla="*/ 1853086 w 1881147"/>
                <a:gd name="connsiteY78" fmla="*/ 1311479 h 1699585"/>
                <a:gd name="connsiteX79" fmla="*/ 1853086 w 1881147"/>
                <a:gd name="connsiteY79" fmla="*/ 1254329 h 1699585"/>
                <a:gd name="connsiteX80" fmla="*/ 1810224 w 1881147"/>
                <a:gd name="connsiteY80" fmla="*/ 1244804 h 1699585"/>
                <a:gd name="connsiteX81" fmla="*/ 1734024 w 1881147"/>
                <a:gd name="connsiteY81" fmla="*/ 1163841 h 1699585"/>
                <a:gd name="connsiteX82" fmla="*/ 1695924 w 1881147"/>
                <a:gd name="connsiteY82" fmla="*/ 982866 h 1699585"/>
                <a:gd name="connsiteX83" fmla="*/ 1643536 w 1881147"/>
                <a:gd name="connsiteY83" fmla="*/ 949529 h 1699585"/>
                <a:gd name="connsiteX84" fmla="*/ 1605436 w 1881147"/>
                <a:gd name="connsiteY84" fmla="*/ 892379 h 1699585"/>
                <a:gd name="connsiteX85" fmla="*/ 1557811 w 1881147"/>
                <a:gd name="connsiteY85" fmla="*/ 844754 h 1699585"/>
                <a:gd name="connsiteX86" fmla="*/ 1505424 w 1881147"/>
                <a:gd name="connsiteY86" fmla="*/ 825704 h 1699585"/>
                <a:gd name="connsiteX87" fmla="*/ 1453036 w 1881147"/>
                <a:gd name="connsiteY87" fmla="*/ 820941 h 1699585"/>
                <a:gd name="connsiteX88" fmla="*/ 1510186 w 1881147"/>
                <a:gd name="connsiteY88" fmla="*/ 787604 h 1699585"/>
                <a:gd name="connsiteX89" fmla="*/ 1476849 w 1881147"/>
                <a:gd name="connsiteY89" fmla="*/ 754266 h 1699585"/>
                <a:gd name="connsiteX90" fmla="*/ 1481611 w 1881147"/>
                <a:gd name="connsiteY90" fmla="*/ 730454 h 1699585"/>
                <a:gd name="connsiteX91" fmla="*/ 1572099 w 1881147"/>
                <a:gd name="connsiteY91" fmla="*/ 768554 h 1699585"/>
                <a:gd name="connsiteX92" fmla="*/ 1624486 w 1881147"/>
                <a:gd name="connsiteY92" fmla="*/ 701879 h 1699585"/>
                <a:gd name="connsiteX93" fmla="*/ 1622283 w 1881147"/>
                <a:gd name="connsiteY93" fmla="*/ 559004 h 1699585"/>
                <a:gd name="connsiteX94" fmla="*/ 1639486 w 1881147"/>
                <a:gd name="connsiteY94" fmla="*/ 410678 h 1699585"/>
                <a:gd name="connsiteX0" fmla="*/ 1639486 w 1881147"/>
                <a:gd name="connsiteY0" fmla="*/ 419377 h 1708284"/>
                <a:gd name="connsiteX1" fmla="*/ 1567336 w 1881147"/>
                <a:gd name="connsiteY1" fmla="*/ 386728 h 1708284"/>
                <a:gd name="connsiteX2" fmla="*/ 1477087 w 1881147"/>
                <a:gd name="connsiteY2" fmla="*/ 362915 h 1708284"/>
                <a:gd name="connsiteX3" fmla="*/ 1423767 w 1881147"/>
                <a:gd name="connsiteY3" fmla="*/ 285831 h 1708284"/>
                <a:gd name="connsiteX4" fmla="*/ 1400666 w 1881147"/>
                <a:gd name="connsiteY4" fmla="*/ 183986 h 1708284"/>
                <a:gd name="connsiteX5" fmla="*/ 1364769 w 1881147"/>
                <a:gd name="connsiteY5" fmla="*/ 15924 h 1708284"/>
                <a:gd name="connsiteX6" fmla="*/ 1297400 w 1881147"/>
                <a:gd name="connsiteY6" fmla="*/ 57622 h 1708284"/>
                <a:gd name="connsiteX7" fmla="*/ 1291832 w 1881147"/>
                <a:gd name="connsiteY7" fmla="*/ 115145 h 1708284"/>
                <a:gd name="connsiteX8" fmla="*/ 1275927 w 1881147"/>
                <a:gd name="connsiteY8" fmla="*/ 166358 h 1708284"/>
                <a:gd name="connsiteX9" fmla="*/ 1214911 w 1881147"/>
                <a:gd name="connsiteY9" fmla="*/ 172415 h 1708284"/>
                <a:gd name="connsiteX10" fmla="*/ 1186336 w 1881147"/>
                <a:gd name="connsiteY10" fmla="*/ 200990 h 1708284"/>
                <a:gd name="connsiteX11" fmla="*/ 1176811 w 1881147"/>
                <a:gd name="connsiteY11" fmla="*/ 272428 h 1708284"/>
                <a:gd name="connsiteX12" fmla="*/ 1114899 w 1881147"/>
                <a:gd name="connsiteY12" fmla="*/ 315290 h 1708284"/>
                <a:gd name="connsiteX13" fmla="*/ 1005361 w 1881147"/>
                <a:gd name="connsiteY13" fmla="*/ 329578 h 1708284"/>
                <a:gd name="connsiteX14" fmla="*/ 962499 w 1881147"/>
                <a:gd name="connsiteY14" fmla="*/ 372440 h 1708284"/>
                <a:gd name="connsiteX15" fmla="*/ 838674 w 1881147"/>
                <a:gd name="connsiteY15" fmla="*/ 372440 h 1708284"/>
                <a:gd name="connsiteX16" fmla="*/ 781524 w 1881147"/>
                <a:gd name="connsiteY16" fmla="*/ 443878 h 1708284"/>
                <a:gd name="connsiteX17" fmla="*/ 781524 w 1881147"/>
                <a:gd name="connsiteY17" fmla="*/ 477215 h 1708284"/>
                <a:gd name="connsiteX18" fmla="*/ 743424 w 1881147"/>
                <a:gd name="connsiteY18" fmla="*/ 501028 h 1708284"/>
                <a:gd name="connsiteX19" fmla="*/ 671986 w 1881147"/>
                <a:gd name="connsiteY19" fmla="*/ 434353 h 1708284"/>
                <a:gd name="connsiteX20" fmla="*/ 519586 w 1881147"/>
                <a:gd name="connsiteY20" fmla="*/ 429590 h 1708284"/>
                <a:gd name="connsiteX21" fmla="*/ 457674 w 1881147"/>
                <a:gd name="connsiteY21" fmla="*/ 448640 h 1708284"/>
                <a:gd name="connsiteX22" fmla="*/ 419574 w 1881147"/>
                <a:gd name="connsiteY22" fmla="*/ 434353 h 1708284"/>
                <a:gd name="connsiteX23" fmla="*/ 400524 w 1881147"/>
                <a:gd name="connsiteY23" fmla="*/ 372440 h 1708284"/>
                <a:gd name="connsiteX24" fmla="*/ 333849 w 1881147"/>
                <a:gd name="connsiteY24" fmla="*/ 320053 h 1708284"/>
                <a:gd name="connsiteX25" fmla="*/ 286224 w 1881147"/>
                <a:gd name="connsiteY25" fmla="*/ 253378 h 1708284"/>
                <a:gd name="connsiteX26" fmla="*/ 143349 w 1881147"/>
                <a:gd name="connsiteY26" fmla="*/ 272428 h 1708284"/>
                <a:gd name="connsiteX27" fmla="*/ 124299 w 1881147"/>
                <a:gd name="connsiteY27" fmla="*/ 348628 h 1708284"/>
                <a:gd name="connsiteX28" fmla="*/ 110011 w 1881147"/>
                <a:gd name="connsiteY28" fmla="*/ 381965 h 1708284"/>
                <a:gd name="connsiteX29" fmla="*/ 133824 w 1881147"/>
                <a:gd name="connsiteY29" fmla="*/ 429590 h 1708284"/>
                <a:gd name="connsiteX30" fmla="*/ 81436 w 1881147"/>
                <a:gd name="connsiteY30" fmla="*/ 467690 h 1708284"/>
                <a:gd name="connsiteX31" fmla="*/ 33811 w 1881147"/>
                <a:gd name="connsiteY31" fmla="*/ 462928 h 1708284"/>
                <a:gd name="connsiteX32" fmla="*/ 33811 w 1881147"/>
                <a:gd name="connsiteY32" fmla="*/ 534365 h 1708284"/>
                <a:gd name="connsiteX33" fmla="*/ 474 w 1881147"/>
                <a:gd name="connsiteY33" fmla="*/ 639140 h 1708284"/>
                <a:gd name="connsiteX34" fmla="*/ 62386 w 1881147"/>
                <a:gd name="connsiteY34" fmla="*/ 715340 h 1708284"/>
                <a:gd name="connsiteX35" fmla="*/ 111977 w 1881147"/>
                <a:gd name="connsiteY35" fmla="*/ 695602 h 1708284"/>
                <a:gd name="connsiteX36" fmla="*/ 112334 w 1881147"/>
                <a:gd name="connsiteY36" fmla="*/ 765861 h 1708284"/>
                <a:gd name="connsiteX37" fmla="*/ 167161 w 1881147"/>
                <a:gd name="connsiteY37" fmla="*/ 796303 h 1708284"/>
                <a:gd name="connsiteX38" fmla="*/ 236159 w 1881147"/>
                <a:gd name="connsiteY38" fmla="*/ 806515 h 1708284"/>
                <a:gd name="connsiteX39" fmla="*/ 271462 w 1881147"/>
                <a:gd name="connsiteY39" fmla="*/ 862486 h 1708284"/>
                <a:gd name="connsiteX40" fmla="*/ 270869 w 1881147"/>
                <a:gd name="connsiteY40" fmla="*/ 907558 h 1708284"/>
                <a:gd name="connsiteX41" fmla="*/ 295393 w 1881147"/>
                <a:gd name="connsiteY41" fmla="*/ 947033 h 1708284"/>
                <a:gd name="connsiteX42" fmla="*/ 341051 w 1881147"/>
                <a:gd name="connsiteY42" fmla="*/ 985625 h 1708284"/>
                <a:gd name="connsiteX43" fmla="*/ 426184 w 1881147"/>
                <a:gd name="connsiteY43" fmla="*/ 1039877 h 1708284"/>
                <a:gd name="connsiteX44" fmla="*/ 461961 w 1881147"/>
                <a:gd name="connsiteY44" fmla="*/ 1110970 h 1708284"/>
                <a:gd name="connsiteX45" fmla="*/ 441064 w 1881147"/>
                <a:gd name="connsiteY45" fmla="*/ 1180543 h 1708284"/>
                <a:gd name="connsiteX46" fmla="*/ 519111 w 1881147"/>
                <a:gd name="connsiteY46" fmla="*/ 1237006 h 1708284"/>
                <a:gd name="connsiteX47" fmla="*/ 591143 w 1881147"/>
                <a:gd name="connsiteY47" fmla="*/ 1270000 h 1708284"/>
                <a:gd name="connsiteX48" fmla="*/ 571974 w 1881147"/>
                <a:gd name="connsiteY48" fmla="*/ 1329703 h 1708284"/>
                <a:gd name="connsiteX49" fmla="*/ 662461 w 1881147"/>
                <a:gd name="connsiteY49" fmla="*/ 1482103 h 1708284"/>
                <a:gd name="connsiteX50" fmla="*/ 755271 w 1881147"/>
                <a:gd name="connsiteY50" fmla="*/ 1555257 h 1708284"/>
                <a:gd name="connsiteX51" fmla="*/ 805336 w 1881147"/>
                <a:gd name="connsiteY51" fmla="*/ 1505915 h 1708284"/>
                <a:gd name="connsiteX52" fmla="*/ 869926 w 1881147"/>
                <a:gd name="connsiteY52" fmla="*/ 1533312 h 1708284"/>
                <a:gd name="connsiteX53" fmla="*/ 924399 w 1881147"/>
                <a:gd name="connsiteY53" fmla="*/ 1501153 h 1708284"/>
                <a:gd name="connsiteX54" fmla="*/ 941246 w 1881147"/>
                <a:gd name="connsiteY54" fmla="*/ 1458977 h 1708284"/>
                <a:gd name="connsiteX55" fmla="*/ 1005123 w 1881147"/>
                <a:gd name="connsiteY55" fmla="*/ 1545389 h 1708284"/>
                <a:gd name="connsiteX56" fmla="*/ 1050190 w 1881147"/>
                <a:gd name="connsiteY56" fmla="*/ 1616483 h 1708284"/>
                <a:gd name="connsiteX57" fmla="*/ 1120136 w 1881147"/>
                <a:gd name="connsiteY57" fmla="*/ 1708002 h 1708284"/>
                <a:gd name="connsiteX58" fmla="*/ 1151034 w 1881147"/>
                <a:gd name="connsiteY58" fmla="*/ 1644911 h 1708284"/>
                <a:gd name="connsiteX59" fmla="*/ 1181693 w 1881147"/>
                <a:gd name="connsiteY59" fmla="*/ 1638431 h 1708284"/>
                <a:gd name="connsiteX60" fmla="*/ 1224792 w 1881147"/>
                <a:gd name="connsiteY60" fmla="*/ 1667694 h 1708284"/>
                <a:gd name="connsiteX61" fmla="*/ 1258367 w 1881147"/>
                <a:gd name="connsiteY61" fmla="*/ 1627040 h 1708284"/>
                <a:gd name="connsiteX62" fmla="*/ 1277188 w 1881147"/>
                <a:gd name="connsiteY62" fmla="*/ 1631657 h 1708284"/>
                <a:gd name="connsiteX63" fmla="*/ 1311230 w 1881147"/>
                <a:gd name="connsiteY63" fmla="*/ 1698134 h 1708284"/>
                <a:gd name="connsiteX64" fmla="*/ 1367786 w 1881147"/>
                <a:gd name="connsiteY64" fmla="*/ 1674665 h 1708284"/>
                <a:gd name="connsiteX65" fmla="*/ 1419818 w 1881147"/>
                <a:gd name="connsiteY65" fmla="*/ 1618544 h 1708284"/>
                <a:gd name="connsiteX66" fmla="*/ 1470595 w 1881147"/>
                <a:gd name="connsiteY66" fmla="*/ 1602001 h 1708284"/>
                <a:gd name="connsiteX67" fmla="*/ 1488274 w 1881147"/>
                <a:gd name="connsiteY67" fmla="*/ 1657823 h 1708284"/>
                <a:gd name="connsiteX68" fmla="*/ 1558169 w 1881147"/>
                <a:gd name="connsiteY68" fmla="*/ 1632145 h 1708284"/>
                <a:gd name="connsiteX69" fmla="*/ 1588947 w 1881147"/>
                <a:gd name="connsiteY69" fmla="*/ 1545389 h 1708284"/>
                <a:gd name="connsiteX70" fmla="*/ 1670383 w 1881147"/>
                <a:gd name="connsiteY70" fmla="*/ 1455247 h 1708284"/>
                <a:gd name="connsiteX71" fmla="*/ 1714974 w 1881147"/>
                <a:gd name="connsiteY71" fmla="*/ 1424117 h 1708284"/>
                <a:gd name="connsiteX72" fmla="*/ 1743343 w 1881147"/>
                <a:gd name="connsiteY72" fmla="*/ 1427412 h 1708284"/>
                <a:gd name="connsiteX73" fmla="*/ 1820935 w 1881147"/>
                <a:gd name="connsiteY73" fmla="*/ 1416804 h 1708284"/>
                <a:gd name="connsiteX74" fmla="*/ 1816054 w 1881147"/>
                <a:gd name="connsiteY74" fmla="*/ 1470368 h 1708284"/>
                <a:gd name="connsiteX75" fmla="*/ 1874221 w 1881147"/>
                <a:gd name="connsiteY75" fmla="*/ 1493689 h 1708284"/>
                <a:gd name="connsiteX76" fmla="*/ 1875829 w 1881147"/>
                <a:gd name="connsiteY76" fmla="*/ 1471055 h 1708284"/>
                <a:gd name="connsiteX77" fmla="*/ 1875051 w 1881147"/>
                <a:gd name="connsiteY77" fmla="*/ 1410321 h 1708284"/>
                <a:gd name="connsiteX78" fmla="*/ 1853086 w 1881147"/>
                <a:gd name="connsiteY78" fmla="*/ 1320178 h 1708284"/>
                <a:gd name="connsiteX79" fmla="*/ 1853086 w 1881147"/>
                <a:gd name="connsiteY79" fmla="*/ 1263028 h 1708284"/>
                <a:gd name="connsiteX80" fmla="*/ 1810224 w 1881147"/>
                <a:gd name="connsiteY80" fmla="*/ 1253503 h 1708284"/>
                <a:gd name="connsiteX81" fmla="*/ 1734024 w 1881147"/>
                <a:gd name="connsiteY81" fmla="*/ 1172540 h 1708284"/>
                <a:gd name="connsiteX82" fmla="*/ 1695924 w 1881147"/>
                <a:gd name="connsiteY82" fmla="*/ 991565 h 1708284"/>
                <a:gd name="connsiteX83" fmla="*/ 1643536 w 1881147"/>
                <a:gd name="connsiteY83" fmla="*/ 958228 h 1708284"/>
                <a:gd name="connsiteX84" fmla="*/ 1605436 w 1881147"/>
                <a:gd name="connsiteY84" fmla="*/ 901078 h 1708284"/>
                <a:gd name="connsiteX85" fmla="*/ 1557811 w 1881147"/>
                <a:gd name="connsiteY85" fmla="*/ 853453 h 1708284"/>
                <a:gd name="connsiteX86" fmla="*/ 1505424 w 1881147"/>
                <a:gd name="connsiteY86" fmla="*/ 834403 h 1708284"/>
                <a:gd name="connsiteX87" fmla="*/ 1453036 w 1881147"/>
                <a:gd name="connsiteY87" fmla="*/ 829640 h 1708284"/>
                <a:gd name="connsiteX88" fmla="*/ 1510186 w 1881147"/>
                <a:gd name="connsiteY88" fmla="*/ 796303 h 1708284"/>
                <a:gd name="connsiteX89" fmla="*/ 1476849 w 1881147"/>
                <a:gd name="connsiteY89" fmla="*/ 762965 h 1708284"/>
                <a:gd name="connsiteX90" fmla="*/ 1481611 w 1881147"/>
                <a:gd name="connsiteY90" fmla="*/ 739153 h 1708284"/>
                <a:gd name="connsiteX91" fmla="*/ 1572099 w 1881147"/>
                <a:gd name="connsiteY91" fmla="*/ 777253 h 1708284"/>
                <a:gd name="connsiteX92" fmla="*/ 1624486 w 1881147"/>
                <a:gd name="connsiteY92" fmla="*/ 710578 h 1708284"/>
                <a:gd name="connsiteX93" fmla="*/ 1622283 w 1881147"/>
                <a:gd name="connsiteY93" fmla="*/ 567703 h 1708284"/>
                <a:gd name="connsiteX94" fmla="*/ 1639486 w 1881147"/>
                <a:gd name="connsiteY94" fmla="*/ 419377 h 1708284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14911 w 1881147"/>
                <a:gd name="connsiteY9" fmla="*/ 158360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186336 w 1881147"/>
                <a:gd name="connsiteY10" fmla="*/ 186935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1520 w 1881147"/>
                <a:gd name="connsiteY9" fmla="*/ 206869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6811 w 1881147"/>
                <a:gd name="connsiteY11" fmla="*/ 25837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4899 w 1881147"/>
                <a:gd name="connsiteY12" fmla="*/ 301235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74371 w 1881147"/>
                <a:gd name="connsiteY11" fmla="*/ 29156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05361 w 1881147"/>
                <a:gd name="connsiteY13" fmla="*/ 315523 h 1694229"/>
                <a:gd name="connsiteX14" fmla="*/ 962499 w 1881147"/>
                <a:gd name="connsiteY14" fmla="*/ 358385 h 1694229"/>
                <a:gd name="connsiteX15" fmla="*/ 838674 w 1881147"/>
                <a:gd name="connsiteY15" fmla="*/ 358385 h 1694229"/>
                <a:gd name="connsiteX16" fmla="*/ 781524 w 1881147"/>
                <a:gd name="connsiteY16" fmla="*/ 429823 h 1694229"/>
                <a:gd name="connsiteX17" fmla="*/ 781524 w 1881147"/>
                <a:gd name="connsiteY17" fmla="*/ 463160 h 1694229"/>
                <a:gd name="connsiteX18" fmla="*/ 743424 w 1881147"/>
                <a:gd name="connsiteY18" fmla="*/ 486973 h 1694229"/>
                <a:gd name="connsiteX19" fmla="*/ 671986 w 1881147"/>
                <a:gd name="connsiteY19" fmla="*/ 420298 h 1694229"/>
                <a:gd name="connsiteX20" fmla="*/ 519586 w 1881147"/>
                <a:gd name="connsiteY20" fmla="*/ 415535 h 1694229"/>
                <a:gd name="connsiteX21" fmla="*/ 457674 w 1881147"/>
                <a:gd name="connsiteY21" fmla="*/ 434585 h 1694229"/>
                <a:gd name="connsiteX22" fmla="*/ 419574 w 1881147"/>
                <a:gd name="connsiteY22" fmla="*/ 420298 h 1694229"/>
                <a:gd name="connsiteX23" fmla="*/ 400524 w 1881147"/>
                <a:gd name="connsiteY23" fmla="*/ 358385 h 1694229"/>
                <a:gd name="connsiteX24" fmla="*/ 333849 w 1881147"/>
                <a:gd name="connsiteY24" fmla="*/ 305998 h 1694229"/>
                <a:gd name="connsiteX25" fmla="*/ 286224 w 1881147"/>
                <a:gd name="connsiteY25" fmla="*/ 239323 h 1694229"/>
                <a:gd name="connsiteX26" fmla="*/ 143349 w 1881147"/>
                <a:gd name="connsiteY26" fmla="*/ 258373 h 1694229"/>
                <a:gd name="connsiteX27" fmla="*/ 124299 w 1881147"/>
                <a:gd name="connsiteY27" fmla="*/ 334573 h 1694229"/>
                <a:gd name="connsiteX28" fmla="*/ 110011 w 1881147"/>
                <a:gd name="connsiteY28" fmla="*/ 367910 h 1694229"/>
                <a:gd name="connsiteX29" fmla="*/ 133824 w 1881147"/>
                <a:gd name="connsiteY29" fmla="*/ 415535 h 1694229"/>
                <a:gd name="connsiteX30" fmla="*/ 81436 w 1881147"/>
                <a:gd name="connsiteY30" fmla="*/ 453635 h 1694229"/>
                <a:gd name="connsiteX31" fmla="*/ 33811 w 1881147"/>
                <a:gd name="connsiteY31" fmla="*/ 448873 h 1694229"/>
                <a:gd name="connsiteX32" fmla="*/ 33811 w 1881147"/>
                <a:gd name="connsiteY32" fmla="*/ 520310 h 1694229"/>
                <a:gd name="connsiteX33" fmla="*/ 474 w 1881147"/>
                <a:gd name="connsiteY33" fmla="*/ 625085 h 1694229"/>
                <a:gd name="connsiteX34" fmla="*/ 62386 w 1881147"/>
                <a:gd name="connsiteY34" fmla="*/ 701285 h 1694229"/>
                <a:gd name="connsiteX35" fmla="*/ 111977 w 1881147"/>
                <a:gd name="connsiteY35" fmla="*/ 681547 h 1694229"/>
                <a:gd name="connsiteX36" fmla="*/ 112334 w 1881147"/>
                <a:gd name="connsiteY36" fmla="*/ 751806 h 1694229"/>
                <a:gd name="connsiteX37" fmla="*/ 167161 w 1881147"/>
                <a:gd name="connsiteY37" fmla="*/ 782248 h 1694229"/>
                <a:gd name="connsiteX38" fmla="*/ 236159 w 1881147"/>
                <a:gd name="connsiteY38" fmla="*/ 792460 h 1694229"/>
                <a:gd name="connsiteX39" fmla="*/ 271462 w 1881147"/>
                <a:gd name="connsiteY39" fmla="*/ 848431 h 1694229"/>
                <a:gd name="connsiteX40" fmla="*/ 270869 w 1881147"/>
                <a:gd name="connsiteY40" fmla="*/ 893503 h 1694229"/>
                <a:gd name="connsiteX41" fmla="*/ 295393 w 1881147"/>
                <a:gd name="connsiteY41" fmla="*/ 932978 h 1694229"/>
                <a:gd name="connsiteX42" fmla="*/ 341051 w 1881147"/>
                <a:gd name="connsiteY42" fmla="*/ 971570 h 1694229"/>
                <a:gd name="connsiteX43" fmla="*/ 426184 w 1881147"/>
                <a:gd name="connsiteY43" fmla="*/ 1025822 h 1694229"/>
                <a:gd name="connsiteX44" fmla="*/ 461961 w 1881147"/>
                <a:gd name="connsiteY44" fmla="*/ 1096915 h 1694229"/>
                <a:gd name="connsiteX45" fmla="*/ 441064 w 1881147"/>
                <a:gd name="connsiteY45" fmla="*/ 1166488 h 1694229"/>
                <a:gd name="connsiteX46" fmla="*/ 519111 w 1881147"/>
                <a:gd name="connsiteY46" fmla="*/ 1222951 h 1694229"/>
                <a:gd name="connsiteX47" fmla="*/ 591143 w 1881147"/>
                <a:gd name="connsiteY47" fmla="*/ 1255945 h 1694229"/>
                <a:gd name="connsiteX48" fmla="*/ 571974 w 1881147"/>
                <a:gd name="connsiteY48" fmla="*/ 1315648 h 1694229"/>
                <a:gd name="connsiteX49" fmla="*/ 662461 w 1881147"/>
                <a:gd name="connsiteY49" fmla="*/ 1468048 h 1694229"/>
                <a:gd name="connsiteX50" fmla="*/ 755271 w 1881147"/>
                <a:gd name="connsiteY50" fmla="*/ 1541202 h 1694229"/>
                <a:gd name="connsiteX51" fmla="*/ 805336 w 1881147"/>
                <a:gd name="connsiteY51" fmla="*/ 1491860 h 1694229"/>
                <a:gd name="connsiteX52" fmla="*/ 869926 w 1881147"/>
                <a:gd name="connsiteY52" fmla="*/ 1519257 h 1694229"/>
                <a:gd name="connsiteX53" fmla="*/ 924399 w 1881147"/>
                <a:gd name="connsiteY53" fmla="*/ 1487098 h 1694229"/>
                <a:gd name="connsiteX54" fmla="*/ 941246 w 1881147"/>
                <a:gd name="connsiteY54" fmla="*/ 1444922 h 1694229"/>
                <a:gd name="connsiteX55" fmla="*/ 1005123 w 1881147"/>
                <a:gd name="connsiteY55" fmla="*/ 1531334 h 1694229"/>
                <a:gd name="connsiteX56" fmla="*/ 1050190 w 1881147"/>
                <a:gd name="connsiteY56" fmla="*/ 1602428 h 1694229"/>
                <a:gd name="connsiteX57" fmla="*/ 1120136 w 1881147"/>
                <a:gd name="connsiteY57" fmla="*/ 1693947 h 1694229"/>
                <a:gd name="connsiteX58" fmla="*/ 1151034 w 1881147"/>
                <a:gd name="connsiteY58" fmla="*/ 1630856 h 1694229"/>
                <a:gd name="connsiteX59" fmla="*/ 1181693 w 1881147"/>
                <a:gd name="connsiteY59" fmla="*/ 1624376 h 1694229"/>
                <a:gd name="connsiteX60" fmla="*/ 1224792 w 1881147"/>
                <a:gd name="connsiteY60" fmla="*/ 1653639 h 1694229"/>
                <a:gd name="connsiteX61" fmla="*/ 1258367 w 1881147"/>
                <a:gd name="connsiteY61" fmla="*/ 1612985 h 1694229"/>
                <a:gd name="connsiteX62" fmla="*/ 1277188 w 1881147"/>
                <a:gd name="connsiteY62" fmla="*/ 1617602 h 1694229"/>
                <a:gd name="connsiteX63" fmla="*/ 1311230 w 1881147"/>
                <a:gd name="connsiteY63" fmla="*/ 1684079 h 1694229"/>
                <a:gd name="connsiteX64" fmla="*/ 1367786 w 1881147"/>
                <a:gd name="connsiteY64" fmla="*/ 1660610 h 1694229"/>
                <a:gd name="connsiteX65" fmla="*/ 1419818 w 1881147"/>
                <a:gd name="connsiteY65" fmla="*/ 1604489 h 1694229"/>
                <a:gd name="connsiteX66" fmla="*/ 1470595 w 1881147"/>
                <a:gd name="connsiteY66" fmla="*/ 1587946 h 1694229"/>
                <a:gd name="connsiteX67" fmla="*/ 1488274 w 1881147"/>
                <a:gd name="connsiteY67" fmla="*/ 1643768 h 1694229"/>
                <a:gd name="connsiteX68" fmla="*/ 1558169 w 1881147"/>
                <a:gd name="connsiteY68" fmla="*/ 1618090 h 1694229"/>
                <a:gd name="connsiteX69" fmla="*/ 1588947 w 1881147"/>
                <a:gd name="connsiteY69" fmla="*/ 1531334 h 1694229"/>
                <a:gd name="connsiteX70" fmla="*/ 1670383 w 1881147"/>
                <a:gd name="connsiteY70" fmla="*/ 1441192 h 1694229"/>
                <a:gd name="connsiteX71" fmla="*/ 1714974 w 1881147"/>
                <a:gd name="connsiteY71" fmla="*/ 1410062 h 1694229"/>
                <a:gd name="connsiteX72" fmla="*/ 1743343 w 1881147"/>
                <a:gd name="connsiteY72" fmla="*/ 1413357 h 1694229"/>
                <a:gd name="connsiteX73" fmla="*/ 1820935 w 1881147"/>
                <a:gd name="connsiteY73" fmla="*/ 1402749 h 1694229"/>
                <a:gd name="connsiteX74" fmla="*/ 1816054 w 1881147"/>
                <a:gd name="connsiteY74" fmla="*/ 1456313 h 1694229"/>
                <a:gd name="connsiteX75" fmla="*/ 1874221 w 1881147"/>
                <a:gd name="connsiteY75" fmla="*/ 1479634 h 1694229"/>
                <a:gd name="connsiteX76" fmla="*/ 1875829 w 1881147"/>
                <a:gd name="connsiteY76" fmla="*/ 1457000 h 1694229"/>
                <a:gd name="connsiteX77" fmla="*/ 1875051 w 1881147"/>
                <a:gd name="connsiteY77" fmla="*/ 1396266 h 1694229"/>
                <a:gd name="connsiteX78" fmla="*/ 1853086 w 1881147"/>
                <a:gd name="connsiteY78" fmla="*/ 1306123 h 1694229"/>
                <a:gd name="connsiteX79" fmla="*/ 1853086 w 1881147"/>
                <a:gd name="connsiteY79" fmla="*/ 1248973 h 1694229"/>
                <a:gd name="connsiteX80" fmla="*/ 1810224 w 1881147"/>
                <a:gd name="connsiteY80" fmla="*/ 1239448 h 1694229"/>
                <a:gd name="connsiteX81" fmla="*/ 1734024 w 1881147"/>
                <a:gd name="connsiteY81" fmla="*/ 1158485 h 1694229"/>
                <a:gd name="connsiteX82" fmla="*/ 1695924 w 1881147"/>
                <a:gd name="connsiteY82" fmla="*/ 977510 h 1694229"/>
                <a:gd name="connsiteX83" fmla="*/ 1643536 w 1881147"/>
                <a:gd name="connsiteY83" fmla="*/ 944173 h 1694229"/>
                <a:gd name="connsiteX84" fmla="*/ 1605436 w 1881147"/>
                <a:gd name="connsiteY84" fmla="*/ 887023 h 1694229"/>
                <a:gd name="connsiteX85" fmla="*/ 1557811 w 1881147"/>
                <a:gd name="connsiteY85" fmla="*/ 839398 h 1694229"/>
                <a:gd name="connsiteX86" fmla="*/ 1505424 w 1881147"/>
                <a:gd name="connsiteY86" fmla="*/ 820348 h 1694229"/>
                <a:gd name="connsiteX87" fmla="*/ 1453036 w 1881147"/>
                <a:gd name="connsiteY87" fmla="*/ 815585 h 1694229"/>
                <a:gd name="connsiteX88" fmla="*/ 1510186 w 1881147"/>
                <a:gd name="connsiteY88" fmla="*/ 782248 h 1694229"/>
                <a:gd name="connsiteX89" fmla="*/ 1476849 w 1881147"/>
                <a:gd name="connsiteY89" fmla="*/ 748910 h 1694229"/>
                <a:gd name="connsiteX90" fmla="*/ 1481611 w 1881147"/>
                <a:gd name="connsiteY90" fmla="*/ 725098 h 1694229"/>
                <a:gd name="connsiteX91" fmla="*/ 1572099 w 1881147"/>
                <a:gd name="connsiteY91" fmla="*/ 763198 h 1694229"/>
                <a:gd name="connsiteX92" fmla="*/ 1624486 w 1881147"/>
                <a:gd name="connsiteY92" fmla="*/ 696523 h 1694229"/>
                <a:gd name="connsiteX93" fmla="*/ 1622283 w 1881147"/>
                <a:gd name="connsiteY93" fmla="*/ 553648 h 1694229"/>
                <a:gd name="connsiteX94" fmla="*/ 1639486 w 1881147"/>
                <a:gd name="connsiteY94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05361 w 1881147"/>
                <a:gd name="connsiteY14" fmla="*/ 315523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4856 w 1881147"/>
                <a:gd name="connsiteY13" fmla="*/ 323206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38674 w 1881147"/>
                <a:gd name="connsiteY16" fmla="*/ 358385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781524 w 1881147"/>
                <a:gd name="connsiteY17" fmla="*/ 429823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781524 w 1881147"/>
                <a:gd name="connsiteY18" fmla="*/ 463160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43424 w 1881147"/>
                <a:gd name="connsiteY19" fmla="*/ 486973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671986 w 1881147"/>
                <a:gd name="connsiteY20" fmla="*/ 420298 h 1694229"/>
                <a:gd name="connsiteX21" fmla="*/ 519586 w 1881147"/>
                <a:gd name="connsiteY21" fmla="*/ 415535 h 1694229"/>
                <a:gd name="connsiteX22" fmla="*/ 457674 w 1881147"/>
                <a:gd name="connsiteY22" fmla="*/ 434585 h 1694229"/>
                <a:gd name="connsiteX23" fmla="*/ 419574 w 1881147"/>
                <a:gd name="connsiteY23" fmla="*/ 420298 h 1694229"/>
                <a:gd name="connsiteX24" fmla="*/ 400524 w 1881147"/>
                <a:gd name="connsiteY24" fmla="*/ 358385 h 1694229"/>
                <a:gd name="connsiteX25" fmla="*/ 333849 w 1881147"/>
                <a:gd name="connsiteY25" fmla="*/ 305998 h 1694229"/>
                <a:gd name="connsiteX26" fmla="*/ 286224 w 1881147"/>
                <a:gd name="connsiteY26" fmla="*/ 239323 h 1694229"/>
                <a:gd name="connsiteX27" fmla="*/ 143349 w 1881147"/>
                <a:gd name="connsiteY27" fmla="*/ 258373 h 1694229"/>
                <a:gd name="connsiteX28" fmla="*/ 124299 w 1881147"/>
                <a:gd name="connsiteY28" fmla="*/ 334573 h 1694229"/>
                <a:gd name="connsiteX29" fmla="*/ 110011 w 1881147"/>
                <a:gd name="connsiteY29" fmla="*/ 367910 h 1694229"/>
                <a:gd name="connsiteX30" fmla="*/ 133824 w 1881147"/>
                <a:gd name="connsiteY30" fmla="*/ 415535 h 1694229"/>
                <a:gd name="connsiteX31" fmla="*/ 81436 w 1881147"/>
                <a:gd name="connsiteY31" fmla="*/ 453635 h 1694229"/>
                <a:gd name="connsiteX32" fmla="*/ 33811 w 1881147"/>
                <a:gd name="connsiteY32" fmla="*/ 448873 h 1694229"/>
                <a:gd name="connsiteX33" fmla="*/ 33811 w 1881147"/>
                <a:gd name="connsiteY33" fmla="*/ 520310 h 1694229"/>
                <a:gd name="connsiteX34" fmla="*/ 474 w 1881147"/>
                <a:gd name="connsiteY34" fmla="*/ 625085 h 1694229"/>
                <a:gd name="connsiteX35" fmla="*/ 62386 w 1881147"/>
                <a:gd name="connsiteY35" fmla="*/ 701285 h 1694229"/>
                <a:gd name="connsiteX36" fmla="*/ 111977 w 1881147"/>
                <a:gd name="connsiteY36" fmla="*/ 681547 h 1694229"/>
                <a:gd name="connsiteX37" fmla="*/ 112334 w 1881147"/>
                <a:gd name="connsiteY37" fmla="*/ 751806 h 1694229"/>
                <a:gd name="connsiteX38" fmla="*/ 167161 w 1881147"/>
                <a:gd name="connsiteY38" fmla="*/ 782248 h 1694229"/>
                <a:gd name="connsiteX39" fmla="*/ 236159 w 1881147"/>
                <a:gd name="connsiteY39" fmla="*/ 792460 h 1694229"/>
                <a:gd name="connsiteX40" fmla="*/ 271462 w 1881147"/>
                <a:gd name="connsiteY40" fmla="*/ 848431 h 1694229"/>
                <a:gd name="connsiteX41" fmla="*/ 270869 w 1881147"/>
                <a:gd name="connsiteY41" fmla="*/ 893503 h 1694229"/>
                <a:gd name="connsiteX42" fmla="*/ 295393 w 1881147"/>
                <a:gd name="connsiteY42" fmla="*/ 932978 h 1694229"/>
                <a:gd name="connsiteX43" fmla="*/ 341051 w 1881147"/>
                <a:gd name="connsiteY43" fmla="*/ 971570 h 1694229"/>
                <a:gd name="connsiteX44" fmla="*/ 426184 w 1881147"/>
                <a:gd name="connsiteY44" fmla="*/ 1025822 h 1694229"/>
                <a:gd name="connsiteX45" fmla="*/ 461961 w 1881147"/>
                <a:gd name="connsiteY45" fmla="*/ 1096915 h 1694229"/>
                <a:gd name="connsiteX46" fmla="*/ 441064 w 1881147"/>
                <a:gd name="connsiteY46" fmla="*/ 1166488 h 1694229"/>
                <a:gd name="connsiteX47" fmla="*/ 519111 w 1881147"/>
                <a:gd name="connsiteY47" fmla="*/ 1222951 h 1694229"/>
                <a:gd name="connsiteX48" fmla="*/ 591143 w 1881147"/>
                <a:gd name="connsiteY48" fmla="*/ 1255945 h 1694229"/>
                <a:gd name="connsiteX49" fmla="*/ 571974 w 1881147"/>
                <a:gd name="connsiteY49" fmla="*/ 1315648 h 1694229"/>
                <a:gd name="connsiteX50" fmla="*/ 662461 w 1881147"/>
                <a:gd name="connsiteY50" fmla="*/ 1468048 h 1694229"/>
                <a:gd name="connsiteX51" fmla="*/ 755271 w 1881147"/>
                <a:gd name="connsiteY51" fmla="*/ 1541202 h 1694229"/>
                <a:gd name="connsiteX52" fmla="*/ 805336 w 1881147"/>
                <a:gd name="connsiteY52" fmla="*/ 1491860 h 1694229"/>
                <a:gd name="connsiteX53" fmla="*/ 869926 w 1881147"/>
                <a:gd name="connsiteY53" fmla="*/ 1519257 h 1694229"/>
                <a:gd name="connsiteX54" fmla="*/ 924399 w 1881147"/>
                <a:gd name="connsiteY54" fmla="*/ 1487098 h 1694229"/>
                <a:gd name="connsiteX55" fmla="*/ 941246 w 1881147"/>
                <a:gd name="connsiteY55" fmla="*/ 1444922 h 1694229"/>
                <a:gd name="connsiteX56" fmla="*/ 1005123 w 1881147"/>
                <a:gd name="connsiteY56" fmla="*/ 1531334 h 1694229"/>
                <a:gd name="connsiteX57" fmla="*/ 1050190 w 1881147"/>
                <a:gd name="connsiteY57" fmla="*/ 1602428 h 1694229"/>
                <a:gd name="connsiteX58" fmla="*/ 1120136 w 1881147"/>
                <a:gd name="connsiteY58" fmla="*/ 1693947 h 1694229"/>
                <a:gd name="connsiteX59" fmla="*/ 1151034 w 1881147"/>
                <a:gd name="connsiteY59" fmla="*/ 1630856 h 1694229"/>
                <a:gd name="connsiteX60" fmla="*/ 1181693 w 1881147"/>
                <a:gd name="connsiteY60" fmla="*/ 1624376 h 1694229"/>
                <a:gd name="connsiteX61" fmla="*/ 1224792 w 1881147"/>
                <a:gd name="connsiteY61" fmla="*/ 1653639 h 1694229"/>
                <a:gd name="connsiteX62" fmla="*/ 1258367 w 1881147"/>
                <a:gd name="connsiteY62" fmla="*/ 1612985 h 1694229"/>
                <a:gd name="connsiteX63" fmla="*/ 1277188 w 1881147"/>
                <a:gd name="connsiteY63" fmla="*/ 1617602 h 1694229"/>
                <a:gd name="connsiteX64" fmla="*/ 1311230 w 1881147"/>
                <a:gd name="connsiteY64" fmla="*/ 1684079 h 1694229"/>
                <a:gd name="connsiteX65" fmla="*/ 1367786 w 1881147"/>
                <a:gd name="connsiteY65" fmla="*/ 1660610 h 1694229"/>
                <a:gd name="connsiteX66" fmla="*/ 1419818 w 1881147"/>
                <a:gd name="connsiteY66" fmla="*/ 1604489 h 1694229"/>
                <a:gd name="connsiteX67" fmla="*/ 1470595 w 1881147"/>
                <a:gd name="connsiteY67" fmla="*/ 1587946 h 1694229"/>
                <a:gd name="connsiteX68" fmla="*/ 1488274 w 1881147"/>
                <a:gd name="connsiteY68" fmla="*/ 1643768 h 1694229"/>
                <a:gd name="connsiteX69" fmla="*/ 1558169 w 1881147"/>
                <a:gd name="connsiteY69" fmla="*/ 1618090 h 1694229"/>
                <a:gd name="connsiteX70" fmla="*/ 1588947 w 1881147"/>
                <a:gd name="connsiteY70" fmla="*/ 1531334 h 1694229"/>
                <a:gd name="connsiteX71" fmla="*/ 1670383 w 1881147"/>
                <a:gd name="connsiteY71" fmla="*/ 1441192 h 1694229"/>
                <a:gd name="connsiteX72" fmla="*/ 1714974 w 1881147"/>
                <a:gd name="connsiteY72" fmla="*/ 1410062 h 1694229"/>
                <a:gd name="connsiteX73" fmla="*/ 1743343 w 1881147"/>
                <a:gd name="connsiteY73" fmla="*/ 1413357 h 1694229"/>
                <a:gd name="connsiteX74" fmla="*/ 1820935 w 1881147"/>
                <a:gd name="connsiteY74" fmla="*/ 1402749 h 1694229"/>
                <a:gd name="connsiteX75" fmla="*/ 1816054 w 1881147"/>
                <a:gd name="connsiteY75" fmla="*/ 1456313 h 1694229"/>
                <a:gd name="connsiteX76" fmla="*/ 1874221 w 1881147"/>
                <a:gd name="connsiteY76" fmla="*/ 1479634 h 1694229"/>
                <a:gd name="connsiteX77" fmla="*/ 1875829 w 1881147"/>
                <a:gd name="connsiteY77" fmla="*/ 1457000 h 1694229"/>
                <a:gd name="connsiteX78" fmla="*/ 1875051 w 1881147"/>
                <a:gd name="connsiteY78" fmla="*/ 1396266 h 1694229"/>
                <a:gd name="connsiteX79" fmla="*/ 1853086 w 1881147"/>
                <a:gd name="connsiteY79" fmla="*/ 1306123 h 1694229"/>
                <a:gd name="connsiteX80" fmla="*/ 1853086 w 1881147"/>
                <a:gd name="connsiteY80" fmla="*/ 1248973 h 1694229"/>
                <a:gd name="connsiteX81" fmla="*/ 1810224 w 1881147"/>
                <a:gd name="connsiteY81" fmla="*/ 1239448 h 1694229"/>
                <a:gd name="connsiteX82" fmla="*/ 1734024 w 1881147"/>
                <a:gd name="connsiteY82" fmla="*/ 1158485 h 1694229"/>
                <a:gd name="connsiteX83" fmla="*/ 1695924 w 1881147"/>
                <a:gd name="connsiteY83" fmla="*/ 977510 h 1694229"/>
                <a:gd name="connsiteX84" fmla="*/ 1643536 w 1881147"/>
                <a:gd name="connsiteY84" fmla="*/ 944173 h 1694229"/>
                <a:gd name="connsiteX85" fmla="*/ 1605436 w 1881147"/>
                <a:gd name="connsiteY85" fmla="*/ 887023 h 1694229"/>
                <a:gd name="connsiteX86" fmla="*/ 1557811 w 1881147"/>
                <a:gd name="connsiteY86" fmla="*/ 839398 h 1694229"/>
                <a:gd name="connsiteX87" fmla="*/ 1505424 w 1881147"/>
                <a:gd name="connsiteY87" fmla="*/ 820348 h 1694229"/>
                <a:gd name="connsiteX88" fmla="*/ 1453036 w 1881147"/>
                <a:gd name="connsiteY88" fmla="*/ 815585 h 1694229"/>
                <a:gd name="connsiteX89" fmla="*/ 1510186 w 1881147"/>
                <a:gd name="connsiteY89" fmla="*/ 782248 h 1694229"/>
                <a:gd name="connsiteX90" fmla="*/ 1476849 w 1881147"/>
                <a:gd name="connsiteY90" fmla="*/ 748910 h 1694229"/>
                <a:gd name="connsiteX91" fmla="*/ 1481611 w 1881147"/>
                <a:gd name="connsiteY91" fmla="*/ 725098 h 1694229"/>
                <a:gd name="connsiteX92" fmla="*/ 1572099 w 1881147"/>
                <a:gd name="connsiteY92" fmla="*/ 763198 h 1694229"/>
                <a:gd name="connsiteX93" fmla="*/ 1624486 w 1881147"/>
                <a:gd name="connsiteY93" fmla="*/ 696523 h 1694229"/>
                <a:gd name="connsiteX94" fmla="*/ 1622283 w 1881147"/>
                <a:gd name="connsiteY94" fmla="*/ 553648 h 1694229"/>
                <a:gd name="connsiteX95" fmla="*/ 1639486 w 1881147"/>
                <a:gd name="connsiteY95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19586 w 1881147"/>
                <a:gd name="connsiteY22" fmla="*/ 415535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7674 w 1881147"/>
                <a:gd name="connsiteY23" fmla="*/ 434585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43349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6224 w 1881147"/>
                <a:gd name="connsiteY27" fmla="*/ 239323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24299 w 1881147"/>
                <a:gd name="connsiteY29" fmla="*/ 334573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10011 w 1881147"/>
                <a:gd name="connsiteY30" fmla="*/ 367910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46620 w 1881147"/>
                <a:gd name="connsiteY30" fmla="*/ 390888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3824 w 1881147"/>
                <a:gd name="connsiteY31" fmla="*/ 415535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1436 w 1881147"/>
                <a:gd name="connsiteY32" fmla="*/ 453635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486 w 1881147"/>
                <a:gd name="connsiteY0" fmla="*/ 405322 h 1694229"/>
                <a:gd name="connsiteX1" fmla="*/ 1567336 w 1881147"/>
                <a:gd name="connsiteY1" fmla="*/ 372673 h 1694229"/>
                <a:gd name="connsiteX2" fmla="*/ 1477087 w 1881147"/>
                <a:gd name="connsiteY2" fmla="*/ 348860 h 1694229"/>
                <a:gd name="connsiteX3" fmla="*/ 1423767 w 1881147"/>
                <a:gd name="connsiteY3" fmla="*/ 271776 h 1694229"/>
                <a:gd name="connsiteX4" fmla="*/ 1400666 w 1881147"/>
                <a:gd name="connsiteY4" fmla="*/ 169931 h 1694229"/>
                <a:gd name="connsiteX5" fmla="*/ 1364769 w 1881147"/>
                <a:gd name="connsiteY5" fmla="*/ 1869 h 1694229"/>
                <a:gd name="connsiteX6" fmla="*/ 1297400 w 1881147"/>
                <a:gd name="connsiteY6" fmla="*/ 43567 h 1694229"/>
                <a:gd name="connsiteX7" fmla="*/ 1291832 w 1881147"/>
                <a:gd name="connsiteY7" fmla="*/ 101090 h 1694229"/>
                <a:gd name="connsiteX8" fmla="*/ 1275927 w 1881147"/>
                <a:gd name="connsiteY8" fmla="*/ 152303 h 1694229"/>
                <a:gd name="connsiteX9" fmla="*/ 1256402 w 1881147"/>
                <a:gd name="connsiteY9" fmla="*/ 204316 h 1694229"/>
                <a:gd name="connsiteX10" fmla="*/ 1254673 w 1881147"/>
                <a:gd name="connsiteY10" fmla="*/ 273739 h 1694229"/>
                <a:gd name="connsiteX11" fmla="*/ 1181692 w 1881147"/>
                <a:gd name="connsiteY11" fmla="*/ 283903 h 1694229"/>
                <a:gd name="connsiteX12" fmla="*/ 1117339 w 1881147"/>
                <a:gd name="connsiteY12" fmla="*/ 285917 h 1694229"/>
                <a:gd name="connsiteX13" fmla="*/ 1069738 w 1881147"/>
                <a:gd name="connsiteY13" fmla="*/ 346183 h 1694229"/>
                <a:gd name="connsiteX14" fmla="*/ 1015123 w 1881147"/>
                <a:gd name="connsiteY14" fmla="*/ 371690 h 1694229"/>
                <a:gd name="connsiteX15" fmla="*/ 962499 w 1881147"/>
                <a:gd name="connsiteY15" fmla="*/ 358385 h 1694229"/>
                <a:gd name="connsiteX16" fmla="*/ 855759 w 1881147"/>
                <a:gd name="connsiteY16" fmla="*/ 376257 h 1694229"/>
                <a:gd name="connsiteX17" fmla="*/ 832776 w 1881147"/>
                <a:gd name="connsiteY17" fmla="*/ 440035 h 1694229"/>
                <a:gd name="connsiteX18" fmla="*/ 815693 w 1881147"/>
                <a:gd name="connsiteY18" fmla="*/ 475926 h 1694229"/>
                <a:gd name="connsiteX19" fmla="*/ 733662 w 1881147"/>
                <a:gd name="connsiteY19" fmla="*/ 494632 h 1694229"/>
                <a:gd name="connsiteX20" fmla="*/ 715850 w 1881147"/>
                <a:gd name="connsiteY20" fmla="*/ 440647 h 1694229"/>
                <a:gd name="connsiteX21" fmla="*/ 671986 w 1881147"/>
                <a:gd name="connsiteY21" fmla="*/ 420298 h 1694229"/>
                <a:gd name="connsiteX22" fmla="*/ 536670 w 1881147"/>
                <a:gd name="connsiteY22" fmla="*/ 420641 h 1694229"/>
                <a:gd name="connsiteX23" fmla="*/ 452793 w 1881147"/>
                <a:gd name="connsiteY23" fmla="*/ 447350 h 1694229"/>
                <a:gd name="connsiteX24" fmla="*/ 419574 w 1881147"/>
                <a:gd name="connsiteY24" fmla="*/ 420298 h 1694229"/>
                <a:gd name="connsiteX25" fmla="*/ 400524 w 1881147"/>
                <a:gd name="connsiteY25" fmla="*/ 358385 h 1694229"/>
                <a:gd name="connsiteX26" fmla="*/ 333849 w 1881147"/>
                <a:gd name="connsiteY26" fmla="*/ 305998 h 1694229"/>
                <a:gd name="connsiteX27" fmla="*/ 288664 w 1881147"/>
                <a:gd name="connsiteY27" fmla="*/ 229110 h 1694229"/>
                <a:gd name="connsiteX28" fmla="*/ 165314 w 1881147"/>
                <a:gd name="connsiteY28" fmla="*/ 258373 h 1694229"/>
                <a:gd name="connsiteX29" fmla="*/ 146264 w 1881147"/>
                <a:gd name="connsiteY29" fmla="*/ 344785 h 1694229"/>
                <a:gd name="connsiteX30" fmla="*/ 163704 w 1881147"/>
                <a:gd name="connsiteY30" fmla="*/ 411312 h 1694229"/>
                <a:gd name="connsiteX31" fmla="*/ 136265 w 1881147"/>
                <a:gd name="connsiteY31" fmla="*/ 446172 h 1694229"/>
                <a:gd name="connsiteX32" fmla="*/ 83877 w 1881147"/>
                <a:gd name="connsiteY32" fmla="*/ 474059 h 1694229"/>
                <a:gd name="connsiteX33" fmla="*/ 33811 w 1881147"/>
                <a:gd name="connsiteY33" fmla="*/ 448873 h 1694229"/>
                <a:gd name="connsiteX34" fmla="*/ 33811 w 1881147"/>
                <a:gd name="connsiteY34" fmla="*/ 520310 h 1694229"/>
                <a:gd name="connsiteX35" fmla="*/ 474 w 1881147"/>
                <a:gd name="connsiteY35" fmla="*/ 625085 h 1694229"/>
                <a:gd name="connsiteX36" fmla="*/ 62386 w 1881147"/>
                <a:gd name="connsiteY36" fmla="*/ 701285 h 1694229"/>
                <a:gd name="connsiteX37" fmla="*/ 111977 w 1881147"/>
                <a:gd name="connsiteY37" fmla="*/ 681547 h 1694229"/>
                <a:gd name="connsiteX38" fmla="*/ 112334 w 1881147"/>
                <a:gd name="connsiteY38" fmla="*/ 751806 h 1694229"/>
                <a:gd name="connsiteX39" fmla="*/ 167161 w 1881147"/>
                <a:gd name="connsiteY39" fmla="*/ 782248 h 1694229"/>
                <a:gd name="connsiteX40" fmla="*/ 236159 w 1881147"/>
                <a:gd name="connsiteY40" fmla="*/ 792460 h 1694229"/>
                <a:gd name="connsiteX41" fmla="*/ 271462 w 1881147"/>
                <a:gd name="connsiteY41" fmla="*/ 848431 h 1694229"/>
                <a:gd name="connsiteX42" fmla="*/ 270869 w 1881147"/>
                <a:gd name="connsiteY42" fmla="*/ 893503 h 1694229"/>
                <a:gd name="connsiteX43" fmla="*/ 295393 w 1881147"/>
                <a:gd name="connsiteY43" fmla="*/ 932978 h 1694229"/>
                <a:gd name="connsiteX44" fmla="*/ 341051 w 1881147"/>
                <a:gd name="connsiteY44" fmla="*/ 971570 h 1694229"/>
                <a:gd name="connsiteX45" fmla="*/ 426184 w 1881147"/>
                <a:gd name="connsiteY45" fmla="*/ 1025822 h 1694229"/>
                <a:gd name="connsiteX46" fmla="*/ 461961 w 1881147"/>
                <a:gd name="connsiteY46" fmla="*/ 1096915 h 1694229"/>
                <a:gd name="connsiteX47" fmla="*/ 441064 w 1881147"/>
                <a:gd name="connsiteY47" fmla="*/ 1166488 h 1694229"/>
                <a:gd name="connsiteX48" fmla="*/ 519111 w 1881147"/>
                <a:gd name="connsiteY48" fmla="*/ 1222951 h 1694229"/>
                <a:gd name="connsiteX49" fmla="*/ 591143 w 1881147"/>
                <a:gd name="connsiteY49" fmla="*/ 1255945 h 1694229"/>
                <a:gd name="connsiteX50" fmla="*/ 571974 w 1881147"/>
                <a:gd name="connsiteY50" fmla="*/ 1315648 h 1694229"/>
                <a:gd name="connsiteX51" fmla="*/ 662461 w 1881147"/>
                <a:gd name="connsiteY51" fmla="*/ 1468048 h 1694229"/>
                <a:gd name="connsiteX52" fmla="*/ 755271 w 1881147"/>
                <a:gd name="connsiteY52" fmla="*/ 1541202 h 1694229"/>
                <a:gd name="connsiteX53" fmla="*/ 805336 w 1881147"/>
                <a:gd name="connsiteY53" fmla="*/ 1491860 h 1694229"/>
                <a:gd name="connsiteX54" fmla="*/ 869926 w 1881147"/>
                <a:gd name="connsiteY54" fmla="*/ 1519257 h 1694229"/>
                <a:gd name="connsiteX55" fmla="*/ 924399 w 1881147"/>
                <a:gd name="connsiteY55" fmla="*/ 1487098 h 1694229"/>
                <a:gd name="connsiteX56" fmla="*/ 941246 w 1881147"/>
                <a:gd name="connsiteY56" fmla="*/ 1444922 h 1694229"/>
                <a:gd name="connsiteX57" fmla="*/ 1005123 w 1881147"/>
                <a:gd name="connsiteY57" fmla="*/ 1531334 h 1694229"/>
                <a:gd name="connsiteX58" fmla="*/ 1050190 w 1881147"/>
                <a:gd name="connsiteY58" fmla="*/ 1602428 h 1694229"/>
                <a:gd name="connsiteX59" fmla="*/ 1120136 w 1881147"/>
                <a:gd name="connsiteY59" fmla="*/ 1693947 h 1694229"/>
                <a:gd name="connsiteX60" fmla="*/ 1151034 w 1881147"/>
                <a:gd name="connsiteY60" fmla="*/ 1630856 h 1694229"/>
                <a:gd name="connsiteX61" fmla="*/ 1181693 w 1881147"/>
                <a:gd name="connsiteY61" fmla="*/ 1624376 h 1694229"/>
                <a:gd name="connsiteX62" fmla="*/ 1224792 w 1881147"/>
                <a:gd name="connsiteY62" fmla="*/ 1653639 h 1694229"/>
                <a:gd name="connsiteX63" fmla="*/ 1258367 w 1881147"/>
                <a:gd name="connsiteY63" fmla="*/ 1612985 h 1694229"/>
                <a:gd name="connsiteX64" fmla="*/ 1277188 w 1881147"/>
                <a:gd name="connsiteY64" fmla="*/ 1617602 h 1694229"/>
                <a:gd name="connsiteX65" fmla="*/ 1311230 w 1881147"/>
                <a:gd name="connsiteY65" fmla="*/ 1684079 h 1694229"/>
                <a:gd name="connsiteX66" fmla="*/ 1367786 w 1881147"/>
                <a:gd name="connsiteY66" fmla="*/ 1660610 h 1694229"/>
                <a:gd name="connsiteX67" fmla="*/ 1419818 w 1881147"/>
                <a:gd name="connsiteY67" fmla="*/ 1604489 h 1694229"/>
                <a:gd name="connsiteX68" fmla="*/ 1470595 w 1881147"/>
                <a:gd name="connsiteY68" fmla="*/ 1587946 h 1694229"/>
                <a:gd name="connsiteX69" fmla="*/ 1488274 w 1881147"/>
                <a:gd name="connsiteY69" fmla="*/ 1643768 h 1694229"/>
                <a:gd name="connsiteX70" fmla="*/ 1558169 w 1881147"/>
                <a:gd name="connsiteY70" fmla="*/ 1618090 h 1694229"/>
                <a:gd name="connsiteX71" fmla="*/ 1588947 w 1881147"/>
                <a:gd name="connsiteY71" fmla="*/ 1531334 h 1694229"/>
                <a:gd name="connsiteX72" fmla="*/ 1670383 w 1881147"/>
                <a:gd name="connsiteY72" fmla="*/ 1441192 h 1694229"/>
                <a:gd name="connsiteX73" fmla="*/ 1714974 w 1881147"/>
                <a:gd name="connsiteY73" fmla="*/ 1410062 h 1694229"/>
                <a:gd name="connsiteX74" fmla="*/ 1743343 w 1881147"/>
                <a:gd name="connsiteY74" fmla="*/ 1413357 h 1694229"/>
                <a:gd name="connsiteX75" fmla="*/ 1820935 w 1881147"/>
                <a:gd name="connsiteY75" fmla="*/ 1402749 h 1694229"/>
                <a:gd name="connsiteX76" fmla="*/ 1816054 w 1881147"/>
                <a:gd name="connsiteY76" fmla="*/ 1456313 h 1694229"/>
                <a:gd name="connsiteX77" fmla="*/ 1874221 w 1881147"/>
                <a:gd name="connsiteY77" fmla="*/ 1479634 h 1694229"/>
                <a:gd name="connsiteX78" fmla="*/ 1875829 w 1881147"/>
                <a:gd name="connsiteY78" fmla="*/ 1457000 h 1694229"/>
                <a:gd name="connsiteX79" fmla="*/ 1875051 w 1881147"/>
                <a:gd name="connsiteY79" fmla="*/ 1396266 h 1694229"/>
                <a:gd name="connsiteX80" fmla="*/ 1853086 w 1881147"/>
                <a:gd name="connsiteY80" fmla="*/ 1306123 h 1694229"/>
                <a:gd name="connsiteX81" fmla="*/ 1853086 w 1881147"/>
                <a:gd name="connsiteY81" fmla="*/ 1248973 h 1694229"/>
                <a:gd name="connsiteX82" fmla="*/ 1810224 w 1881147"/>
                <a:gd name="connsiteY82" fmla="*/ 1239448 h 1694229"/>
                <a:gd name="connsiteX83" fmla="*/ 1734024 w 1881147"/>
                <a:gd name="connsiteY83" fmla="*/ 1158485 h 1694229"/>
                <a:gd name="connsiteX84" fmla="*/ 1695924 w 1881147"/>
                <a:gd name="connsiteY84" fmla="*/ 977510 h 1694229"/>
                <a:gd name="connsiteX85" fmla="*/ 1643536 w 1881147"/>
                <a:gd name="connsiteY85" fmla="*/ 944173 h 1694229"/>
                <a:gd name="connsiteX86" fmla="*/ 1605436 w 1881147"/>
                <a:gd name="connsiteY86" fmla="*/ 887023 h 1694229"/>
                <a:gd name="connsiteX87" fmla="*/ 1557811 w 1881147"/>
                <a:gd name="connsiteY87" fmla="*/ 839398 h 1694229"/>
                <a:gd name="connsiteX88" fmla="*/ 1505424 w 1881147"/>
                <a:gd name="connsiteY88" fmla="*/ 820348 h 1694229"/>
                <a:gd name="connsiteX89" fmla="*/ 1453036 w 1881147"/>
                <a:gd name="connsiteY89" fmla="*/ 815585 h 1694229"/>
                <a:gd name="connsiteX90" fmla="*/ 1510186 w 1881147"/>
                <a:gd name="connsiteY90" fmla="*/ 782248 h 1694229"/>
                <a:gd name="connsiteX91" fmla="*/ 1476849 w 1881147"/>
                <a:gd name="connsiteY91" fmla="*/ 748910 h 1694229"/>
                <a:gd name="connsiteX92" fmla="*/ 1481611 w 1881147"/>
                <a:gd name="connsiteY92" fmla="*/ 725098 h 1694229"/>
                <a:gd name="connsiteX93" fmla="*/ 1572099 w 1881147"/>
                <a:gd name="connsiteY93" fmla="*/ 763198 h 1694229"/>
                <a:gd name="connsiteX94" fmla="*/ 1624486 w 1881147"/>
                <a:gd name="connsiteY94" fmla="*/ 696523 h 1694229"/>
                <a:gd name="connsiteX95" fmla="*/ 1622283 w 1881147"/>
                <a:gd name="connsiteY95" fmla="*/ 553648 h 1694229"/>
                <a:gd name="connsiteX96" fmla="*/ 1639486 w 1881147"/>
                <a:gd name="connsiteY96" fmla="*/ 405322 h 1694229"/>
                <a:gd name="connsiteX0" fmla="*/ 1639538 w 1881199"/>
                <a:gd name="connsiteY0" fmla="*/ 405322 h 1694229"/>
                <a:gd name="connsiteX1" fmla="*/ 1567388 w 1881199"/>
                <a:gd name="connsiteY1" fmla="*/ 372673 h 1694229"/>
                <a:gd name="connsiteX2" fmla="*/ 1477139 w 1881199"/>
                <a:gd name="connsiteY2" fmla="*/ 348860 h 1694229"/>
                <a:gd name="connsiteX3" fmla="*/ 1423819 w 1881199"/>
                <a:gd name="connsiteY3" fmla="*/ 271776 h 1694229"/>
                <a:gd name="connsiteX4" fmla="*/ 1400718 w 1881199"/>
                <a:gd name="connsiteY4" fmla="*/ 169931 h 1694229"/>
                <a:gd name="connsiteX5" fmla="*/ 1364821 w 1881199"/>
                <a:gd name="connsiteY5" fmla="*/ 1869 h 1694229"/>
                <a:gd name="connsiteX6" fmla="*/ 1297452 w 1881199"/>
                <a:gd name="connsiteY6" fmla="*/ 43567 h 1694229"/>
                <a:gd name="connsiteX7" fmla="*/ 1291884 w 1881199"/>
                <a:gd name="connsiteY7" fmla="*/ 101090 h 1694229"/>
                <a:gd name="connsiteX8" fmla="*/ 1275979 w 1881199"/>
                <a:gd name="connsiteY8" fmla="*/ 152303 h 1694229"/>
                <a:gd name="connsiteX9" fmla="*/ 1256454 w 1881199"/>
                <a:gd name="connsiteY9" fmla="*/ 204316 h 1694229"/>
                <a:gd name="connsiteX10" fmla="*/ 1254725 w 1881199"/>
                <a:gd name="connsiteY10" fmla="*/ 273739 h 1694229"/>
                <a:gd name="connsiteX11" fmla="*/ 1181744 w 1881199"/>
                <a:gd name="connsiteY11" fmla="*/ 283903 h 1694229"/>
                <a:gd name="connsiteX12" fmla="*/ 1117391 w 1881199"/>
                <a:gd name="connsiteY12" fmla="*/ 285917 h 1694229"/>
                <a:gd name="connsiteX13" fmla="*/ 1069790 w 1881199"/>
                <a:gd name="connsiteY13" fmla="*/ 346183 h 1694229"/>
                <a:gd name="connsiteX14" fmla="*/ 1015175 w 1881199"/>
                <a:gd name="connsiteY14" fmla="*/ 371690 h 1694229"/>
                <a:gd name="connsiteX15" fmla="*/ 962551 w 1881199"/>
                <a:gd name="connsiteY15" fmla="*/ 358385 h 1694229"/>
                <a:gd name="connsiteX16" fmla="*/ 855811 w 1881199"/>
                <a:gd name="connsiteY16" fmla="*/ 376257 h 1694229"/>
                <a:gd name="connsiteX17" fmla="*/ 832828 w 1881199"/>
                <a:gd name="connsiteY17" fmla="*/ 440035 h 1694229"/>
                <a:gd name="connsiteX18" fmla="*/ 815745 w 1881199"/>
                <a:gd name="connsiteY18" fmla="*/ 475926 h 1694229"/>
                <a:gd name="connsiteX19" fmla="*/ 733714 w 1881199"/>
                <a:gd name="connsiteY19" fmla="*/ 494632 h 1694229"/>
                <a:gd name="connsiteX20" fmla="*/ 715902 w 1881199"/>
                <a:gd name="connsiteY20" fmla="*/ 440647 h 1694229"/>
                <a:gd name="connsiteX21" fmla="*/ 672038 w 1881199"/>
                <a:gd name="connsiteY21" fmla="*/ 420298 h 1694229"/>
                <a:gd name="connsiteX22" fmla="*/ 536722 w 1881199"/>
                <a:gd name="connsiteY22" fmla="*/ 420641 h 1694229"/>
                <a:gd name="connsiteX23" fmla="*/ 452845 w 1881199"/>
                <a:gd name="connsiteY23" fmla="*/ 447350 h 1694229"/>
                <a:gd name="connsiteX24" fmla="*/ 419626 w 1881199"/>
                <a:gd name="connsiteY24" fmla="*/ 420298 h 1694229"/>
                <a:gd name="connsiteX25" fmla="*/ 400576 w 1881199"/>
                <a:gd name="connsiteY25" fmla="*/ 358385 h 1694229"/>
                <a:gd name="connsiteX26" fmla="*/ 333901 w 1881199"/>
                <a:gd name="connsiteY26" fmla="*/ 305998 h 1694229"/>
                <a:gd name="connsiteX27" fmla="*/ 288716 w 1881199"/>
                <a:gd name="connsiteY27" fmla="*/ 229110 h 1694229"/>
                <a:gd name="connsiteX28" fmla="*/ 165366 w 1881199"/>
                <a:gd name="connsiteY28" fmla="*/ 258373 h 1694229"/>
                <a:gd name="connsiteX29" fmla="*/ 146316 w 1881199"/>
                <a:gd name="connsiteY29" fmla="*/ 344785 h 1694229"/>
                <a:gd name="connsiteX30" fmla="*/ 163756 w 1881199"/>
                <a:gd name="connsiteY30" fmla="*/ 411312 h 1694229"/>
                <a:gd name="connsiteX31" fmla="*/ 136317 w 1881199"/>
                <a:gd name="connsiteY31" fmla="*/ 446172 h 1694229"/>
                <a:gd name="connsiteX32" fmla="*/ 83929 w 1881199"/>
                <a:gd name="connsiteY32" fmla="*/ 474059 h 1694229"/>
                <a:gd name="connsiteX33" fmla="*/ 55828 w 1881199"/>
                <a:gd name="connsiteY33" fmla="*/ 482063 h 1694229"/>
                <a:gd name="connsiteX34" fmla="*/ 33863 w 1881199"/>
                <a:gd name="connsiteY34" fmla="*/ 520310 h 1694229"/>
                <a:gd name="connsiteX35" fmla="*/ 526 w 1881199"/>
                <a:gd name="connsiteY35" fmla="*/ 625085 h 1694229"/>
                <a:gd name="connsiteX36" fmla="*/ 62438 w 1881199"/>
                <a:gd name="connsiteY36" fmla="*/ 701285 h 1694229"/>
                <a:gd name="connsiteX37" fmla="*/ 112029 w 1881199"/>
                <a:gd name="connsiteY37" fmla="*/ 681547 h 1694229"/>
                <a:gd name="connsiteX38" fmla="*/ 112386 w 1881199"/>
                <a:gd name="connsiteY38" fmla="*/ 751806 h 1694229"/>
                <a:gd name="connsiteX39" fmla="*/ 167213 w 1881199"/>
                <a:gd name="connsiteY39" fmla="*/ 782248 h 1694229"/>
                <a:gd name="connsiteX40" fmla="*/ 236211 w 1881199"/>
                <a:gd name="connsiteY40" fmla="*/ 792460 h 1694229"/>
                <a:gd name="connsiteX41" fmla="*/ 271514 w 1881199"/>
                <a:gd name="connsiteY41" fmla="*/ 848431 h 1694229"/>
                <a:gd name="connsiteX42" fmla="*/ 270921 w 1881199"/>
                <a:gd name="connsiteY42" fmla="*/ 893503 h 1694229"/>
                <a:gd name="connsiteX43" fmla="*/ 295445 w 1881199"/>
                <a:gd name="connsiteY43" fmla="*/ 932978 h 1694229"/>
                <a:gd name="connsiteX44" fmla="*/ 341103 w 1881199"/>
                <a:gd name="connsiteY44" fmla="*/ 971570 h 1694229"/>
                <a:gd name="connsiteX45" fmla="*/ 426236 w 1881199"/>
                <a:gd name="connsiteY45" fmla="*/ 1025822 h 1694229"/>
                <a:gd name="connsiteX46" fmla="*/ 462013 w 1881199"/>
                <a:gd name="connsiteY46" fmla="*/ 1096915 h 1694229"/>
                <a:gd name="connsiteX47" fmla="*/ 441116 w 1881199"/>
                <a:gd name="connsiteY47" fmla="*/ 1166488 h 1694229"/>
                <a:gd name="connsiteX48" fmla="*/ 519163 w 1881199"/>
                <a:gd name="connsiteY48" fmla="*/ 1222951 h 1694229"/>
                <a:gd name="connsiteX49" fmla="*/ 591195 w 1881199"/>
                <a:gd name="connsiteY49" fmla="*/ 1255945 h 1694229"/>
                <a:gd name="connsiteX50" fmla="*/ 572026 w 1881199"/>
                <a:gd name="connsiteY50" fmla="*/ 1315648 h 1694229"/>
                <a:gd name="connsiteX51" fmla="*/ 662513 w 1881199"/>
                <a:gd name="connsiteY51" fmla="*/ 1468048 h 1694229"/>
                <a:gd name="connsiteX52" fmla="*/ 755323 w 1881199"/>
                <a:gd name="connsiteY52" fmla="*/ 1541202 h 1694229"/>
                <a:gd name="connsiteX53" fmla="*/ 805388 w 1881199"/>
                <a:gd name="connsiteY53" fmla="*/ 1491860 h 1694229"/>
                <a:gd name="connsiteX54" fmla="*/ 869978 w 1881199"/>
                <a:gd name="connsiteY54" fmla="*/ 1519257 h 1694229"/>
                <a:gd name="connsiteX55" fmla="*/ 924451 w 1881199"/>
                <a:gd name="connsiteY55" fmla="*/ 1487098 h 1694229"/>
                <a:gd name="connsiteX56" fmla="*/ 941298 w 1881199"/>
                <a:gd name="connsiteY56" fmla="*/ 1444922 h 1694229"/>
                <a:gd name="connsiteX57" fmla="*/ 1005175 w 1881199"/>
                <a:gd name="connsiteY57" fmla="*/ 1531334 h 1694229"/>
                <a:gd name="connsiteX58" fmla="*/ 1050242 w 1881199"/>
                <a:gd name="connsiteY58" fmla="*/ 1602428 h 1694229"/>
                <a:gd name="connsiteX59" fmla="*/ 1120188 w 1881199"/>
                <a:gd name="connsiteY59" fmla="*/ 1693947 h 1694229"/>
                <a:gd name="connsiteX60" fmla="*/ 1151086 w 1881199"/>
                <a:gd name="connsiteY60" fmla="*/ 1630856 h 1694229"/>
                <a:gd name="connsiteX61" fmla="*/ 1181745 w 1881199"/>
                <a:gd name="connsiteY61" fmla="*/ 1624376 h 1694229"/>
                <a:gd name="connsiteX62" fmla="*/ 1224844 w 1881199"/>
                <a:gd name="connsiteY62" fmla="*/ 1653639 h 1694229"/>
                <a:gd name="connsiteX63" fmla="*/ 1258419 w 1881199"/>
                <a:gd name="connsiteY63" fmla="*/ 1612985 h 1694229"/>
                <a:gd name="connsiteX64" fmla="*/ 1277240 w 1881199"/>
                <a:gd name="connsiteY64" fmla="*/ 1617602 h 1694229"/>
                <a:gd name="connsiteX65" fmla="*/ 1311282 w 1881199"/>
                <a:gd name="connsiteY65" fmla="*/ 1684079 h 1694229"/>
                <a:gd name="connsiteX66" fmla="*/ 1367838 w 1881199"/>
                <a:gd name="connsiteY66" fmla="*/ 1660610 h 1694229"/>
                <a:gd name="connsiteX67" fmla="*/ 1419870 w 1881199"/>
                <a:gd name="connsiteY67" fmla="*/ 1604489 h 1694229"/>
                <a:gd name="connsiteX68" fmla="*/ 1470647 w 1881199"/>
                <a:gd name="connsiteY68" fmla="*/ 1587946 h 1694229"/>
                <a:gd name="connsiteX69" fmla="*/ 1488326 w 1881199"/>
                <a:gd name="connsiteY69" fmla="*/ 1643768 h 1694229"/>
                <a:gd name="connsiteX70" fmla="*/ 1558221 w 1881199"/>
                <a:gd name="connsiteY70" fmla="*/ 1618090 h 1694229"/>
                <a:gd name="connsiteX71" fmla="*/ 1588999 w 1881199"/>
                <a:gd name="connsiteY71" fmla="*/ 1531334 h 1694229"/>
                <a:gd name="connsiteX72" fmla="*/ 1670435 w 1881199"/>
                <a:gd name="connsiteY72" fmla="*/ 1441192 h 1694229"/>
                <a:gd name="connsiteX73" fmla="*/ 1715026 w 1881199"/>
                <a:gd name="connsiteY73" fmla="*/ 1410062 h 1694229"/>
                <a:gd name="connsiteX74" fmla="*/ 1743395 w 1881199"/>
                <a:gd name="connsiteY74" fmla="*/ 1413357 h 1694229"/>
                <a:gd name="connsiteX75" fmla="*/ 1820987 w 1881199"/>
                <a:gd name="connsiteY75" fmla="*/ 1402749 h 1694229"/>
                <a:gd name="connsiteX76" fmla="*/ 1816106 w 1881199"/>
                <a:gd name="connsiteY76" fmla="*/ 1456313 h 1694229"/>
                <a:gd name="connsiteX77" fmla="*/ 1874273 w 1881199"/>
                <a:gd name="connsiteY77" fmla="*/ 1479634 h 1694229"/>
                <a:gd name="connsiteX78" fmla="*/ 1875881 w 1881199"/>
                <a:gd name="connsiteY78" fmla="*/ 1457000 h 1694229"/>
                <a:gd name="connsiteX79" fmla="*/ 1875103 w 1881199"/>
                <a:gd name="connsiteY79" fmla="*/ 1396266 h 1694229"/>
                <a:gd name="connsiteX80" fmla="*/ 1853138 w 1881199"/>
                <a:gd name="connsiteY80" fmla="*/ 1306123 h 1694229"/>
                <a:gd name="connsiteX81" fmla="*/ 1853138 w 1881199"/>
                <a:gd name="connsiteY81" fmla="*/ 1248973 h 1694229"/>
                <a:gd name="connsiteX82" fmla="*/ 1810276 w 1881199"/>
                <a:gd name="connsiteY82" fmla="*/ 1239448 h 1694229"/>
                <a:gd name="connsiteX83" fmla="*/ 1734076 w 1881199"/>
                <a:gd name="connsiteY83" fmla="*/ 1158485 h 1694229"/>
                <a:gd name="connsiteX84" fmla="*/ 1695976 w 1881199"/>
                <a:gd name="connsiteY84" fmla="*/ 977510 h 1694229"/>
                <a:gd name="connsiteX85" fmla="*/ 1643588 w 1881199"/>
                <a:gd name="connsiteY85" fmla="*/ 944173 h 1694229"/>
                <a:gd name="connsiteX86" fmla="*/ 1605488 w 1881199"/>
                <a:gd name="connsiteY86" fmla="*/ 887023 h 1694229"/>
                <a:gd name="connsiteX87" fmla="*/ 1557863 w 1881199"/>
                <a:gd name="connsiteY87" fmla="*/ 839398 h 1694229"/>
                <a:gd name="connsiteX88" fmla="*/ 1505476 w 1881199"/>
                <a:gd name="connsiteY88" fmla="*/ 820348 h 1694229"/>
                <a:gd name="connsiteX89" fmla="*/ 1453088 w 1881199"/>
                <a:gd name="connsiteY89" fmla="*/ 815585 h 1694229"/>
                <a:gd name="connsiteX90" fmla="*/ 1510238 w 1881199"/>
                <a:gd name="connsiteY90" fmla="*/ 782248 h 1694229"/>
                <a:gd name="connsiteX91" fmla="*/ 1476901 w 1881199"/>
                <a:gd name="connsiteY91" fmla="*/ 748910 h 1694229"/>
                <a:gd name="connsiteX92" fmla="*/ 1481663 w 1881199"/>
                <a:gd name="connsiteY92" fmla="*/ 725098 h 1694229"/>
                <a:gd name="connsiteX93" fmla="*/ 1572151 w 1881199"/>
                <a:gd name="connsiteY93" fmla="*/ 763198 h 1694229"/>
                <a:gd name="connsiteX94" fmla="*/ 1624538 w 1881199"/>
                <a:gd name="connsiteY94" fmla="*/ 696523 h 1694229"/>
                <a:gd name="connsiteX95" fmla="*/ 1622335 w 1881199"/>
                <a:gd name="connsiteY95" fmla="*/ 553648 h 1694229"/>
                <a:gd name="connsiteX96" fmla="*/ 1639538 w 1881199"/>
                <a:gd name="connsiteY96" fmla="*/ 405322 h 1694229"/>
                <a:gd name="connsiteX0" fmla="*/ 1620540 w 1862201"/>
                <a:gd name="connsiteY0" fmla="*/ 405322 h 1694229"/>
                <a:gd name="connsiteX1" fmla="*/ 1548390 w 1862201"/>
                <a:gd name="connsiteY1" fmla="*/ 372673 h 1694229"/>
                <a:gd name="connsiteX2" fmla="*/ 1458141 w 1862201"/>
                <a:gd name="connsiteY2" fmla="*/ 348860 h 1694229"/>
                <a:gd name="connsiteX3" fmla="*/ 1404821 w 1862201"/>
                <a:gd name="connsiteY3" fmla="*/ 271776 h 1694229"/>
                <a:gd name="connsiteX4" fmla="*/ 1381720 w 1862201"/>
                <a:gd name="connsiteY4" fmla="*/ 169931 h 1694229"/>
                <a:gd name="connsiteX5" fmla="*/ 1345823 w 1862201"/>
                <a:gd name="connsiteY5" fmla="*/ 1869 h 1694229"/>
                <a:gd name="connsiteX6" fmla="*/ 1278454 w 1862201"/>
                <a:gd name="connsiteY6" fmla="*/ 43567 h 1694229"/>
                <a:gd name="connsiteX7" fmla="*/ 1272886 w 1862201"/>
                <a:gd name="connsiteY7" fmla="*/ 101090 h 1694229"/>
                <a:gd name="connsiteX8" fmla="*/ 1256981 w 1862201"/>
                <a:gd name="connsiteY8" fmla="*/ 152303 h 1694229"/>
                <a:gd name="connsiteX9" fmla="*/ 1237456 w 1862201"/>
                <a:gd name="connsiteY9" fmla="*/ 204316 h 1694229"/>
                <a:gd name="connsiteX10" fmla="*/ 1235727 w 1862201"/>
                <a:gd name="connsiteY10" fmla="*/ 273739 h 1694229"/>
                <a:gd name="connsiteX11" fmla="*/ 1162746 w 1862201"/>
                <a:gd name="connsiteY11" fmla="*/ 283903 h 1694229"/>
                <a:gd name="connsiteX12" fmla="*/ 1098393 w 1862201"/>
                <a:gd name="connsiteY12" fmla="*/ 285917 h 1694229"/>
                <a:gd name="connsiteX13" fmla="*/ 1050792 w 1862201"/>
                <a:gd name="connsiteY13" fmla="*/ 346183 h 1694229"/>
                <a:gd name="connsiteX14" fmla="*/ 996177 w 1862201"/>
                <a:gd name="connsiteY14" fmla="*/ 371690 h 1694229"/>
                <a:gd name="connsiteX15" fmla="*/ 943553 w 1862201"/>
                <a:gd name="connsiteY15" fmla="*/ 358385 h 1694229"/>
                <a:gd name="connsiteX16" fmla="*/ 836813 w 1862201"/>
                <a:gd name="connsiteY16" fmla="*/ 376257 h 1694229"/>
                <a:gd name="connsiteX17" fmla="*/ 813830 w 1862201"/>
                <a:gd name="connsiteY17" fmla="*/ 440035 h 1694229"/>
                <a:gd name="connsiteX18" fmla="*/ 796747 w 1862201"/>
                <a:gd name="connsiteY18" fmla="*/ 475926 h 1694229"/>
                <a:gd name="connsiteX19" fmla="*/ 714716 w 1862201"/>
                <a:gd name="connsiteY19" fmla="*/ 494632 h 1694229"/>
                <a:gd name="connsiteX20" fmla="*/ 696904 w 1862201"/>
                <a:gd name="connsiteY20" fmla="*/ 440647 h 1694229"/>
                <a:gd name="connsiteX21" fmla="*/ 653040 w 1862201"/>
                <a:gd name="connsiteY21" fmla="*/ 420298 h 1694229"/>
                <a:gd name="connsiteX22" fmla="*/ 517724 w 1862201"/>
                <a:gd name="connsiteY22" fmla="*/ 420641 h 1694229"/>
                <a:gd name="connsiteX23" fmla="*/ 433847 w 1862201"/>
                <a:gd name="connsiteY23" fmla="*/ 447350 h 1694229"/>
                <a:gd name="connsiteX24" fmla="*/ 400628 w 1862201"/>
                <a:gd name="connsiteY24" fmla="*/ 420298 h 1694229"/>
                <a:gd name="connsiteX25" fmla="*/ 381578 w 1862201"/>
                <a:gd name="connsiteY25" fmla="*/ 358385 h 1694229"/>
                <a:gd name="connsiteX26" fmla="*/ 314903 w 1862201"/>
                <a:gd name="connsiteY26" fmla="*/ 305998 h 1694229"/>
                <a:gd name="connsiteX27" fmla="*/ 269718 w 1862201"/>
                <a:gd name="connsiteY27" fmla="*/ 229110 h 1694229"/>
                <a:gd name="connsiteX28" fmla="*/ 146368 w 1862201"/>
                <a:gd name="connsiteY28" fmla="*/ 258373 h 1694229"/>
                <a:gd name="connsiteX29" fmla="*/ 127318 w 1862201"/>
                <a:gd name="connsiteY29" fmla="*/ 344785 h 1694229"/>
                <a:gd name="connsiteX30" fmla="*/ 144758 w 1862201"/>
                <a:gd name="connsiteY30" fmla="*/ 411312 h 1694229"/>
                <a:gd name="connsiteX31" fmla="*/ 117319 w 1862201"/>
                <a:gd name="connsiteY31" fmla="*/ 446172 h 1694229"/>
                <a:gd name="connsiteX32" fmla="*/ 64931 w 1862201"/>
                <a:gd name="connsiteY32" fmla="*/ 474059 h 1694229"/>
                <a:gd name="connsiteX33" fmla="*/ 36830 w 1862201"/>
                <a:gd name="connsiteY33" fmla="*/ 482063 h 1694229"/>
                <a:gd name="connsiteX34" fmla="*/ 14865 w 1862201"/>
                <a:gd name="connsiteY34" fmla="*/ 520310 h 1694229"/>
                <a:gd name="connsiteX35" fmla="*/ 1053 w 1862201"/>
                <a:gd name="connsiteY35" fmla="*/ 632745 h 1694229"/>
                <a:gd name="connsiteX36" fmla="*/ 43440 w 1862201"/>
                <a:gd name="connsiteY36" fmla="*/ 701285 h 1694229"/>
                <a:gd name="connsiteX37" fmla="*/ 93031 w 1862201"/>
                <a:gd name="connsiteY37" fmla="*/ 681547 h 1694229"/>
                <a:gd name="connsiteX38" fmla="*/ 93388 w 1862201"/>
                <a:gd name="connsiteY38" fmla="*/ 751806 h 1694229"/>
                <a:gd name="connsiteX39" fmla="*/ 148215 w 1862201"/>
                <a:gd name="connsiteY39" fmla="*/ 782248 h 1694229"/>
                <a:gd name="connsiteX40" fmla="*/ 217213 w 1862201"/>
                <a:gd name="connsiteY40" fmla="*/ 792460 h 1694229"/>
                <a:gd name="connsiteX41" fmla="*/ 252516 w 1862201"/>
                <a:gd name="connsiteY41" fmla="*/ 848431 h 1694229"/>
                <a:gd name="connsiteX42" fmla="*/ 251923 w 1862201"/>
                <a:gd name="connsiteY42" fmla="*/ 893503 h 1694229"/>
                <a:gd name="connsiteX43" fmla="*/ 276447 w 1862201"/>
                <a:gd name="connsiteY43" fmla="*/ 932978 h 1694229"/>
                <a:gd name="connsiteX44" fmla="*/ 322105 w 1862201"/>
                <a:gd name="connsiteY44" fmla="*/ 971570 h 1694229"/>
                <a:gd name="connsiteX45" fmla="*/ 407238 w 1862201"/>
                <a:gd name="connsiteY45" fmla="*/ 1025822 h 1694229"/>
                <a:gd name="connsiteX46" fmla="*/ 443015 w 1862201"/>
                <a:gd name="connsiteY46" fmla="*/ 1096915 h 1694229"/>
                <a:gd name="connsiteX47" fmla="*/ 422118 w 1862201"/>
                <a:gd name="connsiteY47" fmla="*/ 1166488 h 1694229"/>
                <a:gd name="connsiteX48" fmla="*/ 500165 w 1862201"/>
                <a:gd name="connsiteY48" fmla="*/ 1222951 h 1694229"/>
                <a:gd name="connsiteX49" fmla="*/ 572197 w 1862201"/>
                <a:gd name="connsiteY49" fmla="*/ 1255945 h 1694229"/>
                <a:gd name="connsiteX50" fmla="*/ 553028 w 1862201"/>
                <a:gd name="connsiteY50" fmla="*/ 1315648 h 1694229"/>
                <a:gd name="connsiteX51" fmla="*/ 643515 w 1862201"/>
                <a:gd name="connsiteY51" fmla="*/ 1468048 h 1694229"/>
                <a:gd name="connsiteX52" fmla="*/ 736325 w 1862201"/>
                <a:gd name="connsiteY52" fmla="*/ 1541202 h 1694229"/>
                <a:gd name="connsiteX53" fmla="*/ 786390 w 1862201"/>
                <a:gd name="connsiteY53" fmla="*/ 1491860 h 1694229"/>
                <a:gd name="connsiteX54" fmla="*/ 850980 w 1862201"/>
                <a:gd name="connsiteY54" fmla="*/ 1519257 h 1694229"/>
                <a:gd name="connsiteX55" fmla="*/ 905453 w 1862201"/>
                <a:gd name="connsiteY55" fmla="*/ 1487098 h 1694229"/>
                <a:gd name="connsiteX56" fmla="*/ 922300 w 1862201"/>
                <a:gd name="connsiteY56" fmla="*/ 1444922 h 1694229"/>
                <a:gd name="connsiteX57" fmla="*/ 986177 w 1862201"/>
                <a:gd name="connsiteY57" fmla="*/ 1531334 h 1694229"/>
                <a:gd name="connsiteX58" fmla="*/ 1031244 w 1862201"/>
                <a:gd name="connsiteY58" fmla="*/ 1602428 h 1694229"/>
                <a:gd name="connsiteX59" fmla="*/ 1101190 w 1862201"/>
                <a:gd name="connsiteY59" fmla="*/ 1693947 h 1694229"/>
                <a:gd name="connsiteX60" fmla="*/ 1132088 w 1862201"/>
                <a:gd name="connsiteY60" fmla="*/ 1630856 h 1694229"/>
                <a:gd name="connsiteX61" fmla="*/ 1162747 w 1862201"/>
                <a:gd name="connsiteY61" fmla="*/ 1624376 h 1694229"/>
                <a:gd name="connsiteX62" fmla="*/ 1205846 w 1862201"/>
                <a:gd name="connsiteY62" fmla="*/ 1653639 h 1694229"/>
                <a:gd name="connsiteX63" fmla="*/ 1239421 w 1862201"/>
                <a:gd name="connsiteY63" fmla="*/ 1612985 h 1694229"/>
                <a:gd name="connsiteX64" fmla="*/ 1258242 w 1862201"/>
                <a:gd name="connsiteY64" fmla="*/ 1617602 h 1694229"/>
                <a:gd name="connsiteX65" fmla="*/ 1292284 w 1862201"/>
                <a:gd name="connsiteY65" fmla="*/ 1684079 h 1694229"/>
                <a:gd name="connsiteX66" fmla="*/ 1348840 w 1862201"/>
                <a:gd name="connsiteY66" fmla="*/ 1660610 h 1694229"/>
                <a:gd name="connsiteX67" fmla="*/ 1400872 w 1862201"/>
                <a:gd name="connsiteY67" fmla="*/ 1604489 h 1694229"/>
                <a:gd name="connsiteX68" fmla="*/ 1451649 w 1862201"/>
                <a:gd name="connsiteY68" fmla="*/ 1587946 h 1694229"/>
                <a:gd name="connsiteX69" fmla="*/ 1469328 w 1862201"/>
                <a:gd name="connsiteY69" fmla="*/ 1643768 h 1694229"/>
                <a:gd name="connsiteX70" fmla="*/ 1539223 w 1862201"/>
                <a:gd name="connsiteY70" fmla="*/ 1618090 h 1694229"/>
                <a:gd name="connsiteX71" fmla="*/ 1570001 w 1862201"/>
                <a:gd name="connsiteY71" fmla="*/ 1531334 h 1694229"/>
                <a:gd name="connsiteX72" fmla="*/ 1651437 w 1862201"/>
                <a:gd name="connsiteY72" fmla="*/ 1441192 h 1694229"/>
                <a:gd name="connsiteX73" fmla="*/ 1696028 w 1862201"/>
                <a:gd name="connsiteY73" fmla="*/ 1410062 h 1694229"/>
                <a:gd name="connsiteX74" fmla="*/ 1724397 w 1862201"/>
                <a:gd name="connsiteY74" fmla="*/ 1413357 h 1694229"/>
                <a:gd name="connsiteX75" fmla="*/ 1801989 w 1862201"/>
                <a:gd name="connsiteY75" fmla="*/ 1402749 h 1694229"/>
                <a:gd name="connsiteX76" fmla="*/ 1797108 w 1862201"/>
                <a:gd name="connsiteY76" fmla="*/ 1456313 h 1694229"/>
                <a:gd name="connsiteX77" fmla="*/ 1855275 w 1862201"/>
                <a:gd name="connsiteY77" fmla="*/ 1479634 h 1694229"/>
                <a:gd name="connsiteX78" fmla="*/ 1856883 w 1862201"/>
                <a:gd name="connsiteY78" fmla="*/ 1457000 h 1694229"/>
                <a:gd name="connsiteX79" fmla="*/ 1856105 w 1862201"/>
                <a:gd name="connsiteY79" fmla="*/ 1396266 h 1694229"/>
                <a:gd name="connsiteX80" fmla="*/ 1834140 w 1862201"/>
                <a:gd name="connsiteY80" fmla="*/ 1306123 h 1694229"/>
                <a:gd name="connsiteX81" fmla="*/ 1834140 w 1862201"/>
                <a:gd name="connsiteY81" fmla="*/ 1248973 h 1694229"/>
                <a:gd name="connsiteX82" fmla="*/ 1791278 w 1862201"/>
                <a:gd name="connsiteY82" fmla="*/ 1239448 h 1694229"/>
                <a:gd name="connsiteX83" fmla="*/ 1715078 w 1862201"/>
                <a:gd name="connsiteY83" fmla="*/ 1158485 h 1694229"/>
                <a:gd name="connsiteX84" fmla="*/ 1676978 w 1862201"/>
                <a:gd name="connsiteY84" fmla="*/ 977510 h 1694229"/>
                <a:gd name="connsiteX85" fmla="*/ 1624590 w 1862201"/>
                <a:gd name="connsiteY85" fmla="*/ 944173 h 1694229"/>
                <a:gd name="connsiteX86" fmla="*/ 1586490 w 1862201"/>
                <a:gd name="connsiteY86" fmla="*/ 887023 h 1694229"/>
                <a:gd name="connsiteX87" fmla="*/ 1538865 w 1862201"/>
                <a:gd name="connsiteY87" fmla="*/ 839398 h 1694229"/>
                <a:gd name="connsiteX88" fmla="*/ 1486478 w 1862201"/>
                <a:gd name="connsiteY88" fmla="*/ 820348 h 1694229"/>
                <a:gd name="connsiteX89" fmla="*/ 1434090 w 1862201"/>
                <a:gd name="connsiteY89" fmla="*/ 815585 h 1694229"/>
                <a:gd name="connsiteX90" fmla="*/ 1491240 w 1862201"/>
                <a:gd name="connsiteY90" fmla="*/ 782248 h 1694229"/>
                <a:gd name="connsiteX91" fmla="*/ 1457903 w 1862201"/>
                <a:gd name="connsiteY91" fmla="*/ 748910 h 1694229"/>
                <a:gd name="connsiteX92" fmla="*/ 1462665 w 1862201"/>
                <a:gd name="connsiteY92" fmla="*/ 725098 h 1694229"/>
                <a:gd name="connsiteX93" fmla="*/ 1553153 w 1862201"/>
                <a:gd name="connsiteY93" fmla="*/ 763198 h 1694229"/>
                <a:gd name="connsiteX94" fmla="*/ 1605540 w 1862201"/>
                <a:gd name="connsiteY94" fmla="*/ 696523 h 1694229"/>
                <a:gd name="connsiteX95" fmla="*/ 1603337 w 1862201"/>
                <a:gd name="connsiteY95" fmla="*/ 553648 h 1694229"/>
                <a:gd name="connsiteX96" fmla="*/ 1620540 w 1862201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93447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86894 w 1862617"/>
                <a:gd name="connsiteY88" fmla="*/ 82034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553569 w 1862617"/>
                <a:gd name="connsiteY93" fmla="*/ 763198 h 1694229"/>
                <a:gd name="connsiteX94" fmla="*/ 1605956 w 1862617"/>
                <a:gd name="connsiteY94" fmla="*/ 696523 h 1694229"/>
                <a:gd name="connsiteX95" fmla="*/ 1603753 w 1862617"/>
                <a:gd name="connsiteY95" fmla="*/ 553648 h 1694229"/>
                <a:gd name="connsiteX96" fmla="*/ 1620956 w 1862617"/>
                <a:gd name="connsiteY96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53569 w 1862617"/>
                <a:gd name="connsiteY94" fmla="*/ 763198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05956 w 1862617"/>
                <a:gd name="connsiteY95" fmla="*/ 696523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91656 w 1862617"/>
                <a:gd name="connsiteY90" fmla="*/ 782248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34506 w 1862617"/>
                <a:gd name="connsiteY89" fmla="*/ 81558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39281 w 1862617"/>
                <a:gd name="connsiteY87" fmla="*/ 839398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86906 w 1862617"/>
                <a:gd name="connsiteY86" fmla="*/ 887023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5006 w 1862617"/>
                <a:gd name="connsiteY85" fmla="*/ 944173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677394 w 1862617"/>
                <a:gd name="connsiteY84" fmla="*/ 977510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15494 w 1862617"/>
                <a:gd name="connsiteY83" fmla="*/ 1158485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91694 w 1862617"/>
                <a:gd name="connsiteY82" fmla="*/ 1239448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62617"/>
                <a:gd name="connsiteY0" fmla="*/ 405322 h 1694229"/>
                <a:gd name="connsiteX1" fmla="*/ 1548806 w 1862617"/>
                <a:gd name="connsiteY1" fmla="*/ 372673 h 1694229"/>
                <a:gd name="connsiteX2" fmla="*/ 1458557 w 1862617"/>
                <a:gd name="connsiteY2" fmla="*/ 348860 h 1694229"/>
                <a:gd name="connsiteX3" fmla="*/ 1405237 w 1862617"/>
                <a:gd name="connsiteY3" fmla="*/ 271776 h 1694229"/>
                <a:gd name="connsiteX4" fmla="*/ 1382136 w 1862617"/>
                <a:gd name="connsiteY4" fmla="*/ 169931 h 1694229"/>
                <a:gd name="connsiteX5" fmla="*/ 1346239 w 1862617"/>
                <a:gd name="connsiteY5" fmla="*/ 1869 h 1694229"/>
                <a:gd name="connsiteX6" fmla="*/ 1278870 w 1862617"/>
                <a:gd name="connsiteY6" fmla="*/ 43567 h 1694229"/>
                <a:gd name="connsiteX7" fmla="*/ 1273302 w 1862617"/>
                <a:gd name="connsiteY7" fmla="*/ 101090 h 1694229"/>
                <a:gd name="connsiteX8" fmla="*/ 1257397 w 1862617"/>
                <a:gd name="connsiteY8" fmla="*/ 152303 h 1694229"/>
                <a:gd name="connsiteX9" fmla="*/ 1237872 w 1862617"/>
                <a:gd name="connsiteY9" fmla="*/ 204316 h 1694229"/>
                <a:gd name="connsiteX10" fmla="*/ 1236143 w 1862617"/>
                <a:gd name="connsiteY10" fmla="*/ 273739 h 1694229"/>
                <a:gd name="connsiteX11" fmla="*/ 1163162 w 1862617"/>
                <a:gd name="connsiteY11" fmla="*/ 283903 h 1694229"/>
                <a:gd name="connsiteX12" fmla="*/ 1098809 w 1862617"/>
                <a:gd name="connsiteY12" fmla="*/ 285917 h 1694229"/>
                <a:gd name="connsiteX13" fmla="*/ 1051208 w 1862617"/>
                <a:gd name="connsiteY13" fmla="*/ 346183 h 1694229"/>
                <a:gd name="connsiteX14" fmla="*/ 996593 w 1862617"/>
                <a:gd name="connsiteY14" fmla="*/ 371690 h 1694229"/>
                <a:gd name="connsiteX15" fmla="*/ 943969 w 1862617"/>
                <a:gd name="connsiteY15" fmla="*/ 358385 h 1694229"/>
                <a:gd name="connsiteX16" fmla="*/ 837229 w 1862617"/>
                <a:gd name="connsiteY16" fmla="*/ 376257 h 1694229"/>
                <a:gd name="connsiteX17" fmla="*/ 814246 w 1862617"/>
                <a:gd name="connsiteY17" fmla="*/ 440035 h 1694229"/>
                <a:gd name="connsiteX18" fmla="*/ 797163 w 1862617"/>
                <a:gd name="connsiteY18" fmla="*/ 475926 h 1694229"/>
                <a:gd name="connsiteX19" fmla="*/ 715132 w 1862617"/>
                <a:gd name="connsiteY19" fmla="*/ 494632 h 1694229"/>
                <a:gd name="connsiteX20" fmla="*/ 697320 w 1862617"/>
                <a:gd name="connsiteY20" fmla="*/ 440647 h 1694229"/>
                <a:gd name="connsiteX21" fmla="*/ 653456 w 1862617"/>
                <a:gd name="connsiteY21" fmla="*/ 420298 h 1694229"/>
                <a:gd name="connsiteX22" fmla="*/ 518140 w 1862617"/>
                <a:gd name="connsiteY22" fmla="*/ 420641 h 1694229"/>
                <a:gd name="connsiteX23" fmla="*/ 434263 w 1862617"/>
                <a:gd name="connsiteY23" fmla="*/ 447350 h 1694229"/>
                <a:gd name="connsiteX24" fmla="*/ 401044 w 1862617"/>
                <a:gd name="connsiteY24" fmla="*/ 420298 h 1694229"/>
                <a:gd name="connsiteX25" fmla="*/ 381994 w 1862617"/>
                <a:gd name="connsiteY25" fmla="*/ 358385 h 1694229"/>
                <a:gd name="connsiteX26" fmla="*/ 315319 w 1862617"/>
                <a:gd name="connsiteY26" fmla="*/ 305998 h 1694229"/>
                <a:gd name="connsiteX27" fmla="*/ 270134 w 1862617"/>
                <a:gd name="connsiteY27" fmla="*/ 229110 h 1694229"/>
                <a:gd name="connsiteX28" fmla="*/ 146784 w 1862617"/>
                <a:gd name="connsiteY28" fmla="*/ 258373 h 1694229"/>
                <a:gd name="connsiteX29" fmla="*/ 127734 w 1862617"/>
                <a:gd name="connsiteY29" fmla="*/ 344785 h 1694229"/>
                <a:gd name="connsiteX30" fmla="*/ 145174 w 1862617"/>
                <a:gd name="connsiteY30" fmla="*/ 411312 h 1694229"/>
                <a:gd name="connsiteX31" fmla="*/ 117735 w 1862617"/>
                <a:gd name="connsiteY31" fmla="*/ 446172 h 1694229"/>
                <a:gd name="connsiteX32" fmla="*/ 65347 w 1862617"/>
                <a:gd name="connsiteY32" fmla="*/ 474059 h 1694229"/>
                <a:gd name="connsiteX33" fmla="*/ 37246 w 1862617"/>
                <a:gd name="connsiteY33" fmla="*/ 482063 h 1694229"/>
                <a:gd name="connsiteX34" fmla="*/ 15281 w 1862617"/>
                <a:gd name="connsiteY34" fmla="*/ 520310 h 1694229"/>
                <a:gd name="connsiteX35" fmla="*/ 1469 w 1862617"/>
                <a:gd name="connsiteY35" fmla="*/ 632745 h 1694229"/>
                <a:gd name="connsiteX36" fmla="*/ 51178 w 1862617"/>
                <a:gd name="connsiteY36" fmla="*/ 685967 h 1694229"/>
                <a:gd name="connsiteX37" fmla="*/ 108092 w 1862617"/>
                <a:gd name="connsiteY37" fmla="*/ 681547 h 1694229"/>
                <a:gd name="connsiteX38" fmla="*/ 93804 w 1862617"/>
                <a:gd name="connsiteY38" fmla="*/ 751806 h 1694229"/>
                <a:gd name="connsiteX39" fmla="*/ 148631 w 1862617"/>
                <a:gd name="connsiteY39" fmla="*/ 782248 h 1694229"/>
                <a:gd name="connsiteX40" fmla="*/ 217629 w 1862617"/>
                <a:gd name="connsiteY40" fmla="*/ 792460 h 1694229"/>
                <a:gd name="connsiteX41" fmla="*/ 252932 w 1862617"/>
                <a:gd name="connsiteY41" fmla="*/ 848431 h 1694229"/>
                <a:gd name="connsiteX42" fmla="*/ 252339 w 1862617"/>
                <a:gd name="connsiteY42" fmla="*/ 893503 h 1694229"/>
                <a:gd name="connsiteX43" fmla="*/ 276863 w 1862617"/>
                <a:gd name="connsiteY43" fmla="*/ 932978 h 1694229"/>
                <a:gd name="connsiteX44" fmla="*/ 322521 w 1862617"/>
                <a:gd name="connsiteY44" fmla="*/ 971570 h 1694229"/>
                <a:gd name="connsiteX45" fmla="*/ 407654 w 1862617"/>
                <a:gd name="connsiteY45" fmla="*/ 1025822 h 1694229"/>
                <a:gd name="connsiteX46" fmla="*/ 443431 w 1862617"/>
                <a:gd name="connsiteY46" fmla="*/ 1096915 h 1694229"/>
                <a:gd name="connsiteX47" fmla="*/ 422534 w 1862617"/>
                <a:gd name="connsiteY47" fmla="*/ 1166488 h 1694229"/>
                <a:gd name="connsiteX48" fmla="*/ 500581 w 1862617"/>
                <a:gd name="connsiteY48" fmla="*/ 1222951 h 1694229"/>
                <a:gd name="connsiteX49" fmla="*/ 572613 w 1862617"/>
                <a:gd name="connsiteY49" fmla="*/ 1255945 h 1694229"/>
                <a:gd name="connsiteX50" fmla="*/ 553444 w 1862617"/>
                <a:gd name="connsiteY50" fmla="*/ 1315648 h 1694229"/>
                <a:gd name="connsiteX51" fmla="*/ 643931 w 1862617"/>
                <a:gd name="connsiteY51" fmla="*/ 1468048 h 1694229"/>
                <a:gd name="connsiteX52" fmla="*/ 736741 w 1862617"/>
                <a:gd name="connsiteY52" fmla="*/ 1541202 h 1694229"/>
                <a:gd name="connsiteX53" fmla="*/ 786806 w 1862617"/>
                <a:gd name="connsiteY53" fmla="*/ 1491860 h 1694229"/>
                <a:gd name="connsiteX54" fmla="*/ 851396 w 1862617"/>
                <a:gd name="connsiteY54" fmla="*/ 1519257 h 1694229"/>
                <a:gd name="connsiteX55" fmla="*/ 905869 w 1862617"/>
                <a:gd name="connsiteY55" fmla="*/ 1487098 h 1694229"/>
                <a:gd name="connsiteX56" fmla="*/ 922716 w 1862617"/>
                <a:gd name="connsiteY56" fmla="*/ 1444922 h 1694229"/>
                <a:gd name="connsiteX57" fmla="*/ 986593 w 1862617"/>
                <a:gd name="connsiteY57" fmla="*/ 1531334 h 1694229"/>
                <a:gd name="connsiteX58" fmla="*/ 1031660 w 1862617"/>
                <a:gd name="connsiteY58" fmla="*/ 1602428 h 1694229"/>
                <a:gd name="connsiteX59" fmla="*/ 1101606 w 1862617"/>
                <a:gd name="connsiteY59" fmla="*/ 1693947 h 1694229"/>
                <a:gd name="connsiteX60" fmla="*/ 1132504 w 1862617"/>
                <a:gd name="connsiteY60" fmla="*/ 1630856 h 1694229"/>
                <a:gd name="connsiteX61" fmla="*/ 1163163 w 1862617"/>
                <a:gd name="connsiteY61" fmla="*/ 1624376 h 1694229"/>
                <a:gd name="connsiteX62" fmla="*/ 1206262 w 1862617"/>
                <a:gd name="connsiteY62" fmla="*/ 1653639 h 1694229"/>
                <a:gd name="connsiteX63" fmla="*/ 1239837 w 1862617"/>
                <a:gd name="connsiteY63" fmla="*/ 1612985 h 1694229"/>
                <a:gd name="connsiteX64" fmla="*/ 1258658 w 1862617"/>
                <a:gd name="connsiteY64" fmla="*/ 1617602 h 1694229"/>
                <a:gd name="connsiteX65" fmla="*/ 1292700 w 1862617"/>
                <a:gd name="connsiteY65" fmla="*/ 1684079 h 1694229"/>
                <a:gd name="connsiteX66" fmla="*/ 1349256 w 1862617"/>
                <a:gd name="connsiteY66" fmla="*/ 1660610 h 1694229"/>
                <a:gd name="connsiteX67" fmla="*/ 1401288 w 1862617"/>
                <a:gd name="connsiteY67" fmla="*/ 1604489 h 1694229"/>
                <a:gd name="connsiteX68" fmla="*/ 1452065 w 1862617"/>
                <a:gd name="connsiteY68" fmla="*/ 1587946 h 1694229"/>
                <a:gd name="connsiteX69" fmla="*/ 1469744 w 1862617"/>
                <a:gd name="connsiteY69" fmla="*/ 1643768 h 1694229"/>
                <a:gd name="connsiteX70" fmla="*/ 1539639 w 1862617"/>
                <a:gd name="connsiteY70" fmla="*/ 1618090 h 1694229"/>
                <a:gd name="connsiteX71" fmla="*/ 1570417 w 1862617"/>
                <a:gd name="connsiteY71" fmla="*/ 1531334 h 1694229"/>
                <a:gd name="connsiteX72" fmla="*/ 1651853 w 1862617"/>
                <a:gd name="connsiteY72" fmla="*/ 1441192 h 1694229"/>
                <a:gd name="connsiteX73" fmla="*/ 1696444 w 1862617"/>
                <a:gd name="connsiteY73" fmla="*/ 1410062 h 1694229"/>
                <a:gd name="connsiteX74" fmla="*/ 1724813 w 1862617"/>
                <a:gd name="connsiteY74" fmla="*/ 1413357 h 1694229"/>
                <a:gd name="connsiteX75" fmla="*/ 1802405 w 1862617"/>
                <a:gd name="connsiteY75" fmla="*/ 1402749 h 1694229"/>
                <a:gd name="connsiteX76" fmla="*/ 1797524 w 1862617"/>
                <a:gd name="connsiteY76" fmla="*/ 1456313 h 1694229"/>
                <a:gd name="connsiteX77" fmla="*/ 1855691 w 1862617"/>
                <a:gd name="connsiteY77" fmla="*/ 1479634 h 1694229"/>
                <a:gd name="connsiteX78" fmla="*/ 1857299 w 1862617"/>
                <a:gd name="connsiteY78" fmla="*/ 1457000 h 1694229"/>
                <a:gd name="connsiteX79" fmla="*/ 1856521 w 1862617"/>
                <a:gd name="connsiteY79" fmla="*/ 1396266 h 1694229"/>
                <a:gd name="connsiteX80" fmla="*/ 1834556 w 1862617"/>
                <a:gd name="connsiteY80" fmla="*/ 1306123 h 1694229"/>
                <a:gd name="connsiteX81" fmla="*/ 1834556 w 1862617"/>
                <a:gd name="connsiteY81" fmla="*/ 1248973 h 1694229"/>
                <a:gd name="connsiteX82" fmla="*/ 1747763 w 1862617"/>
                <a:gd name="connsiteY82" fmla="*/ 1264979 h 1694229"/>
                <a:gd name="connsiteX83" fmla="*/ 1737459 w 1862617"/>
                <a:gd name="connsiteY83" fmla="*/ 1176356 h 1694229"/>
                <a:gd name="connsiteX84" fmla="*/ 1704241 w 1862617"/>
                <a:gd name="connsiteY84" fmla="*/ 1038783 h 1694229"/>
                <a:gd name="connsiteX85" fmla="*/ 1627446 w 1862617"/>
                <a:gd name="connsiteY85" fmla="*/ 972257 h 1694229"/>
                <a:gd name="connsiteX86" fmla="*/ 1594228 w 1862617"/>
                <a:gd name="connsiteY86" fmla="*/ 917660 h 1694229"/>
                <a:gd name="connsiteX87" fmla="*/ 1544162 w 1862617"/>
                <a:gd name="connsiteY87" fmla="*/ 872587 h 1694229"/>
                <a:gd name="connsiteX88" fmla="*/ 1472251 w 1862617"/>
                <a:gd name="connsiteY88" fmla="*/ 845878 h 1694229"/>
                <a:gd name="connsiteX89" fmla="*/ 1449150 w 1862617"/>
                <a:gd name="connsiteY89" fmla="*/ 823245 h 1694229"/>
                <a:gd name="connsiteX90" fmla="*/ 1477013 w 1862617"/>
                <a:gd name="connsiteY90" fmla="*/ 784801 h 1694229"/>
                <a:gd name="connsiteX91" fmla="*/ 1458319 w 1862617"/>
                <a:gd name="connsiteY91" fmla="*/ 748910 h 1694229"/>
                <a:gd name="connsiteX92" fmla="*/ 1463081 w 1862617"/>
                <a:gd name="connsiteY92" fmla="*/ 725098 h 1694229"/>
                <a:gd name="connsiteX93" fmla="*/ 1488076 w 1862617"/>
                <a:gd name="connsiteY93" fmla="*/ 724035 h 1694229"/>
                <a:gd name="connsiteX94" fmla="*/ 1580416 w 1862617"/>
                <a:gd name="connsiteY94" fmla="*/ 740220 h 1694229"/>
                <a:gd name="connsiteX95" fmla="*/ 1615719 w 1862617"/>
                <a:gd name="connsiteY95" fmla="*/ 683758 h 1694229"/>
                <a:gd name="connsiteX96" fmla="*/ 1603753 w 1862617"/>
                <a:gd name="connsiteY96" fmla="*/ 553648 h 1694229"/>
                <a:gd name="connsiteX97" fmla="*/ 1620956 w 1862617"/>
                <a:gd name="connsiteY97" fmla="*/ 405322 h 1694229"/>
                <a:gd name="connsiteX0" fmla="*/ 1620956 w 1878075"/>
                <a:gd name="connsiteY0" fmla="*/ 405322 h 1694229"/>
                <a:gd name="connsiteX1" fmla="*/ 1548806 w 1878075"/>
                <a:gd name="connsiteY1" fmla="*/ 372673 h 1694229"/>
                <a:gd name="connsiteX2" fmla="*/ 1458557 w 1878075"/>
                <a:gd name="connsiteY2" fmla="*/ 348860 h 1694229"/>
                <a:gd name="connsiteX3" fmla="*/ 1405237 w 1878075"/>
                <a:gd name="connsiteY3" fmla="*/ 271776 h 1694229"/>
                <a:gd name="connsiteX4" fmla="*/ 1382136 w 1878075"/>
                <a:gd name="connsiteY4" fmla="*/ 169931 h 1694229"/>
                <a:gd name="connsiteX5" fmla="*/ 1346239 w 1878075"/>
                <a:gd name="connsiteY5" fmla="*/ 1869 h 1694229"/>
                <a:gd name="connsiteX6" fmla="*/ 1278870 w 1878075"/>
                <a:gd name="connsiteY6" fmla="*/ 43567 h 1694229"/>
                <a:gd name="connsiteX7" fmla="*/ 1273302 w 1878075"/>
                <a:gd name="connsiteY7" fmla="*/ 101090 h 1694229"/>
                <a:gd name="connsiteX8" fmla="*/ 1257397 w 1878075"/>
                <a:gd name="connsiteY8" fmla="*/ 152303 h 1694229"/>
                <a:gd name="connsiteX9" fmla="*/ 1237872 w 1878075"/>
                <a:gd name="connsiteY9" fmla="*/ 204316 h 1694229"/>
                <a:gd name="connsiteX10" fmla="*/ 1236143 w 1878075"/>
                <a:gd name="connsiteY10" fmla="*/ 273739 h 1694229"/>
                <a:gd name="connsiteX11" fmla="*/ 1163162 w 1878075"/>
                <a:gd name="connsiteY11" fmla="*/ 283903 h 1694229"/>
                <a:gd name="connsiteX12" fmla="*/ 1098809 w 1878075"/>
                <a:gd name="connsiteY12" fmla="*/ 285917 h 1694229"/>
                <a:gd name="connsiteX13" fmla="*/ 1051208 w 1878075"/>
                <a:gd name="connsiteY13" fmla="*/ 346183 h 1694229"/>
                <a:gd name="connsiteX14" fmla="*/ 996593 w 1878075"/>
                <a:gd name="connsiteY14" fmla="*/ 371690 h 1694229"/>
                <a:gd name="connsiteX15" fmla="*/ 943969 w 1878075"/>
                <a:gd name="connsiteY15" fmla="*/ 358385 h 1694229"/>
                <a:gd name="connsiteX16" fmla="*/ 837229 w 1878075"/>
                <a:gd name="connsiteY16" fmla="*/ 376257 h 1694229"/>
                <a:gd name="connsiteX17" fmla="*/ 814246 w 1878075"/>
                <a:gd name="connsiteY17" fmla="*/ 440035 h 1694229"/>
                <a:gd name="connsiteX18" fmla="*/ 797163 w 1878075"/>
                <a:gd name="connsiteY18" fmla="*/ 475926 h 1694229"/>
                <a:gd name="connsiteX19" fmla="*/ 715132 w 1878075"/>
                <a:gd name="connsiteY19" fmla="*/ 494632 h 1694229"/>
                <a:gd name="connsiteX20" fmla="*/ 697320 w 1878075"/>
                <a:gd name="connsiteY20" fmla="*/ 440647 h 1694229"/>
                <a:gd name="connsiteX21" fmla="*/ 653456 w 1878075"/>
                <a:gd name="connsiteY21" fmla="*/ 420298 h 1694229"/>
                <a:gd name="connsiteX22" fmla="*/ 518140 w 1878075"/>
                <a:gd name="connsiteY22" fmla="*/ 420641 h 1694229"/>
                <a:gd name="connsiteX23" fmla="*/ 434263 w 1878075"/>
                <a:gd name="connsiteY23" fmla="*/ 447350 h 1694229"/>
                <a:gd name="connsiteX24" fmla="*/ 401044 w 1878075"/>
                <a:gd name="connsiteY24" fmla="*/ 420298 h 1694229"/>
                <a:gd name="connsiteX25" fmla="*/ 381994 w 1878075"/>
                <a:gd name="connsiteY25" fmla="*/ 358385 h 1694229"/>
                <a:gd name="connsiteX26" fmla="*/ 315319 w 1878075"/>
                <a:gd name="connsiteY26" fmla="*/ 305998 h 1694229"/>
                <a:gd name="connsiteX27" fmla="*/ 270134 w 1878075"/>
                <a:gd name="connsiteY27" fmla="*/ 229110 h 1694229"/>
                <a:gd name="connsiteX28" fmla="*/ 146784 w 1878075"/>
                <a:gd name="connsiteY28" fmla="*/ 258373 h 1694229"/>
                <a:gd name="connsiteX29" fmla="*/ 127734 w 1878075"/>
                <a:gd name="connsiteY29" fmla="*/ 344785 h 1694229"/>
                <a:gd name="connsiteX30" fmla="*/ 145174 w 1878075"/>
                <a:gd name="connsiteY30" fmla="*/ 411312 h 1694229"/>
                <a:gd name="connsiteX31" fmla="*/ 117735 w 1878075"/>
                <a:gd name="connsiteY31" fmla="*/ 446172 h 1694229"/>
                <a:gd name="connsiteX32" fmla="*/ 65347 w 1878075"/>
                <a:gd name="connsiteY32" fmla="*/ 474059 h 1694229"/>
                <a:gd name="connsiteX33" fmla="*/ 37246 w 1878075"/>
                <a:gd name="connsiteY33" fmla="*/ 482063 h 1694229"/>
                <a:gd name="connsiteX34" fmla="*/ 15281 w 1878075"/>
                <a:gd name="connsiteY34" fmla="*/ 520310 h 1694229"/>
                <a:gd name="connsiteX35" fmla="*/ 1469 w 1878075"/>
                <a:gd name="connsiteY35" fmla="*/ 632745 h 1694229"/>
                <a:gd name="connsiteX36" fmla="*/ 51178 w 1878075"/>
                <a:gd name="connsiteY36" fmla="*/ 685967 h 1694229"/>
                <a:gd name="connsiteX37" fmla="*/ 108092 w 1878075"/>
                <a:gd name="connsiteY37" fmla="*/ 681547 h 1694229"/>
                <a:gd name="connsiteX38" fmla="*/ 93804 w 1878075"/>
                <a:gd name="connsiteY38" fmla="*/ 751806 h 1694229"/>
                <a:gd name="connsiteX39" fmla="*/ 148631 w 1878075"/>
                <a:gd name="connsiteY39" fmla="*/ 782248 h 1694229"/>
                <a:gd name="connsiteX40" fmla="*/ 217629 w 1878075"/>
                <a:gd name="connsiteY40" fmla="*/ 792460 h 1694229"/>
                <a:gd name="connsiteX41" fmla="*/ 252932 w 1878075"/>
                <a:gd name="connsiteY41" fmla="*/ 848431 h 1694229"/>
                <a:gd name="connsiteX42" fmla="*/ 252339 w 1878075"/>
                <a:gd name="connsiteY42" fmla="*/ 893503 h 1694229"/>
                <a:gd name="connsiteX43" fmla="*/ 276863 w 1878075"/>
                <a:gd name="connsiteY43" fmla="*/ 932978 h 1694229"/>
                <a:gd name="connsiteX44" fmla="*/ 322521 w 1878075"/>
                <a:gd name="connsiteY44" fmla="*/ 971570 h 1694229"/>
                <a:gd name="connsiteX45" fmla="*/ 407654 w 1878075"/>
                <a:gd name="connsiteY45" fmla="*/ 1025822 h 1694229"/>
                <a:gd name="connsiteX46" fmla="*/ 443431 w 1878075"/>
                <a:gd name="connsiteY46" fmla="*/ 1096915 h 1694229"/>
                <a:gd name="connsiteX47" fmla="*/ 422534 w 1878075"/>
                <a:gd name="connsiteY47" fmla="*/ 1166488 h 1694229"/>
                <a:gd name="connsiteX48" fmla="*/ 500581 w 1878075"/>
                <a:gd name="connsiteY48" fmla="*/ 1222951 h 1694229"/>
                <a:gd name="connsiteX49" fmla="*/ 572613 w 1878075"/>
                <a:gd name="connsiteY49" fmla="*/ 1255945 h 1694229"/>
                <a:gd name="connsiteX50" fmla="*/ 553444 w 1878075"/>
                <a:gd name="connsiteY50" fmla="*/ 1315648 h 1694229"/>
                <a:gd name="connsiteX51" fmla="*/ 643931 w 1878075"/>
                <a:gd name="connsiteY51" fmla="*/ 1468048 h 1694229"/>
                <a:gd name="connsiteX52" fmla="*/ 736741 w 1878075"/>
                <a:gd name="connsiteY52" fmla="*/ 1541202 h 1694229"/>
                <a:gd name="connsiteX53" fmla="*/ 786806 w 1878075"/>
                <a:gd name="connsiteY53" fmla="*/ 1491860 h 1694229"/>
                <a:gd name="connsiteX54" fmla="*/ 851396 w 1878075"/>
                <a:gd name="connsiteY54" fmla="*/ 1519257 h 1694229"/>
                <a:gd name="connsiteX55" fmla="*/ 905869 w 1878075"/>
                <a:gd name="connsiteY55" fmla="*/ 1487098 h 1694229"/>
                <a:gd name="connsiteX56" fmla="*/ 922716 w 1878075"/>
                <a:gd name="connsiteY56" fmla="*/ 1444922 h 1694229"/>
                <a:gd name="connsiteX57" fmla="*/ 986593 w 1878075"/>
                <a:gd name="connsiteY57" fmla="*/ 1531334 h 1694229"/>
                <a:gd name="connsiteX58" fmla="*/ 1031660 w 1878075"/>
                <a:gd name="connsiteY58" fmla="*/ 1602428 h 1694229"/>
                <a:gd name="connsiteX59" fmla="*/ 1101606 w 1878075"/>
                <a:gd name="connsiteY59" fmla="*/ 1693947 h 1694229"/>
                <a:gd name="connsiteX60" fmla="*/ 1132504 w 1878075"/>
                <a:gd name="connsiteY60" fmla="*/ 1630856 h 1694229"/>
                <a:gd name="connsiteX61" fmla="*/ 1163163 w 1878075"/>
                <a:gd name="connsiteY61" fmla="*/ 1624376 h 1694229"/>
                <a:gd name="connsiteX62" fmla="*/ 1206262 w 1878075"/>
                <a:gd name="connsiteY62" fmla="*/ 1653639 h 1694229"/>
                <a:gd name="connsiteX63" fmla="*/ 1239837 w 1878075"/>
                <a:gd name="connsiteY63" fmla="*/ 1612985 h 1694229"/>
                <a:gd name="connsiteX64" fmla="*/ 1258658 w 1878075"/>
                <a:gd name="connsiteY64" fmla="*/ 1617602 h 1694229"/>
                <a:gd name="connsiteX65" fmla="*/ 1292700 w 1878075"/>
                <a:gd name="connsiteY65" fmla="*/ 1684079 h 1694229"/>
                <a:gd name="connsiteX66" fmla="*/ 1349256 w 1878075"/>
                <a:gd name="connsiteY66" fmla="*/ 1660610 h 1694229"/>
                <a:gd name="connsiteX67" fmla="*/ 1401288 w 1878075"/>
                <a:gd name="connsiteY67" fmla="*/ 1604489 h 1694229"/>
                <a:gd name="connsiteX68" fmla="*/ 1452065 w 1878075"/>
                <a:gd name="connsiteY68" fmla="*/ 1587946 h 1694229"/>
                <a:gd name="connsiteX69" fmla="*/ 1469744 w 1878075"/>
                <a:gd name="connsiteY69" fmla="*/ 1643768 h 1694229"/>
                <a:gd name="connsiteX70" fmla="*/ 1539639 w 1878075"/>
                <a:gd name="connsiteY70" fmla="*/ 1618090 h 1694229"/>
                <a:gd name="connsiteX71" fmla="*/ 1570417 w 1878075"/>
                <a:gd name="connsiteY71" fmla="*/ 1531334 h 1694229"/>
                <a:gd name="connsiteX72" fmla="*/ 1651853 w 1878075"/>
                <a:gd name="connsiteY72" fmla="*/ 1441192 h 1694229"/>
                <a:gd name="connsiteX73" fmla="*/ 1696444 w 1878075"/>
                <a:gd name="connsiteY73" fmla="*/ 1410062 h 1694229"/>
                <a:gd name="connsiteX74" fmla="*/ 1724813 w 1878075"/>
                <a:gd name="connsiteY74" fmla="*/ 1413357 h 1694229"/>
                <a:gd name="connsiteX75" fmla="*/ 1802405 w 1878075"/>
                <a:gd name="connsiteY75" fmla="*/ 1402749 h 1694229"/>
                <a:gd name="connsiteX76" fmla="*/ 1797524 w 1878075"/>
                <a:gd name="connsiteY76" fmla="*/ 1456313 h 1694229"/>
                <a:gd name="connsiteX77" fmla="*/ 1855691 w 1878075"/>
                <a:gd name="connsiteY77" fmla="*/ 1479634 h 1694229"/>
                <a:gd name="connsiteX78" fmla="*/ 1857299 w 1878075"/>
                <a:gd name="connsiteY78" fmla="*/ 1457000 h 1694229"/>
                <a:gd name="connsiteX79" fmla="*/ 1856521 w 1878075"/>
                <a:gd name="connsiteY79" fmla="*/ 1396266 h 1694229"/>
                <a:gd name="connsiteX80" fmla="*/ 1863843 w 1878075"/>
                <a:gd name="connsiteY80" fmla="*/ 1323993 h 1694229"/>
                <a:gd name="connsiteX81" fmla="*/ 1834556 w 1878075"/>
                <a:gd name="connsiteY81" fmla="*/ 1248973 h 1694229"/>
                <a:gd name="connsiteX82" fmla="*/ 1747763 w 1878075"/>
                <a:gd name="connsiteY82" fmla="*/ 1264979 h 1694229"/>
                <a:gd name="connsiteX83" fmla="*/ 1737459 w 1878075"/>
                <a:gd name="connsiteY83" fmla="*/ 1176356 h 1694229"/>
                <a:gd name="connsiteX84" fmla="*/ 1704241 w 1878075"/>
                <a:gd name="connsiteY84" fmla="*/ 1038783 h 1694229"/>
                <a:gd name="connsiteX85" fmla="*/ 1627446 w 1878075"/>
                <a:gd name="connsiteY85" fmla="*/ 972257 h 1694229"/>
                <a:gd name="connsiteX86" fmla="*/ 1594228 w 1878075"/>
                <a:gd name="connsiteY86" fmla="*/ 917660 h 1694229"/>
                <a:gd name="connsiteX87" fmla="*/ 1544162 w 1878075"/>
                <a:gd name="connsiteY87" fmla="*/ 872587 h 1694229"/>
                <a:gd name="connsiteX88" fmla="*/ 1472251 w 1878075"/>
                <a:gd name="connsiteY88" fmla="*/ 845878 h 1694229"/>
                <a:gd name="connsiteX89" fmla="*/ 1449150 w 1878075"/>
                <a:gd name="connsiteY89" fmla="*/ 823245 h 1694229"/>
                <a:gd name="connsiteX90" fmla="*/ 1477013 w 1878075"/>
                <a:gd name="connsiteY90" fmla="*/ 784801 h 1694229"/>
                <a:gd name="connsiteX91" fmla="*/ 1458319 w 1878075"/>
                <a:gd name="connsiteY91" fmla="*/ 748910 h 1694229"/>
                <a:gd name="connsiteX92" fmla="*/ 1463081 w 1878075"/>
                <a:gd name="connsiteY92" fmla="*/ 725098 h 1694229"/>
                <a:gd name="connsiteX93" fmla="*/ 1488076 w 1878075"/>
                <a:gd name="connsiteY93" fmla="*/ 724035 h 1694229"/>
                <a:gd name="connsiteX94" fmla="*/ 1580416 w 1878075"/>
                <a:gd name="connsiteY94" fmla="*/ 740220 h 1694229"/>
                <a:gd name="connsiteX95" fmla="*/ 1615719 w 1878075"/>
                <a:gd name="connsiteY95" fmla="*/ 683758 h 1694229"/>
                <a:gd name="connsiteX96" fmla="*/ 1603753 w 1878075"/>
                <a:gd name="connsiteY96" fmla="*/ 553648 h 1694229"/>
                <a:gd name="connsiteX97" fmla="*/ 1620956 w 1878075"/>
                <a:gd name="connsiteY97" fmla="*/ 405322 h 1694229"/>
                <a:gd name="connsiteX0" fmla="*/ 1620956 w 1866986"/>
                <a:gd name="connsiteY0" fmla="*/ 405322 h 1694229"/>
                <a:gd name="connsiteX1" fmla="*/ 1548806 w 1866986"/>
                <a:gd name="connsiteY1" fmla="*/ 372673 h 1694229"/>
                <a:gd name="connsiteX2" fmla="*/ 1458557 w 1866986"/>
                <a:gd name="connsiteY2" fmla="*/ 348860 h 1694229"/>
                <a:gd name="connsiteX3" fmla="*/ 1405237 w 1866986"/>
                <a:gd name="connsiteY3" fmla="*/ 271776 h 1694229"/>
                <a:gd name="connsiteX4" fmla="*/ 1382136 w 1866986"/>
                <a:gd name="connsiteY4" fmla="*/ 169931 h 1694229"/>
                <a:gd name="connsiteX5" fmla="*/ 1346239 w 1866986"/>
                <a:gd name="connsiteY5" fmla="*/ 1869 h 1694229"/>
                <a:gd name="connsiteX6" fmla="*/ 1278870 w 1866986"/>
                <a:gd name="connsiteY6" fmla="*/ 43567 h 1694229"/>
                <a:gd name="connsiteX7" fmla="*/ 1273302 w 1866986"/>
                <a:gd name="connsiteY7" fmla="*/ 101090 h 1694229"/>
                <a:gd name="connsiteX8" fmla="*/ 1257397 w 1866986"/>
                <a:gd name="connsiteY8" fmla="*/ 152303 h 1694229"/>
                <a:gd name="connsiteX9" fmla="*/ 1237872 w 1866986"/>
                <a:gd name="connsiteY9" fmla="*/ 204316 h 1694229"/>
                <a:gd name="connsiteX10" fmla="*/ 1236143 w 1866986"/>
                <a:gd name="connsiteY10" fmla="*/ 273739 h 1694229"/>
                <a:gd name="connsiteX11" fmla="*/ 1163162 w 1866986"/>
                <a:gd name="connsiteY11" fmla="*/ 283903 h 1694229"/>
                <a:gd name="connsiteX12" fmla="*/ 1098809 w 1866986"/>
                <a:gd name="connsiteY12" fmla="*/ 285917 h 1694229"/>
                <a:gd name="connsiteX13" fmla="*/ 1051208 w 1866986"/>
                <a:gd name="connsiteY13" fmla="*/ 346183 h 1694229"/>
                <a:gd name="connsiteX14" fmla="*/ 996593 w 1866986"/>
                <a:gd name="connsiteY14" fmla="*/ 371690 h 1694229"/>
                <a:gd name="connsiteX15" fmla="*/ 943969 w 1866986"/>
                <a:gd name="connsiteY15" fmla="*/ 358385 h 1694229"/>
                <a:gd name="connsiteX16" fmla="*/ 837229 w 1866986"/>
                <a:gd name="connsiteY16" fmla="*/ 376257 h 1694229"/>
                <a:gd name="connsiteX17" fmla="*/ 814246 w 1866986"/>
                <a:gd name="connsiteY17" fmla="*/ 440035 h 1694229"/>
                <a:gd name="connsiteX18" fmla="*/ 797163 w 1866986"/>
                <a:gd name="connsiteY18" fmla="*/ 475926 h 1694229"/>
                <a:gd name="connsiteX19" fmla="*/ 715132 w 1866986"/>
                <a:gd name="connsiteY19" fmla="*/ 494632 h 1694229"/>
                <a:gd name="connsiteX20" fmla="*/ 697320 w 1866986"/>
                <a:gd name="connsiteY20" fmla="*/ 440647 h 1694229"/>
                <a:gd name="connsiteX21" fmla="*/ 653456 w 1866986"/>
                <a:gd name="connsiteY21" fmla="*/ 420298 h 1694229"/>
                <a:gd name="connsiteX22" fmla="*/ 518140 w 1866986"/>
                <a:gd name="connsiteY22" fmla="*/ 420641 h 1694229"/>
                <a:gd name="connsiteX23" fmla="*/ 434263 w 1866986"/>
                <a:gd name="connsiteY23" fmla="*/ 447350 h 1694229"/>
                <a:gd name="connsiteX24" fmla="*/ 401044 w 1866986"/>
                <a:gd name="connsiteY24" fmla="*/ 420298 h 1694229"/>
                <a:gd name="connsiteX25" fmla="*/ 381994 w 1866986"/>
                <a:gd name="connsiteY25" fmla="*/ 358385 h 1694229"/>
                <a:gd name="connsiteX26" fmla="*/ 315319 w 1866986"/>
                <a:gd name="connsiteY26" fmla="*/ 305998 h 1694229"/>
                <a:gd name="connsiteX27" fmla="*/ 270134 w 1866986"/>
                <a:gd name="connsiteY27" fmla="*/ 229110 h 1694229"/>
                <a:gd name="connsiteX28" fmla="*/ 146784 w 1866986"/>
                <a:gd name="connsiteY28" fmla="*/ 258373 h 1694229"/>
                <a:gd name="connsiteX29" fmla="*/ 127734 w 1866986"/>
                <a:gd name="connsiteY29" fmla="*/ 344785 h 1694229"/>
                <a:gd name="connsiteX30" fmla="*/ 145174 w 1866986"/>
                <a:gd name="connsiteY30" fmla="*/ 411312 h 1694229"/>
                <a:gd name="connsiteX31" fmla="*/ 117735 w 1866986"/>
                <a:gd name="connsiteY31" fmla="*/ 446172 h 1694229"/>
                <a:gd name="connsiteX32" fmla="*/ 65347 w 1866986"/>
                <a:gd name="connsiteY32" fmla="*/ 474059 h 1694229"/>
                <a:gd name="connsiteX33" fmla="*/ 37246 w 1866986"/>
                <a:gd name="connsiteY33" fmla="*/ 482063 h 1694229"/>
                <a:gd name="connsiteX34" fmla="*/ 15281 w 1866986"/>
                <a:gd name="connsiteY34" fmla="*/ 520310 h 1694229"/>
                <a:gd name="connsiteX35" fmla="*/ 1469 w 1866986"/>
                <a:gd name="connsiteY35" fmla="*/ 632745 h 1694229"/>
                <a:gd name="connsiteX36" fmla="*/ 51178 w 1866986"/>
                <a:gd name="connsiteY36" fmla="*/ 685967 h 1694229"/>
                <a:gd name="connsiteX37" fmla="*/ 108092 w 1866986"/>
                <a:gd name="connsiteY37" fmla="*/ 681547 h 1694229"/>
                <a:gd name="connsiteX38" fmla="*/ 93804 w 1866986"/>
                <a:gd name="connsiteY38" fmla="*/ 751806 h 1694229"/>
                <a:gd name="connsiteX39" fmla="*/ 148631 w 1866986"/>
                <a:gd name="connsiteY39" fmla="*/ 782248 h 1694229"/>
                <a:gd name="connsiteX40" fmla="*/ 217629 w 1866986"/>
                <a:gd name="connsiteY40" fmla="*/ 792460 h 1694229"/>
                <a:gd name="connsiteX41" fmla="*/ 252932 w 1866986"/>
                <a:gd name="connsiteY41" fmla="*/ 848431 h 1694229"/>
                <a:gd name="connsiteX42" fmla="*/ 252339 w 1866986"/>
                <a:gd name="connsiteY42" fmla="*/ 893503 h 1694229"/>
                <a:gd name="connsiteX43" fmla="*/ 276863 w 1866986"/>
                <a:gd name="connsiteY43" fmla="*/ 932978 h 1694229"/>
                <a:gd name="connsiteX44" fmla="*/ 322521 w 1866986"/>
                <a:gd name="connsiteY44" fmla="*/ 971570 h 1694229"/>
                <a:gd name="connsiteX45" fmla="*/ 407654 w 1866986"/>
                <a:gd name="connsiteY45" fmla="*/ 1025822 h 1694229"/>
                <a:gd name="connsiteX46" fmla="*/ 443431 w 1866986"/>
                <a:gd name="connsiteY46" fmla="*/ 1096915 h 1694229"/>
                <a:gd name="connsiteX47" fmla="*/ 422534 w 1866986"/>
                <a:gd name="connsiteY47" fmla="*/ 1166488 h 1694229"/>
                <a:gd name="connsiteX48" fmla="*/ 500581 w 1866986"/>
                <a:gd name="connsiteY48" fmla="*/ 1222951 h 1694229"/>
                <a:gd name="connsiteX49" fmla="*/ 572613 w 1866986"/>
                <a:gd name="connsiteY49" fmla="*/ 1255945 h 1694229"/>
                <a:gd name="connsiteX50" fmla="*/ 553444 w 1866986"/>
                <a:gd name="connsiteY50" fmla="*/ 1315648 h 1694229"/>
                <a:gd name="connsiteX51" fmla="*/ 643931 w 1866986"/>
                <a:gd name="connsiteY51" fmla="*/ 1468048 h 1694229"/>
                <a:gd name="connsiteX52" fmla="*/ 736741 w 1866986"/>
                <a:gd name="connsiteY52" fmla="*/ 1541202 h 1694229"/>
                <a:gd name="connsiteX53" fmla="*/ 786806 w 1866986"/>
                <a:gd name="connsiteY53" fmla="*/ 1491860 h 1694229"/>
                <a:gd name="connsiteX54" fmla="*/ 851396 w 1866986"/>
                <a:gd name="connsiteY54" fmla="*/ 1519257 h 1694229"/>
                <a:gd name="connsiteX55" fmla="*/ 905869 w 1866986"/>
                <a:gd name="connsiteY55" fmla="*/ 1487098 h 1694229"/>
                <a:gd name="connsiteX56" fmla="*/ 922716 w 1866986"/>
                <a:gd name="connsiteY56" fmla="*/ 1444922 h 1694229"/>
                <a:gd name="connsiteX57" fmla="*/ 986593 w 1866986"/>
                <a:gd name="connsiteY57" fmla="*/ 1531334 h 1694229"/>
                <a:gd name="connsiteX58" fmla="*/ 1031660 w 1866986"/>
                <a:gd name="connsiteY58" fmla="*/ 1602428 h 1694229"/>
                <a:gd name="connsiteX59" fmla="*/ 1101606 w 1866986"/>
                <a:gd name="connsiteY59" fmla="*/ 1693947 h 1694229"/>
                <a:gd name="connsiteX60" fmla="*/ 1132504 w 1866986"/>
                <a:gd name="connsiteY60" fmla="*/ 1630856 h 1694229"/>
                <a:gd name="connsiteX61" fmla="*/ 1163163 w 1866986"/>
                <a:gd name="connsiteY61" fmla="*/ 1624376 h 1694229"/>
                <a:gd name="connsiteX62" fmla="*/ 1206262 w 1866986"/>
                <a:gd name="connsiteY62" fmla="*/ 1653639 h 1694229"/>
                <a:gd name="connsiteX63" fmla="*/ 1239837 w 1866986"/>
                <a:gd name="connsiteY63" fmla="*/ 1612985 h 1694229"/>
                <a:gd name="connsiteX64" fmla="*/ 1258658 w 1866986"/>
                <a:gd name="connsiteY64" fmla="*/ 1617602 h 1694229"/>
                <a:gd name="connsiteX65" fmla="*/ 1292700 w 1866986"/>
                <a:gd name="connsiteY65" fmla="*/ 1684079 h 1694229"/>
                <a:gd name="connsiteX66" fmla="*/ 1349256 w 1866986"/>
                <a:gd name="connsiteY66" fmla="*/ 1660610 h 1694229"/>
                <a:gd name="connsiteX67" fmla="*/ 1401288 w 1866986"/>
                <a:gd name="connsiteY67" fmla="*/ 1604489 h 1694229"/>
                <a:gd name="connsiteX68" fmla="*/ 1452065 w 1866986"/>
                <a:gd name="connsiteY68" fmla="*/ 1587946 h 1694229"/>
                <a:gd name="connsiteX69" fmla="*/ 1469744 w 1866986"/>
                <a:gd name="connsiteY69" fmla="*/ 1643768 h 1694229"/>
                <a:gd name="connsiteX70" fmla="*/ 1539639 w 1866986"/>
                <a:gd name="connsiteY70" fmla="*/ 1618090 h 1694229"/>
                <a:gd name="connsiteX71" fmla="*/ 1570417 w 1866986"/>
                <a:gd name="connsiteY71" fmla="*/ 1531334 h 1694229"/>
                <a:gd name="connsiteX72" fmla="*/ 1651853 w 1866986"/>
                <a:gd name="connsiteY72" fmla="*/ 1441192 h 1694229"/>
                <a:gd name="connsiteX73" fmla="*/ 1696444 w 1866986"/>
                <a:gd name="connsiteY73" fmla="*/ 1410062 h 1694229"/>
                <a:gd name="connsiteX74" fmla="*/ 1724813 w 1866986"/>
                <a:gd name="connsiteY74" fmla="*/ 1413357 h 1694229"/>
                <a:gd name="connsiteX75" fmla="*/ 1802405 w 1866986"/>
                <a:gd name="connsiteY75" fmla="*/ 1402749 h 1694229"/>
                <a:gd name="connsiteX76" fmla="*/ 1797524 w 1866986"/>
                <a:gd name="connsiteY76" fmla="*/ 1456313 h 1694229"/>
                <a:gd name="connsiteX77" fmla="*/ 1855691 w 1866986"/>
                <a:gd name="connsiteY77" fmla="*/ 1479634 h 1694229"/>
                <a:gd name="connsiteX78" fmla="*/ 1857299 w 1866986"/>
                <a:gd name="connsiteY78" fmla="*/ 1457000 h 1694229"/>
                <a:gd name="connsiteX79" fmla="*/ 1856521 w 1866986"/>
                <a:gd name="connsiteY79" fmla="*/ 1396266 h 1694229"/>
                <a:gd name="connsiteX80" fmla="*/ 1863843 w 1866986"/>
                <a:gd name="connsiteY80" fmla="*/ 1323993 h 1694229"/>
                <a:gd name="connsiteX81" fmla="*/ 1797946 w 1866986"/>
                <a:gd name="connsiteY81" fmla="*/ 1305140 h 1694229"/>
                <a:gd name="connsiteX82" fmla="*/ 1747763 w 1866986"/>
                <a:gd name="connsiteY82" fmla="*/ 1264979 h 1694229"/>
                <a:gd name="connsiteX83" fmla="*/ 1737459 w 1866986"/>
                <a:gd name="connsiteY83" fmla="*/ 1176356 h 1694229"/>
                <a:gd name="connsiteX84" fmla="*/ 1704241 w 1866986"/>
                <a:gd name="connsiteY84" fmla="*/ 1038783 h 1694229"/>
                <a:gd name="connsiteX85" fmla="*/ 1627446 w 1866986"/>
                <a:gd name="connsiteY85" fmla="*/ 972257 h 1694229"/>
                <a:gd name="connsiteX86" fmla="*/ 1594228 w 1866986"/>
                <a:gd name="connsiteY86" fmla="*/ 917660 h 1694229"/>
                <a:gd name="connsiteX87" fmla="*/ 1544162 w 1866986"/>
                <a:gd name="connsiteY87" fmla="*/ 872587 h 1694229"/>
                <a:gd name="connsiteX88" fmla="*/ 1472251 w 1866986"/>
                <a:gd name="connsiteY88" fmla="*/ 845878 h 1694229"/>
                <a:gd name="connsiteX89" fmla="*/ 1449150 w 1866986"/>
                <a:gd name="connsiteY89" fmla="*/ 823245 h 1694229"/>
                <a:gd name="connsiteX90" fmla="*/ 1477013 w 1866986"/>
                <a:gd name="connsiteY90" fmla="*/ 784801 h 1694229"/>
                <a:gd name="connsiteX91" fmla="*/ 1458319 w 1866986"/>
                <a:gd name="connsiteY91" fmla="*/ 748910 h 1694229"/>
                <a:gd name="connsiteX92" fmla="*/ 1463081 w 1866986"/>
                <a:gd name="connsiteY92" fmla="*/ 725098 h 1694229"/>
                <a:gd name="connsiteX93" fmla="*/ 1488076 w 1866986"/>
                <a:gd name="connsiteY93" fmla="*/ 724035 h 1694229"/>
                <a:gd name="connsiteX94" fmla="*/ 1580416 w 1866986"/>
                <a:gd name="connsiteY94" fmla="*/ 740220 h 1694229"/>
                <a:gd name="connsiteX95" fmla="*/ 1615719 w 1866986"/>
                <a:gd name="connsiteY95" fmla="*/ 683758 h 1694229"/>
                <a:gd name="connsiteX96" fmla="*/ 1603753 w 1866986"/>
                <a:gd name="connsiteY96" fmla="*/ 553648 h 1694229"/>
                <a:gd name="connsiteX97" fmla="*/ 1620956 w 1866986"/>
                <a:gd name="connsiteY97" fmla="*/ 405322 h 1694229"/>
                <a:gd name="connsiteX0" fmla="*/ 1620956 w 1880530"/>
                <a:gd name="connsiteY0" fmla="*/ 405322 h 1694229"/>
                <a:gd name="connsiteX1" fmla="*/ 1548806 w 1880530"/>
                <a:gd name="connsiteY1" fmla="*/ 372673 h 1694229"/>
                <a:gd name="connsiteX2" fmla="*/ 1458557 w 1880530"/>
                <a:gd name="connsiteY2" fmla="*/ 348860 h 1694229"/>
                <a:gd name="connsiteX3" fmla="*/ 1405237 w 1880530"/>
                <a:gd name="connsiteY3" fmla="*/ 271776 h 1694229"/>
                <a:gd name="connsiteX4" fmla="*/ 1382136 w 1880530"/>
                <a:gd name="connsiteY4" fmla="*/ 169931 h 1694229"/>
                <a:gd name="connsiteX5" fmla="*/ 1346239 w 1880530"/>
                <a:gd name="connsiteY5" fmla="*/ 1869 h 1694229"/>
                <a:gd name="connsiteX6" fmla="*/ 1278870 w 1880530"/>
                <a:gd name="connsiteY6" fmla="*/ 43567 h 1694229"/>
                <a:gd name="connsiteX7" fmla="*/ 1273302 w 1880530"/>
                <a:gd name="connsiteY7" fmla="*/ 101090 h 1694229"/>
                <a:gd name="connsiteX8" fmla="*/ 1257397 w 1880530"/>
                <a:gd name="connsiteY8" fmla="*/ 152303 h 1694229"/>
                <a:gd name="connsiteX9" fmla="*/ 1237872 w 1880530"/>
                <a:gd name="connsiteY9" fmla="*/ 204316 h 1694229"/>
                <a:gd name="connsiteX10" fmla="*/ 1236143 w 1880530"/>
                <a:gd name="connsiteY10" fmla="*/ 273739 h 1694229"/>
                <a:gd name="connsiteX11" fmla="*/ 1163162 w 1880530"/>
                <a:gd name="connsiteY11" fmla="*/ 283903 h 1694229"/>
                <a:gd name="connsiteX12" fmla="*/ 1098809 w 1880530"/>
                <a:gd name="connsiteY12" fmla="*/ 285917 h 1694229"/>
                <a:gd name="connsiteX13" fmla="*/ 1051208 w 1880530"/>
                <a:gd name="connsiteY13" fmla="*/ 346183 h 1694229"/>
                <a:gd name="connsiteX14" fmla="*/ 996593 w 1880530"/>
                <a:gd name="connsiteY14" fmla="*/ 371690 h 1694229"/>
                <a:gd name="connsiteX15" fmla="*/ 943969 w 1880530"/>
                <a:gd name="connsiteY15" fmla="*/ 358385 h 1694229"/>
                <a:gd name="connsiteX16" fmla="*/ 837229 w 1880530"/>
                <a:gd name="connsiteY16" fmla="*/ 376257 h 1694229"/>
                <a:gd name="connsiteX17" fmla="*/ 814246 w 1880530"/>
                <a:gd name="connsiteY17" fmla="*/ 440035 h 1694229"/>
                <a:gd name="connsiteX18" fmla="*/ 797163 w 1880530"/>
                <a:gd name="connsiteY18" fmla="*/ 475926 h 1694229"/>
                <a:gd name="connsiteX19" fmla="*/ 715132 w 1880530"/>
                <a:gd name="connsiteY19" fmla="*/ 494632 h 1694229"/>
                <a:gd name="connsiteX20" fmla="*/ 697320 w 1880530"/>
                <a:gd name="connsiteY20" fmla="*/ 440647 h 1694229"/>
                <a:gd name="connsiteX21" fmla="*/ 653456 w 1880530"/>
                <a:gd name="connsiteY21" fmla="*/ 420298 h 1694229"/>
                <a:gd name="connsiteX22" fmla="*/ 518140 w 1880530"/>
                <a:gd name="connsiteY22" fmla="*/ 420641 h 1694229"/>
                <a:gd name="connsiteX23" fmla="*/ 434263 w 1880530"/>
                <a:gd name="connsiteY23" fmla="*/ 447350 h 1694229"/>
                <a:gd name="connsiteX24" fmla="*/ 401044 w 1880530"/>
                <a:gd name="connsiteY24" fmla="*/ 420298 h 1694229"/>
                <a:gd name="connsiteX25" fmla="*/ 381994 w 1880530"/>
                <a:gd name="connsiteY25" fmla="*/ 358385 h 1694229"/>
                <a:gd name="connsiteX26" fmla="*/ 315319 w 1880530"/>
                <a:gd name="connsiteY26" fmla="*/ 305998 h 1694229"/>
                <a:gd name="connsiteX27" fmla="*/ 270134 w 1880530"/>
                <a:gd name="connsiteY27" fmla="*/ 229110 h 1694229"/>
                <a:gd name="connsiteX28" fmla="*/ 146784 w 1880530"/>
                <a:gd name="connsiteY28" fmla="*/ 258373 h 1694229"/>
                <a:gd name="connsiteX29" fmla="*/ 127734 w 1880530"/>
                <a:gd name="connsiteY29" fmla="*/ 344785 h 1694229"/>
                <a:gd name="connsiteX30" fmla="*/ 145174 w 1880530"/>
                <a:gd name="connsiteY30" fmla="*/ 411312 h 1694229"/>
                <a:gd name="connsiteX31" fmla="*/ 117735 w 1880530"/>
                <a:gd name="connsiteY31" fmla="*/ 446172 h 1694229"/>
                <a:gd name="connsiteX32" fmla="*/ 65347 w 1880530"/>
                <a:gd name="connsiteY32" fmla="*/ 474059 h 1694229"/>
                <a:gd name="connsiteX33" fmla="*/ 37246 w 1880530"/>
                <a:gd name="connsiteY33" fmla="*/ 482063 h 1694229"/>
                <a:gd name="connsiteX34" fmla="*/ 15281 w 1880530"/>
                <a:gd name="connsiteY34" fmla="*/ 520310 h 1694229"/>
                <a:gd name="connsiteX35" fmla="*/ 1469 w 1880530"/>
                <a:gd name="connsiteY35" fmla="*/ 632745 h 1694229"/>
                <a:gd name="connsiteX36" fmla="*/ 51178 w 1880530"/>
                <a:gd name="connsiteY36" fmla="*/ 685967 h 1694229"/>
                <a:gd name="connsiteX37" fmla="*/ 108092 w 1880530"/>
                <a:gd name="connsiteY37" fmla="*/ 681547 h 1694229"/>
                <a:gd name="connsiteX38" fmla="*/ 93804 w 1880530"/>
                <a:gd name="connsiteY38" fmla="*/ 751806 h 1694229"/>
                <a:gd name="connsiteX39" fmla="*/ 148631 w 1880530"/>
                <a:gd name="connsiteY39" fmla="*/ 782248 h 1694229"/>
                <a:gd name="connsiteX40" fmla="*/ 217629 w 1880530"/>
                <a:gd name="connsiteY40" fmla="*/ 792460 h 1694229"/>
                <a:gd name="connsiteX41" fmla="*/ 252932 w 1880530"/>
                <a:gd name="connsiteY41" fmla="*/ 848431 h 1694229"/>
                <a:gd name="connsiteX42" fmla="*/ 252339 w 1880530"/>
                <a:gd name="connsiteY42" fmla="*/ 893503 h 1694229"/>
                <a:gd name="connsiteX43" fmla="*/ 276863 w 1880530"/>
                <a:gd name="connsiteY43" fmla="*/ 932978 h 1694229"/>
                <a:gd name="connsiteX44" fmla="*/ 322521 w 1880530"/>
                <a:gd name="connsiteY44" fmla="*/ 971570 h 1694229"/>
                <a:gd name="connsiteX45" fmla="*/ 407654 w 1880530"/>
                <a:gd name="connsiteY45" fmla="*/ 1025822 h 1694229"/>
                <a:gd name="connsiteX46" fmla="*/ 443431 w 1880530"/>
                <a:gd name="connsiteY46" fmla="*/ 1096915 h 1694229"/>
                <a:gd name="connsiteX47" fmla="*/ 422534 w 1880530"/>
                <a:gd name="connsiteY47" fmla="*/ 1166488 h 1694229"/>
                <a:gd name="connsiteX48" fmla="*/ 500581 w 1880530"/>
                <a:gd name="connsiteY48" fmla="*/ 1222951 h 1694229"/>
                <a:gd name="connsiteX49" fmla="*/ 572613 w 1880530"/>
                <a:gd name="connsiteY49" fmla="*/ 1255945 h 1694229"/>
                <a:gd name="connsiteX50" fmla="*/ 553444 w 1880530"/>
                <a:gd name="connsiteY50" fmla="*/ 1315648 h 1694229"/>
                <a:gd name="connsiteX51" fmla="*/ 643931 w 1880530"/>
                <a:gd name="connsiteY51" fmla="*/ 1468048 h 1694229"/>
                <a:gd name="connsiteX52" fmla="*/ 736741 w 1880530"/>
                <a:gd name="connsiteY52" fmla="*/ 1541202 h 1694229"/>
                <a:gd name="connsiteX53" fmla="*/ 786806 w 1880530"/>
                <a:gd name="connsiteY53" fmla="*/ 1491860 h 1694229"/>
                <a:gd name="connsiteX54" fmla="*/ 851396 w 1880530"/>
                <a:gd name="connsiteY54" fmla="*/ 1519257 h 1694229"/>
                <a:gd name="connsiteX55" fmla="*/ 905869 w 1880530"/>
                <a:gd name="connsiteY55" fmla="*/ 1487098 h 1694229"/>
                <a:gd name="connsiteX56" fmla="*/ 922716 w 1880530"/>
                <a:gd name="connsiteY56" fmla="*/ 1444922 h 1694229"/>
                <a:gd name="connsiteX57" fmla="*/ 986593 w 1880530"/>
                <a:gd name="connsiteY57" fmla="*/ 1531334 h 1694229"/>
                <a:gd name="connsiteX58" fmla="*/ 1031660 w 1880530"/>
                <a:gd name="connsiteY58" fmla="*/ 1602428 h 1694229"/>
                <a:gd name="connsiteX59" fmla="*/ 1101606 w 1880530"/>
                <a:gd name="connsiteY59" fmla="*/ 1693947 h 1694229"/>
                <a:gd name="connsiteX60" fmla="*/ 1132504 w 1880530"/>
                <a:gd name="connsiteY60" fmla="*/ 1630856 h 1694229"/>
                <a:gd name="connsiteX61" fmla="*/ 1163163 w 1880530"/>
                <a:gd name="connsiteY61" fmla="*/ 1624376 h 1694229"/>
                <a:gd name="connsiteX62" fmla="*/ 1206262 w 1880530"/>
                <a:gd name="connsiteY62" fmla="*/ 1653639 h 1694229"/>
                <a:gd name="connsiteX63" fmla="*/ 1239837 w 1880530"/>
                <a:gd name="connsiteY63" fmla="*/ 1612985 h 1694229"/>
                <a:gd name="connsiteX64" fmla="*/ 1258658 w 1880530"/>
                <a:gd name="connsiteY64" fmla="*/ 1617602 h 1694229"/>
                <a:gd name="connsiteX65" fmla="*/ 1292700 w 1880530"/>
                <a:gd name="connsiteY65" fmla="*/ 1684079 h 1694229"/>
                <a:gd name="connsiteX66" fmla="*/ 1349256 w 1880530"/>
                <a:gd name="connsiteY66" fmla="*/ 1660610 h 1694229"/>
                <a:gd name="connsiteX67" fmla="*/ 1401288 w 1880530"/>
                <a:gd name="connsiteY67" fmla="*/ 1604489 h 1694229"/>
                <a:gd name="connsiteX68" fmla="*/ 1452065 w 1880530"/>
                <a:gd name="connsiteY68" fmla="*/ 1587946 h 1694229"/>
                <a:gd name="connsiteX69" fmla="*/ 1469744 w 1880530"/>
                <a:gd name="connsiteY69" fmla="*/ 1643768 h 1694229"/>
                <a:gd name="connsiteX70" fmla="*/ 1539639 w 1880530"/>
                <a:gd name="connsiteY70" fmla="*/ 1618090 h 1694229"/>
                <a:gd name="connsiteX71" fmla="*/ 1570417 w 1880530"/>
                <a:gd name="connsiteY71" fmla="*/ 1531334 h 1694229"/>
                <a:gd name="connsiteX72" fmla="*/ 1651853 w 1880530"/>
                <a:gd name="connsiteY72" fmla="*/ 1441192 h 1694229"/>
                <a:gd name="connsiteX73" fmla="*/ 1696444 w 1880530"/>
                <a:gd name="connsiteY73" fmla="*/ 1410062 h 1694229"/>
                <a:gd name="connsiteX74" fmla="*/ 1724813 w 1880530"/>
                <a:gd name="connsiteY74" fmla="*/ 1413357 h 1694229"/>
                <a:gd name="connsiteX75" fmla="*/ 1802405 w 1880530"/>
                <a:gd name="connsiteY75" fmla="*/ 1402749 h 1694229"/>
                <a:gd name="connsiteX76" fmla="*/ 1797524 w 1880530"/>
                <a:gd name="connsiteY76" fmla="*/ 1456313 h 1694229"/>
                <a:gd name="connsiteX77" fmla="*/ 1855691 w 1880530"/>
                <a:gd name="connsiteY77" fmla="*/ 1479634 h 1694229"/>
                <a:gd name="connsiteX78" fmla="*/ 1857299 w 1880530"/>
                <a:gd name="connsiteY78" fmla="*/ 1457000 h 1694229"/>
                <a:gd name="connsiteX79" fmla="*/ 1856521 w 1880530"/>
                <a:gd name="connsiteY79" fmla="*/ 1396266 h 1694229"/>
                <a:gd name="connsiteX80" fmla="*/ 1878487 w 1880530"/>
                <a:gd name="connsiteY80" fmla="*/ 1326546 h 1694229"/>
                <a:gd name="connsiteX81" fmla="*/ 1797946 w 1880530"/>
                <a:gd name="connsiteY81" fmla="*/ 1305140 h 1694229"/>
                <a:gd name="connsiteX82" fmla="*/ 1747763 w 1880530"/>
                <a:gd name="connsiteY82" fmla="*/ 1264979 h 1694229"/>
                <a:gd name="connsiteX83" fmla="*/ 1737459 w 1880530"/>
                <a:gd name="connsiteY83" fmla="*/ 1176356 h 1694229"/>
                <a:gd name="connsiteX84" fmla="*/ 1704241 w 1880530"/>
                <a:gd name="connsiteY84" fmla="*/ 1038783 h 1694229"/>
                <a:gd name="connsiteX85" fmla="*/ 1627446 w 1880530"/>
                <a:gd name="connsiteY85" fmla="*/ 972257 h 1694229"/>
                <a:gd name="connsiteX86" fmla="*/ 1594228 w 1880530"/>
                <a:gd name="connsiteY86" fmla="*/ 917660 h 1694229"/>
                <a:gd name="connsiteX87" fmla="*/ 1544162 w 1880530"/>
                <a:gd name="connsiteY87" fmla="*/ 872587 h 1694229"/>
                <a:gd name="connsiteX88" fmla="*/ 1472251 w 1880530"/>
                <a:gd name="connsiteY88" fmla="*/ 845878 h 1694229"/>
                <a:gd name="connsiteX89" fmla="*/ 1449150 w 1880530"/>
                <a:gd name="connsiteY89" fmla="*/ 823245 h 1694229"/>
                <a:gd name="connsiteX90" fmla="*/ 1477013 w 1880530"/>
                <a:gd name="connsiteY90" fmla="*/ 784801 h 1694229"/>
                <a:gd name="connsiteX91" fmla="*/ 1458319 w 1880530"/>
                <a:gd name="connsiteY91" fmla="*/ 748910 h 1694229"/>
                <a:gd name="connsiteX92" fmla="*/ 1463081 w 1880530"/>
                <a:gd name="connsiteY92" fmla="*/ 725098 h 1694229"/>
                <a:gd name="connsiteX93" fmla="*/ 1488076 w 1880530"/>
                <a:gd name="connsiteY93" fmla="*/ 724035 h 1694229"/>
                <a:gd name="connsiteX94" fmla="*/ 1580416 w 1880530"/>
                <a:gd name="connsiteY94" fmla="*/ 740220 h 1694229"/>
                <a:gd name="connsiteX95" fmla="*/ 1615719 w 1880530"/>
                <a:gd name="connsiteY95" fmla="*/ 683758 h 1694229"/>
                <a:gd name="connsiteX96" fmla="*/ 1603753 w 1880530"/>
                <a:gd name="connsiteY96" fmla="*/ 553648 h 1694229"/>
                <a:gd name="connsiteX97" fmla="*/ 1620956 w 1880530"/>
                <a:gd name="connsiteY97" fmla="*/ 405322 h 1694229"/>
                <a:gd name="connsiteX0" fmla="*/ 1620956 w 1881147"/>
                <a:gd name="connsiteY0" fmla="*/ 405322 h 1694229"/>
                <a:gd name="connsiteX1" fmla="*/ 1548806 w 1881147"/>
                <a:gd name="connsiteY1" fmla="*/ 372673 h 1694229"/>
                <a:gd name="connsiteX2" fmla="*/ 1458557 w 1881147"/>
                <a:gd name="connsiteY2" fmla="*/ 348860 h 1694229"/>
                <a:gd name="connsiteX3" fmla="*/ 1405237 w 1881147"/>
                <a:gd name="connsiteY3" fmla="*/ 271776 h 1694229"/>
                <a:gd name="connsiteX4" fmla="*/ 1382136 w 1881147"/>
                <a:gd name="connsiteY4" fmla="*/ 169931 h 1694229"/>
                <a:gd name="connsiteX5" fmla="*/ 1346239 w 1881147"/>
                <a:gd name="connsiteY5" fmla="*/ 1869 h 1694229"/>
                <a:gd name="connsiteX6" fmla="*/ 1278870 w 1881147"/>
                <a:gd name="connsiteY6" fmla="*/ 43567 h 1694229"/>
                <a:gd name="connsiteX7" fmla="*/ 1273302 w 1881147"/>
                <a:gd name="connsiteY7" fmla="*/ 101090 h 1694229"/>
                <a:gd name="connsiteX8" fmla="*/ 1257397 w 1881147"/>
                <a:gd name="connsiteY8" fmla="*/ 152303 h 1694229"/>
                <a:gd name="connsiteX9" fmla="*/ 1237872 w 1881147"/>
                <a:gd name="connsiteY9" fmla="*/ 204316 h 1694229"/>
                <a:gd name="connsiteX10" fmla="*/ 1236143 w 1881147"/>
                <a:gd name="connsiteY10" fmla="*/ 273739 h 1694229"/>
                <a:gd name="connsiteX11" fmla="*/ 1163162 w 1881147"/>
                <a:gd name="connsiteY11" fmla="*/ 283903 h 1694229"/>
                <a:gd name="connsiteX12" fmla="*/ 1098809 w 1881147"/>
                <a:gd name="connsiteY12" fmla="*/ 285917 h 1694229"/>
                <a:gd name="connsiteX13" fmla="*/ 1051208 w 1881147"/>
                <a:gd name="connsiteY13" fmla="*/ 346183 h 1694229"/>
                <a:gd name="connsiteX14" fmla="*/ 996593 w 1881147"/>
                <a:gd name="connsiteY14" fmla="*/ 371690 h 1694229"/>
                <a:gd name="connsiteX15" fmla="*/ 943969 w 1881147"/>
                <a:gd name="connsiteY15" fmla="*/ 358385 h 1694229"/>
                <a:gd name="connsiteX16" fmla="*/ 837229 w 1881147"/>
                <a:gd name="connsiteY16" fmla="*/ 376257 h 1694229"/>
                <a:gd name="connsiteX17" fmla="*/ 814246 w 1881147"/>
                <a:gd name="connsiteY17" fmla="*/ 440035 h 1694229"/>
                <a:gd name="connsiteX18" fmla="*/ 797163 w 1881147"/>
                <a:gd name="connsiteY18" fmla="*/ 475926 h 1694229"/>
                <a:gd name="connsiteX19" fmla="*/ 715132 w 1881147"/>
                <a:gd name="connsiteY19" fmla="*/ 494632 h 1694229"/>
                <a:gd name="connsiteX20" fmla="*/ 697320 w 1881147"/>
                <a:gd name="connsiteY20" fmla="*/ 440647 h 1694229"/>
                <a:gd name="connsiteX21" fmla="*/ 653456 w 1881147"/>
                <a:gd name="connsiteY21" fmla="*/ 420298 h 1694229"/>
                <a:gd name="connsiteX22" fmla="*/ 518140 w 1881147"/>
                <a:gd name="connsiteY22" fmla="*/ 420641 h 1694229"/>
                <a:gd name="connsiteX23" fmla="*/ 434263 w 1881147"/>
                <a:gd name="connsiteY23" fmla="*/ 447350 h 1694229"/>
                <a:gd name="connsiteX24" fmla="*/ 401044 w 1881147"/>
                <a:gd name="connsiteY24" fmla="*/ 420298 h 1694229"/>
                <a:gd name="connsiteX25" fmla="*/ 381994 w 1881147"/>
                <a:gd name="connsiteY25" fmla="*/ 358385 h 1694229"/>
                <a:gd name="connsiteX26" fmla="*/ 315319 w 1881147"/>
                <a:gd name="connsiteY26" fmla="*/ 305998 h 1694229"/>
                <a:gd name="connsiteX27" fmla="*/ 270134 w 1881147"/>
                <a:gd name="connsiteY27" fmla="*/ 229110 h 1694229"/>
                <a:gd name="connsiteX28" fmla="*/ 146784 w 1881147"/>
                <a:gd name="connsiteY28" fmla="*/ 258373 h 1694229"/>
                <a:gd name="connsiteX29" fmla="*/ 127734 w 1881147"/>
                <a:gd name="connsiteY29" fmla="*/ 344785 h 1694229"/>
                <a:gd name="connsiteX30" fmla="*/ 145174 w 1881147"/>
                <a:gd name="connsiteY30" fmla="*/ 411312 h 1694229"/>
                <a:gd name="connsiteX31" fmla="*/ 117735 w 1881147"/>
                <a:gd name="connsiteY31" fmla="*/ 446172 h 1694229"/>
                <a:gd name="connsiteX32" fmla="*/ 65347 w 1881147"/>
                <a:gd name="connsiteY32" fmla="*/ 474059 h 1694229"/>
                <a:gd name="connsiteX33" fmla="*/ 37246 w 1881147"/>
                <a:gd name="connsiteY33" fmla="*/ 482063 h 1694229"/>
                <a:gd name="connsiteX34" fmla="*/ 15281 w 1881147"/>
                <a:gd name="connsiteY34" fmla="*/ 520310 h 1694229"/>
                <a:gd name="connsiteX35" fmla="*/ 1469 w 1881147"/>
                <a:gd name="connsiteY35" fmla="*/ 632745 h 1694229"/>
                <a:gd name="connsiteX36" fmla="*/ 51178 w 1881147"/>
                <a:gd name="connsiteY36" fmla="*/ 685967 h 1694229"/>
                <a:gd name="connsiteX37" fmla="*/ 108092 w 1881147"/>
                <a:gd name="connsiteY37" fmla="*/ 681547 h 1694229"/>
                <a:gd name="connsiteX38" fmla="*/ 93804 w 1881147"/>
                <a:gd name="connsiteY38" fmla="*/ 751806 h 1694229"/>
                <a:gd name="connsiteX39" fmla="*/ 148631 w 1881147"/>
                <a:gd name="connsiteY39" fmla="*/ 782248 h 1694229"/>
                <a:gd name="connsiteX40" fmla="*/ 217629 w 1881147"/>
                <a:gd name="connsiteY40" fmla="*/ 792460 h 1694229"/>
                <a:gd name="connsiteX41" fmla="*/ 252932 w 1881147"/>
                <a:gd name="connsiteY41" fmla="*/ 848431 h 1694229"/>
                <a:gd name="connsiteX42" fmla="*/ 252339 w 1881147"/>
                <a:gd name="connsiteY42" fmla="*/ 893503 h 1694229"/>
                <a:gd name="connsiteX43" fmla="*/ 276863 w 1881147"/>
                <a:gd name="connsiteY43" fmla="*/ 932978 h 1694229"/>
                <a:gd name="connsiteX44" fmla="*/ 322521 w 1881147"/>
                <a:gd name="connsiteY44" fmla="*/ 971570 h 1694229"/>
                <a:gd name="connsiteX45" fmla="*/ 407654 w 1881147"/>
                <a:gd name="connsiteY45" fmla="*/ 1025822 h 1694229"/>
                <a:gd name="connsiteX46" fmla="*/ 443431 w 1881147"/>
                <a:gd name="connsiteY46" fmla="*/ 1096915 h 1694229"/>
                <a:gd name="connsiteX47" fmla="*/ 422534 w 1881147"/>
                <a:gd name="connsiteY47" fmla="*/ 1166488 h 1694229"/>
                <a:gd name="connsiteX48" fmla="*/ 500581 w 1881147"/>
                <a:gd name="connsiteY48" fmla="*/ 1222951 h 1694229"/>
                <a:gd name="connsiteX49" fmla="*/ 572613 w 1881147"/>
                <a:gd name="connsiteY49" fmla="*/ 1255945 h 1694229"/>
                <a:gd name="connsiteX50" fmla="*/ 553444 w 1881147"/>
                <a:gd name="connsiteY50" fmla="*/ 1315648 h 1694229"/>
                <a:gd name="connsiteX51" fmla="*/ 643931 w 1881147"/>
                <a:gd name="connsiteY51" fmla="*/ 1468048 h 1694229"/>
                <a:gd name="connsiteX52" fmla="*/ 736741 w 1881147"/>
                <a:gd name="connsiteY52" fmla="*/ 1541202 h 1694229"/>
                <a:gd name="connsiteX53" fmla="*/ 786806 w 1881147"/>
                <a:gd name="connsiteY53" fmla="*/ 1491860 h 1694229"/>
                <a:gd name="connsiteX54" fmla="*/ 851396 w 1881147"/>
                <a:gd name="connsiteY54" fmla="*/ 1519257 h 1694229"/>
                <a:gd name="connsiteX55" fmla="*/ 905869 w 1881147"/>
                <a:gd name="connsiteY55" fmla="*/ 1487098 h 1694229"/>
                <a:gd name="connsiteX56" fmla="*/ 922716 w 1881147"/>
                <a:gd name="connsiteY56" fmla="*/ 1444922 h 1694229"/>
                <a:gd name="connsiteX57" fmla="*/ 986593 w 1881147"/>
                <a:gd name="connsiteY57" fmla="*/ 1531334 h 1694229"/>
                <a:gd name="connsiteX58" fmla="*/ 1031660 w 1881147"/>
                <a:gd name="connsiteY58" fmla="*/ 1602428 h 1694229"/>
                <a:gd name="connsiteX59" fmla="*/ 1101606 w 1881147"/>
                <a:gd name="connsiteY59" fmla="*/ 1693947 h 1694229"/>
                <a:gd name="connsiteX60" fmla="*/ 1132504 w 1881147"/>
                <a:gd name="connsiteY60" fmla="*/ 1630856 h 1694229"/>
                <a:gd name="connsiteX61" fmla="*/ 1163163 w 1881147"/>
                <a:gd name="connsiteY61" fmla="*/ 1624376 h 1694229"/>
                <a:gd name="connsiteX62" fmla="*/ 1206262 w 1881147"/>
                <a:gd name="connsiteY62" fmla="*/ 1653639 h 1694229"/>
                <a:gd name="connsiteX63" fmla="*/ 1239837 w 1881147"/>
                <a:gd name="connsiteY63" fmla="*/ 1612985 h 1694229"/>
                <a:gd name="connsiteX64" fmla="*/ 1258658 w 1881147"/>
                <a:gd name="connsiteY64" fmla="*/ 1617602 h 1694229"/>
                <a:gd name="connsiteX65" fmla="*/ 1292700 w 1881147"/>
                <a:gd name="connsiteY65" fmla="*/ 1684079 h 1694229"/>
                <a:gd name="connsiteX66" fmla="*/ 1349256 w 1881147"/>
                <a:gd name="connsiteY66" fmla="*/ 1660610 h 1694229"/>
                <a:gd name="connsiteX67" fmla="*/ 1401288 w 1881147"/>
                <a:gd name="connsiteY67" fmla="*/ 1604489 h 1694229"/>
                <a:gd name="connsiteX68" fmla="*/ 1452065 w 1881147"/>
                <a:gd name="connsiteY68" fmla="*/ 1587946 h 1694229"/>
                <a:gd name="connsiteX69" fmla="*/ 1469744 w 1881147"/>
                <a:gd name="connsiteY69" fmla="*/ 1643768 h 1694229"/>
                <a:gd name="connsiteX70" fmla="*/ 1539639 w 1881147"/>
                <a:gd name="connsiteY70" fmla="*/ 1618090 h 1694229"/>
                <a:gd name="connsiteX71" fmla="*/ 1570417 w 1881147"/>
                <a:gd name="connsiteY71" fmla="*/ 1531334 h 1694229"/>
                <a:gd name="connsiteX72" fmla="*/ 1651853 w 1881147"/>
                <a:gd name="connsiteY72" fmla="*/ 1441192 h 1694229"/>
                <a:gd name="connsiteX73" fmla="*/ 1696444 w 1881147"/>
                <a:gd name="connsiteY73" fmla="*/ 1410062 h 1694229"/>
                <a:gd name="connsiteX74" fmla="*/ 1724813 w 1881147"/>
                <a:gd name="connsiteY74" fmla="*/ 1413357 h 1694229"/>
                <a:gd name="connsiteX75" fmla="*/ 1802405 w 1881147"/>
                <a:gd name="connsiteY75" fmla="*/ 1402749 h 1694229"/>
                <a:gd name="connsiteX76" fmla="*/ 1797524 w 1881147"/>
                <a:gd name="connsiteY76" fmla="*/ 1456313 h 1694229"/>
                <a:gd name="connsiteX77" fmla="*/ 1855691 w 1881147"/>
                <a:gd name="connsiteY77" fmla="*/ 1479634 h 1694229"/>
                <a:gd name="connsiteX78" fmla="*/ 1857299 w 1881147"/>
                <a:gd name="connsiteY78" fmla="*/ 1457000 h 1694229"/>
                <a:gd name="connsiteX79" fmla="*/ 1861403 w 1881147"/>
                <a:gd name="connsiteY79" fmla="*/ 1401373 h 1694229"/>
                <a:gd name="connsiteX80" fmla="*/ 1878487 w 1881147"/>
                <a:gd name="connsiteY80" fmla="*/ 1326546 h 1694229"/>
                <a:gd name="connsiteX81" fmla="*/ 1797946 w 1881147"/>
                <a:gd name="connsiteY81" fmla="*/ 1305140 h 1694229"/>
                <a:gd name="connsiteX82" fmla="*/ 1747763 w 1881147"/>
                <a:gd name="connsiteY82" fmla="*/ 1264979 h 1694229"/>
                <a:gd name="connsiteX83" fmla="*/ 1737459 w 1881147"/>
                <a:gd name="connsiteY83" fmla="*/ 1176356 h 1694229"/>
                <a:gd name="connsiteX84" fmla="*/ 1704241 w 1881147"/>
                <a:gd name="connsiteY84" fmla="*/ 1038783 h 1694229"/>
                <a:gd name="connsiteX85" fmla="*/ 1627446 w 1881147"/>
                <a:gd name="connsiteY85" fmla="*/ 972257 h 1694229"/>
                <a:gd name="connsiteX86" fmla="*/ 1594228 w 1881147"/>
                <a:gd name="connsiteY86" fmla="*/ 917660 h 1694229"/>
                <a:gd name="connsiteX87" fmla="*/ 1544162 w 1881147"/>
                <a:gd name="connsiteY87" fmla="*/ 872587 h 1694229"/>
                <a:gd name="connsiteX88" fmla="*/ 1472251 w 1881147"/>
                <a:gd name="connsiteY88" fmla="*/ 845878 h 1694229"/>
                <a:gd name="connsiteX89" fmla="*/ 1449150 w 1881147"/>
                <a:gd name="connsiteY89" fmla="*/ 823245 h 1694229"/>
                <a:gd name="connsiteX90" fmla="*/ 1477013 w 1881147"/>
                <a:gd name="connsiteY90" fmla="*/ 784801 h 1694229"/>
                <a:gd name="connsiteX91" fmla="*/ 1458319 w 1881147"/>
                <a:gd name="connsiteY91" fmla="*/ 748910 h 1694229"/>
                <a:gd name="connsiteX92" fmla="*/ 1463081 w 1881147"/>
                <a:gd name="connsiteY92" fmla="*/ 725098 h 1694229"/>
                <a:gd name="connsiteX93" fmla="*/ 1488076 w 1881147"/>
                <a:gd name="connsiteY93" fmla="*/ 724035 h 1694229"/>
                <a:gd name="connsiteX94" fmla="*/ 1580416 w 1881147"/>
                <a:gd name="connsiteY94" fmla="*/ 740220 h 1694229"/>
                <a:gd name="connsiteX95" fmla="*/ 1615719 w 1881147"/>
                <a:gd name="connsiteY95" fmla="*/ 683758 h 1694229"/>
                <a:gd name="connsiteX96" fmla="*/ 1603753 w 1881147"/>
                <a:gd name="connsiteY96" fmla="*/ 553648 h 1694229"/>
                <a:gd name="connsiteX97" fmla="*/ 1620956 w 1881147"/>
                <a:gd name="connsiteY97" fmla="*/ 405322 h 1694229"/>
                <a:gd name="connsiteX0" fmla="*/ 1620956 w 1868187"/>
                <a:gd name="connsiteY0" fmla="*/ 405322 h 1694229"/>
                <a:gd name="connsiteX1" fmla="*/ 1548806 w 1868187"/>
                <a:gd name="connsiteY1" fmla="*/ 372673 h 1694229"/>
                <a:gd name="connsiteX2" fmla="*/ 1458557 w 1868187"/>
                <a:gd name="connsiteY2" fmla="*/ 348860 h 1694229"/>
                <a:gd name="connsiteX3" fmla="*/ 1405237 w 1868187"/>
                <a:gd name="connsiteY3" fmla="*/ 271776 h 1694229"/>
                <a:gd name="connsiteX4" fmla="*/ 1382136 w 1868187"/>
                <a:gd name="connsiteY4" fmla="*/ 169931 h 1694229"/>
                <a:gd name="connsiteX5" fmla="*/ 1346239 w 1868187"/>
                <a:gd name="connsiteY5" fmla="*/ 1869 h 1694229"/>
                <a:gd name="connsiteX6" fmla="*/ 1278870 w 1868187"/>
                <a:gd name="connsiteY6" fmla="*/ 43567 h 1694229"/>
                <a:gd name="connsiteX7" fmla="*/ 1273302 w 1868187"/>
                <a:gd name="connsiteY7" fmla="*/ 101090 h 1694229"/>
                <a:gd name="connsiteX8" fmla="*/ 1257397 w 1868187"/>
                <a:gd name="connsiteY8" fmla="*/ 152303 h 1694229"/>
                <a:gd name="connsiteX9" fmla="*/ 1237872 w 1868187"/>
                <a:gd name="connsiteY9" fmla="*/ 204316 h 1694229"/>
                <a:gd name="connsiteX10" fmla="*/ 1236143 w 1868187"/>
                <a:gd name="connsiteY10" fmla="*/ 273739 h 1694229"/>
                <a:gd name="connsiteX11" fmla="*/ 1163162 w 1868187"/>
                <a:gd name="connsiteY11" fmla="*/ 283903 h 1694229"/>
                <a:gd name="connsiteX12" fmla="*/ 1098809 w 1868187"/>
                <a:gd name="connsiteY12" fmla="*/ 285917 h 1694229"/>
                <a:gd name="connsiteX13" fmla="*/ 1051208 w 1868187"/>
                <a:gd name="connsiteY13" fmla="*/ 346183 h 1694229"/>
                <a:gd name="connsiteX14" fmla="*/ 996593 w 1868187"/>
                <a:gd name="connsiteY14" fmla="*/ 371690 h 1694229"/>
                <a:gd name="connsiteX15" fmla="*/ 943969 w 1868187"/>
                <a:gd name="connsiteY15" fmla="*/ 358385 h 1694229"/>
                <a:gd name="connsiteX16" fmla="*/ 837229 w 1868187"/>
                <a:gd name="connsiteY16" fmla="*/ 376257 h 1694229"/>
                <a:gd name="connsiteX17" fmla="*/ 814246 w 1868187"/>
                <a:gd name="connsiteY17" fmla="*/ 440035 h 1694229"/>
                <a:gd name="connsiteX18" fmla="*/ 797163 w 1868187"/>
                <a:gd name="connsiteY18" fmla="*/ 475926 h 1694229"/>
                <a:gd name="connsiteX19" fmla="*/ 715132 w 1868187"/>
                <a:gd name="connsiteY19" fmla="*/ 494632 h 1694229"/>
                <a:gd name="connsiteX20" fmla="*/ 697320 w 1868187"/>
                <a:gd name="connsiteY20" fmla="*/ 440647 h 1694229"/>
                <a:gd name="connsiteX21" fmla="*/ 653456 w 1868187"/>
                <a:gd name="connsiteY21" fmla="*/ 420298 h 1694229"/>
                <a:gd name="connsiteX22" fmla="*/ 518140 w 1868187"/>
                <a:gd name="connsiteY22" fmla="*/ 420641 h 1694229"/>
                <a:gd name="connsiteX23" fmla="*/ 434263 w 1868187"/>
                <a:gd name="connsiteY23" fmla="*/ 447350 h 1694229"/>
                <a:gd name="connsiteX24" fmla="*/ 401044 w 1868187"/>
                <a:gd name="connsiteY24" fmla="*/ 420298 h 1694229"/>
                <a:gd name="connsiteX25" fmla="*/ 381994 w 1868187"/>
                <a:gd name="connsiteY25" fmla="*/ 358385 h 1694229"/>
                <a:gd name="connsiteX26" fmla="*/ 315319 w 1868187"/>
                <a:gd name="connsiteY26" fmla="*/ 305998 h 1694229"/>
                <a:gd name="connsiteX27" fmla="*/ 270134 w 1868187"/>
                <a:gd name="connsiteY27" fmla="*/ 229110 h 1694229"/>
                <a:gd name="connsiteX28" fmla="*/ 146784 w 1868187"/>
                <a:gd name="connsiteY28" fmla="*/ 258373 h 1694229"/>
                <a:gd name="connsiteX29" fmla="*/ 127734 w 1868187"/>
                <a:gd name="connsiteY29" fmla="*/ 344785 h 1694229"/>
                <a:gd name="connsiteX30" fmla="*/ 145174 w 1868187"/>
                <a:gd name="connsiteY30" fmla="*/ 411312 h 1694229"/>
                <a:gd name="connsiteX31" fmla="*/ 117735 w 1868187"/>
                <a:gd name="connsiteY31" fmla="*/ 446172 h 1694229"/>
                <a:gd name="connsiteX32" fmla="*/ 65347 w 1868187"/>
                <a:gd name="connsiteY32" fmla="*/ 474059 h 1694229"/>
                <a:gd name="connsiteX33" fmla="*/ 37246 w 1868187"/>
                <a:gd name="connsiteY33" fmla="*/ 482063 h 1694229"/>
                <a:gd name="connsiteX34" fmla="*/ 15281 w 1868187"/>
                <a:gd name="connsiteY34" fmla="*/ 520310 h 1694229"/>
                <a:gd name="connsiteX35" fmla="*/ 1469 w 1868187"/>
                <a:gd name="connsiteY35" fmla="*/ 632745 h 1694229"/>
                <a:gd name="connsiteX36" fmla="*/ 51178 w 1868187"/>
                <a:gd name="connsiteY36" fmla="*/ 685967 h 1694229"/>
                <a:gd name="connsiteX37" fmla="*/ 108092 w 1868187"/>
                <a:gd name="connsiteY37" fmla="*/ 681547 h 1694229"/>
                <a:gd name="connsiteX38" fmla="*/ 93804 w 1868187"/>
                <a:gd name="connsiteY38" fmla="*/ 751806 h 1694229"/>
                <a:gd name="connsiteX39" fmla="*/ 148631 w 1868187"/>
                <a:gd name="connsiteY39" fmla="*/ 782248 h 1694229"/>
                <a:gd name="connsiteX40" fmla="*/ 217629 w 1868187"/>
                <a:gd name="connsiteY40" fmla="*/ 792460 h 1694229"/>
                <a:gd name="connsiteX41" fmla="*/ 252932 w 1868187"/>
                <a:gd name="connsiteY41" fmla="*/ 848431 h 1694229"/>
                <a:gd name="connsiteX42" fmla="*/ 252339 w 1868187"/>
                <a:gd name="connsiteY42" fmla="*/ 893503 h 1694229"/>
                <a:gd name="connsiteX43" fmla="*/ 276863 w 1868187"/>
                <a:gd name="connsiteY43" fmla="*/ 932978 h 1694229"/>
                <a:gd name="connsiteX44" fmla="*/ 322521 w 1868187"/>
                <a:gd name="connsiteY44" fmla="*/ 971570 h 1694229"/>
                <a:gd name="connsiteX45" fmla="*/ 407654 w 1868187"/>
                <a:gd name="connsiteY45" fmla="*/ 1025822 h 1694229"/>
                <a:gd name="connsiteX46" fmla="*/ 443431 w 1868187"/>
                <a:gd name="connsiteY46" fmla="*/ 1096915 h 1694229"/>
                <a:gd name="connsiteX47" fmla="*/ 422534 w 1868187"/>
                <a:gd name="connsiteY47" fmla="*/ 1166488 h 1694229"/>
                <a:gd name="connsiteX48" fmla="*/ 500581 w 1868187"/>
                <a:gd name="connsiteY48" fmla="*/ 1222951 h 1694229"/>
                <a:gd name="connsiteX49" fmla="*/ 572613 w 1868187"/>
                <a:gd name="connsiteY49" fmla="*/ 1255945 h 1694229"/>
                <a:gd name="connsiteX50" fmla="*/ 553444 w 1868187"/>
                <a:gd name="connsiteY50" fmla="*/ 1315648 h 1694229"/>
                <a:gd name="connsiteX51" fmla="*/ 643931 w 1868187"/>
                <a:gd name="connsiteY51" fmla="*/ 1468048 h 1694229"/>
                <a:gd name="connsiteX52" fmla="*/ 736741 w 1868187"/>
                <a:gd name="connsiteY52" fmla="*/ 1541202 h 1694229"/>
                <a:gd name="connsiteX53" fmla="*/ 786806 w 1868187"/>
                <a:gd name="connsiteY53" fmla="*/ 1491860 h 1694229"/>
                <a:gd name="connsiteX54" fmla="*/ 851396 w 1868187"/>
                <a:gd name="connsiteY54" fmla="*/ 1519257 h 1694229"/>
                <a:gd name="connsiteX55" fmla="*/ 905869 w 1868187"/>
                <a:gd name="connsiteY55" fmla="*/ 1487098 h 1694229"/>
                <a:gd name="connsiteX56" fmla="*/ 922716 w 1868187"/>
                <a:gd name="connsiteY56" fmla="*/ 1444922 h 1694229"/>
                <a:gd name="connsiteX57" fmla="*/ 986593 w 1868187"/>
                <a:gd name="connsiteY57" fmla="*/ 1531334 h 1694229"/>
                <a:gd name="connsiteX58" fmla="*/ 1031660 w 1868187"/>
                <a:gd name="connsiteY58" fmla="*/ 1602428 h 1694229"/>
                <a:gd name="connsiteX59" fmla="*/ 1101606 w 1868187"/>
                <a:gd name="connsiteY59" fmla="*/ 1693947 h 1694229"/>
                <a:gd name="connsiteX60" fmla="*/ 1132504 w 1868187"/>
                <a:gd name="connsiteY60" fmla="*/ 1630856 h 1694229"/>
                <a:gd name="connsiteX61" fmla="*/ 1163163 w 1868187"/>
                <a:gd name="connsiteY61" fmla="*/ 1624376 h 1694229"/>
                <a:gd name="connsiteX62" fmla="*/ 1206262 w 1868187"/>
                <a:gd name="connsiteY62" fmla="*/ 1653639 h 1694229"/>
                <a:gd name="connsiteX63" fmla="*/ 1239837 w 1868187"/>
                <a:gd name="connsiteY63" fmla="*/ 1612985 h 1694229"/>
                <a:gd name="connsiteX64" fmla="*/ 1258658 w 1868187"/>
                <a:gd name="connsiteY64" fmla="*/ 1617602 h 1694229"/>
                <a:gd name="connsiteX65" fmla="*/ 1292700 w 1868187"/>
                <a:gd name="connsiteY65" fmla="*/ 1684079 h 1694229"/>
                <a:gd name="connsiteX66" fmla="*/ 1349256 w 1868187"/>
                <a:gd name="connsiteY66" fmla="*/ 1660610 h 1694229"/>
                <a:gd name="connsiteX67" fmla="*/ 1401288 w 1868187"/>
                <a:gd name="connsiteY67" fmla="*/ 1604489 h 1694229"/>
                <a:gd name="connsiteX68" fmla="*/ 1452065 w 1868187"/>
                <a:gd name="connsiteY68" fmla="*/ 1587946 h 1694229"/>
                <a:gd name="connsiteX69" fmla="*/ 1469744 w 1868187"/>
                <a:gd name="connsiteY69" fmla="*/ 1643768 h 1694229"/>
                <a:gd name="connsiteX70" fmla="*/ 1539639 w 1868187"/>
                <a:gd name="connsiteY70" fmla="*/ 1618090 h 1694229"/>
                <a:gd name="connsiteX71" fmla="*/ 1570417 w 1868187"/>
                <a:gd name="connsiteY71" fmla="*/ 1531334 h 1694229"/>
                <a:gd name="connsiteX72" fmla="*/ 1651853 w 1868187"/>
                <a:gd name="connsiteY72" fmla="*/ 1441192 h 1694229"/>
                <a:gd name="connsiteX73" fmla="*/ 1696444 w 1868187"/>
                <a:gd name="connsiteY73" fmla="*/ 1410062 h 1694229"/>
                <a:gd name="connsiteX74" fmla="*/ 1724813 w 1868187"/>
                <a:gd name="connsiteY74" fmla="*/ 1413357 h 1694229"/>
                <a:gd name="connsiteX75" fmla="*/ 1802405 w 1868187"/>
                <a:gd name="connsiteY75" fmla="*/ 1402749 h 1694229"/>
                <a:gd name="connsiteX76" fmla="*/ 1797524 w 1868187"/>
                <a:gd name="connsiteY76" fmla="*/ 1456313 h 1694229"/>
                <a:gd name="connsiteX77" fmla="*/ 1855691 w 1868187"/>
                <a:gd name="connsiteY77" fmla="*/ 1479634 h 1694229"/>
                <a:gd name="connsiteX78" fmla="*/ 1857299 w 1868187"/>
                <a:gd name="connsiteY78" fmla="*/ 1457000 h 1694229"/>
                <a:gd name="connsiteX79" fmla="*/ 1861403 w 1868187"/>
                <a:gd name="connsiteY79" fmla="*/ 1401373 h 1694229"/>
                <a:gd name="connsiteX80" fmla="*/ 1863844 w 1868187"/>
                <a:gd name="connsiteY80" fmla="*/ 1326546 h 1694229"/>
                <a:gd name="connsiteX81" fmla="*/ 1797946 w 1868187"/>
                <a:gd name="connsiteY81" fmla="*/ 1305140 h 1694229"/>
                <a:gd name="connsiteX82" fmla="*/ 1747763 w 1868187"/>
                <a:gd name="connsiteY82" fmla="*/ 1264979 h 1694229"/>
                <a:gd name="connsiteX83" fmla="*/ 1737459 w 1868187"/>
                <a:gd name="connsiteY83" fmla="*/ 1176356 h 1694229"/>
                <a:gd name="connsiteX84" fmla="*/ 1704241 w 1868187"/>
                <a:gd name="connsiteY84" fmla="*/ 1038783 h 1694229"/>
                <a:gd name="connsiteX85" fmla="*/ 1627446 w 1868187"/>
                <a:gd name="connsiteY85" fmla="*/ 972257 h 1694229"/>
                <a:gd name="connsiteX86" fmla="*/ 1594228 w 1868187"/>
                <a:gd name="connsiteY86" fmla="*/ 917660 h 1694229"/>
                <a:gd name="connsiteX87" fmla="*/ 1544162 w 1868187"/>
                <a:gd name="connsiteY87" fmla="*/ 872587 h 1694229"/>
                <a:gd name="connsiteX88" fmla="*/ 1472251 w 1868187"/>
                <a:gd name="connsiteY88" fmla="*/ 845878 h 1694229"/>
                <a:gd name="connsiteX89" fmla="*/ 1449150 w 1868187"/>
                <a:gd name="connsiteY89" fmla="*/ 823245 h 1694229"/>
                <a:gd name="connsiteX90" fmla="*/ 1477013 w 1868187"/>
                <a:gd name="connsiteY90" fmla="*/ 784801 h 1694229"/>
                <a:gd name="connsiteX91" fmla="*/ 1458319 w 1868187"/>
                <a:gd name="connsiteY91" fmla="*/ 748910 h 1694229"/>
                <a:gd name="connsiteX92" fmla="*/ 1463081 w 1868187"/>
                <a:gd name="connsiteY92" fmla="*/ 725098 h 1694229"/>
                <a:gd name="connsiteX93" fmla="*/ 1488076 w 1868187"/>
                <a:gd name="connsiteY93" fmla="*/ 724035 h 1694229"/>
                <a:gd name="connsiteX94" fmla="*/ 1580416 w 1868187"/>
                <a:gd name="connsiteY94" fmla="*/ 740220 h 1694229"/>
                <a:gd name="connsiteX95" fmla="*/ 1615719 w 1868187"/>
                <a:gd name="connsiteY95" fmla="*/ 683758 h 1694229"/>
                <a:gd name="connsiteX96" fmla="*/ 1603753 w 1868187"/>
                <a:gd name="connsiteY96" fmla="*/ 553648 h 1694229"/>
                <a:gd name="connsiteX97" fmla="*/ 1620956 w 1868187"/>
                <a:gd name="connsiteY97" fmla="*/ 405322 h 1694229"/>
                <a:gd name="connsiteX0" fmla="*/ 1620956 w 1872005"/>
                <a:gd name="connsiteY0" fmla="*/ 405322 h 1694229"/>
                <a:gd name="connsiteX1" fmla="*/ 1548806 w 1872005"/>
                <a:gd name="connsiteY1" fmla="*/ 372673 h 1694229"/>
                <a:gd name="connsiteX2" fmla="*/ 1458557 w 1872005"/>
                <a:gd name="connsiteY2" fmla="*/ 348860 h 1694229"/>
                <a:gd name="connsiteX3" fmla="*/ 1405237 w 1872005"/>
                <a:gd name="connsiteY3" fmla="*/ 271776 h 1694229"/>
                <a:gd name="connsiteX4" fmla="*/ 1382136 w 1872005"/>
                <a:gd name="connsiteY4" fmla="*/ 169931 h 1694229"/>
                <a:gd name="connsiteX5" fmla="*/ 1346239 w 1872005"/>
                <a:gd name="connsiteY5" fmla="*/ 1869 h 1694229"/>
                <a:gd name="connsiteX6" fmla="*/ 1278870 w 1872005"/>
                <a:gd name="connsiteY6" fmla="*/ 43567 h 1694229"/>
                <a:gd name="connsiteX7" fmla="*/ 1273302 w 1872005"/>
                <a:gd name="connsiteY7" fmla="*/ 101090 h 1694229"/>
                <a:gd name="connsiteX8" fmla="*/ 1257397 w 1872005"/>
                <a:gd name="connsiteY8" fmla="*/ 152303 h 1694229"/>
                <a:gd name="connsiteX9" fmla="*/ 1237872 w 1872005"/>
                <a:gd name="connsiteY9" fmla="*/ 204316 h 1694229"/>
                <a:gd name="connsiteX10" fmla="*/ 1236143 w 1872005"/>
                <a:gd name="connsiteY10" fmla="*/ 273739 h 1694229"/>
                <a:gd name="connsiteX11" fmla="*/ 1163162 w 1872005"/>
                <a:gd name="connsiteY11" fmla="*/ 283903 h 1694229"/>
                <a:gd name="connsiteX12" fmla="*/ 1098809 w 1872005"/>
                <a:gd name="connsiteY12" fmla="*/ 285917 h 1694229"/>
                <a:gd name="connsiteX13" fmla="*/ 1051208 w 1872005"/>
                <a:gd name="connsiteY13" fmla="*/ 346183 h 1694229"/>
                <a:gd name="connsiteX14" fmla="*/ 996593 w 1872005"/>
                <a:gd name="connsiteY14" fmla="*/ 371690 h 1694229"/>
                <a:gd name="connsiteX15" fmla="*/ 943969 w 1872005"/>
                <a:gd name="connsiteY15" fmla="*/ 358385 h 1694229"/>
                <a:gd name="connsiteX16" fmla="*/ 837229 w 1872005"/>
                <a:gd name="connsiteY16" fmla="*/ 376257 h 1694229"/>
                <a:gd name="connsiteX17" fmla="*/ 814246 w 1872005"/>
                <a:gd name="connsiteY17" fmla="*/ 440035 h 1694229"/>
                <a:gd name="connsiteX18" fmla="*/ 797163 w 1872005"/>
                <a:gd name="connsiteY18" fmla="*/ 475926 h 1694229"/>
                <a:gd name="connsiteX19" fmla="*/ 715132 w 1872005"/>
                <a:gd name="connsiteY19" fmla="*/ 494632 h 1694229"/>
                <a:gd name="connsiteX20" fmla="*/ 697320 w 1872005"/>
                <a:gd name="connsiteY20" fmla="*/ 440647 h 1694229"/>
                <a:gd name="connsiteX21" fmla="*/ 653456 w 1872005"/>
                <a:gd name="connsiteY21" fmla="*/ 420298 h 1694229"/>
                <a:gd name="connsiteX22" fmla="*/ 518140 w 1872005"/>
                <a:gd name="connsiteY22" fmla="*/ 420641 h 1694229"/>
                <a:gd name="connsiteX23" fmla="*/ 434263 w 1872005"/>
                <a:gd name="connsiteY23" fmla="*/ 447350 h 1694229"/>
                <a:gd name="connsiteX24" fmla="*/ 401044 w 1872005"/>
                <a:gd name="connsiteY24" fmla="*/ 420298 h 1694229"/>
                <a:gd name="connsiteX25" fmla="*/ 381994 w 1872005"/>
                <a:gd name="connsiteY25" fmla="*/ 358385 h 1694229"/>
                <a:gd name="connsiteX26" fmla="*/ 315319 w 1872005"/>
                <a:gd name="connsiteY26" fmla="*/ 305998 h 1694229"/>
                <a:gd name="connsiteX27" fmla="*/ 270134 w 1872005"/>
                <a:gd name="connsiteY27" fmla="*/ 229110 h 1694229"/>
                <a:gd name="connsiteX28" fmla="*/ 146784 w 1872005"/>
                <a:gd name="connsiteY28" fmla="*/ 258373 h 1694229"/>
                <a:gd name="connsiteX29" fmla="*/ 127734 w 1872005"/>
                <a:gd name="connsiteY29" fmla="*/ 344785 h 1694229"/>
                <a:gd name="connsiteX30" fmla="*/ 145174 w 1872005"/>
                <a:gd name="connsiteY30" fmla="*/ 411312 h 1694229"/>
                <a:gd name="connsiteX31" fmla="*/ 117735 w 1872005"/>
                <a:gd name="connsiteY31" fmla="*/ 446172 h 1694229"/>
                <a:gd name="connsiteX32" fmla="*/ 65347 w 1872005"/>
                <a:gd name="connsiteY32" fmla="*/ 474059 h 1694229"/>
                <a:gd name="connsiteX33" fmla="*/ 37246 w 1872005"/>
                <a:gd name="connsiteY33" fmla="*/ 482063 h 1694229"/>
                <a:gd name="connsiteX34" fmla="*/ 15281 w 1872005"/>
                <a:gd name="connsiteY34" fmla="*/ 520310 h 1694229"/>
                <a:gd name="connsiteX35" fmla="*/ 1469 w 1872005"/>
                <a:gd name="connsiteY35" fmla="*/ 632745 h 1694229"/>
                <a:gd name="connsiteX36" fmla="*/ 51178 w 1872005"/>
                <a:gd name="connsiteY36" fmla="*/ 685967 h 1694229"/>
                <a:gd name="connsiteX37" fmla="*/ 108092 w 1872005"/>
                <a:gd name="connsiteY37" fmla="*/ 681547 h 1694229"/>
                <a:gd name="connsiteX38" fmla="*/ 93804 w 1872005"/>
                <a:gd name="connsiteY38" fmla="*/ 751806 h 1694229"/>
                <a:gd name="connsiteX39" fmla="*/ 148631 w 1872005"/>
                <a:gd name="connsiteY39" fmla="*/ 782248 h 1694229"/>
                <a:gd name="connsiteX40" fmla="*/ 217629 w 1872005"/>
                <a:gd name="connsiteY40" fmla="*/ 792460 h 1694229"/>
                <a:gd name="connsiteX41" fmla="*/ 252932 w 1872005"/>
                <a:gd name="connsiteY41" fmla="*/ 848431 h 1694229"/>
                <a:gd name="connsiteX42" fmla="*/ 252339 w 1872005"/>
                <a:gd name="connsiteY42" fmla="*/ 893503 h 1694229"/>
                <a:gd name="connsiteX43" fmla="*/ 276863 w 1872005"/>
                <a:gd name="connsiteY43" fmla="*/ 932978 h 1694229"/>
                <a:gd name="connsiteX44" fmla="*/ 322521 w 1872005"/>
                <a:gd name="connsiteY44" fmla="*/ 971570 h 1694229"/>
                <a:gd name="connsiteX45" fmla="*/ 407654 w 1872005"/>
                <a:gd name="connsiteY45" fmla="*/ 1025822 h 1694229"/>
                <a:gd name="connsiteX46" fmla="*/ 443431 w 1872005"/>
                <a:gd name="connsiteY46" fmla="*/ 1096915 h 1694229"/>
                <a:gd name="connsiteX47" fmla="*/ 422534 w 1872005"/>
                <a:gd name="connsiteY47" fmla="*/ 1166488 h 1694229"/>
                <a:gd name="connsiteX48" fmla="*/ 500581 w 1872005"/>
                <a:gd name="connsiteY48" fmla="*/ 1222951 h 1694229"/>
                <a:gd name="connsiteX49" fmla="*/ 572613 w 1872005"/>
                <a:gd name="connsiteY49" fmla="*/ 1255945 h 1694229"/>
                <a:gd name="connsiteX50" fmla="*/ 553444 w 1872005"/>
                <a:gd name="connsiteY50" fmla="*/ 1315648 h 1694229"/>
                <a:gd name="connsiteX51" fmla="*/ 643931 w 1872005"/>
                <a:gd name="connsiteY51" fmla="*/ 1468048 h 1694229"/>
                <a:gd name="connsiteX52" fmla="*/ 736741 w 1872005"/>
                <a:gd name="connsiteY52" fmla="*/ 1541202 h 1694229"/>
                <a:gd name="connsiteX53" fmla="*/ 786806 w 1872005"/>
                <a:gd name="connsiteY53" fmla="*/ 1491860 h 1694229"/>
                <a:gd name="connsiteX54" fmla="*/ 851396 w 1872005"/>
                <a:gd name="connsiteY54" fmla="*/ 1519257 h 1694229"/>
                <a:gd name="connsiteX55" fmla="*/ 905869 w 1872005"/>
                <a:gd name="connsiteY55" fmla="*/ 1487098 h 1694229"/>
                <a:gd name="connsiteX56" fmla="*/ 922716 w 1872005"/>
                <a:gd name="connsiteY56" fmla="*/ 1444922 h 1694229"/>
                <a:gd name="connsiteX57" fmla="*/ 986593 w 1872005"/>
                <a:gd name="connsiteY57" fmla="*/ 1531334 h 1694229"/>
                <a:gd name="connsiteX58" fmla="*/ 1031660 w 1872005"/>
                <a:gd name="connsiteY58" fmla="*/ 1602428 h 1694229"/>
                <a:gd name="connsiteX59" fmla="*/ 1101606 w 1872005"/>
                <a:gd name="connsiteY59" fmla="*/ 1693947 h 1694229"/>
                <a:gd name="connsiteX60" fmla="*/ 1132504 w 1872005"/>
                <a:gd name="connsiteY60" fmla="*/ 1630856 h 1694229"/>
                <a:gd name="connsiteX61" fmla="*/ 1163163 w 1872005"/>
                <a:gd name="connsiteY61" fmla="*/ 1624376 h 1694229"/>
                <a:gd name="connsiteX62" fmla="*/ 1206262 w 1872005"/>
                <a:gd name="connsiteY62" fmla="*/ 1653639 h 1694229"/>
                <a:gd name="connsiteX63" fmla="*/ 1239837 w 1872005"/>
                <a:gd name="connsiteY63" fmla="*/ 1612985 h 1694229"/>
                <a:gd name="connsiteX64" fmla="*/ 1258658 w 1872005"/>
                <a:gd name="connsiteY64" fmla="*/ 1617602 h 1694229"/>
                <a:gd name="connsiteX65" fmla="*/ 1292700 w 1872005"/>
                <a:gd name="connsiteY65" fmla="*/ 1684079 h 1694229"/>
                <a:gd name="connsiteX66" fmla="*/ 1349256 w 1872005"/>
                <a:gd name="connsiteY66" fmla="*/ 1660610 h 1694229"/>
                <a:gd name="connsiteX67" fmla="*/ 1401288 w 1872005"/>
                <a:gd name="connsiteY67" fmla="*/ 1604489 h 1694229"/>
                <a:gd name="connsiteX68" fmla="*/ 1452065 w 1872005"/>
                <a:gd name="connsiteY68" fmla="*/ 1587946 h 1694229"/>
                <a:gd name="connsiteX69" fmla="*/ 1469744 w 1872005"/>
                <a:gd name="connsiteY69" fmla="*/ 1643768 h 1694229"/>
                <a:gd name="connsiteX70" fmla="*/ 1539639 w 1872005"/>
                <a:gd name="connsiteY70" fmla="*/ 1618090 h 1694229"/>
                <a:gd name="connsiteX71" fmla="*/ 1570417 w 1872005"/>
                <a:gd name="connsiteY71" fmla="*/ 1531334 h 1694229"/>
                <a:gd name="connsiteX72" fmla="*/ 1651853 w 1872005"/>
                <a:gd name="connsiteY72" fmla="*/ 1441192 h 1694229"/>
                <a:gd name="connsiteX73" fmla="*/ 1696444 w 1872005"/>
                <a:gd name="connsiteY73" fmla="*/ 1410062 h 1694229"/>
                <a:gd name="connsiteX74" fmla="*/ 1724813 w 1872005"/>
                <a:gd name="connsiteY74" fmla="*/ 1413357 h 1694229"/>
                <a:gd name="connsiteX75" fmla="*/ 1802405 w 1872005"/>
                <a:gd name="connsiteY75" fmla="*/ 1402749 h 1694229"/>
                <a:gd name="connsiteX76" fmla="*/ 1797524 w 1872005"/>
                <a:gd name="connsiteY76" fmla="*/ 1456313 h 1694229"/>
                <a:gd name="connsiteX77" fmla="*/ 1855691 w 1872005"/>
                <a:gd name="connsiteY77" fmla="*/ 1479634 h 1694229"/>
                <a:gd name="connsiteX78" fmla="*/ 1871943 w 1872005"/>
                <a:gd name="connsiteY78" fmla="*/ 1454448 h 1694229"/>
                <a:gd name="connsiteX79" fmla="*/ 1861403 w 1872005"/>
                <a:gd name="connsiteY79" fmla="*/ 1401373 h 1694229"/>
                <a:gd name="connsiteX80" fmla="*/ 1863844 w 1872005"/>
                <a:gd name="connsiteY80" fmla="*/ 1326546 h 1694229"/>
                <a:gd name="connsiteX81" fmla="*/ 1797946 w 1872005"/>
                <a:gd name="connsiteY81" fmla="*/ 1305140 h 1694229"/>
                <a:gd name="connsiteX82" fmla="*/ 1747763 w 1872005"/>
                <a:gd name="connsiteY82" fmla="*/ 1264979 h 1694229"/>
                <a:gd name="connsiteX83" fmla="*/ 1737459 w 1872005"/>
                <a:gd name="connsiteY83" fmla="*/ 1176356 h 1694229"/>
                <a:gd name="connsiteX84" fmla="*/ 1704241 w 1872005"/>
                <a:gd name="connsiteY84" fmla="*/ 1038783 h 1694229"/>
                <a:gd name="connsiteX85" fmla="*/ 1627446 w 1872005"/>
                <a:gd name="connsiteY85" fmla="*/ 972257 h 1694229"/>
                <a:gd name="connsiteX86" fmla="*/ 1594228 w 1872005"/>
                <a:gd name="connsiteY86" fmla="*/ 917660 h 1694229"/>
                <a:gd name="connsiteX87" fmla="*/ 1544162 w 1872005"/>
                <a:gd name="connsiteY87" fmla="*/ 872587 h 1694229"/>
                <a:gd name="connsiteX88" fmla="*/ 1472251 w 1872005"/>
                <a:gd name="connsiteY88" fmla="*/ 845878 h 1694229"/>
                <a:gd name="connsiteX89" fmla="*/ 1449150 w 1872005"/>
                <a:gd name="connsiteY89" fmla="*/ 823245 h 1694229"/>
                <a:gd name="connsiteX90" fmla="*/ 1477013 w 1872005"/>
                <a:gd name="connsiteY90" fmla="*/ 784801 h 1694229"/>
                <a:gd name="connsiteX91" fmla="*/ 1458319 w 1872005"/>
                <a:gd name="connsiteY91" fmla="*/ 748910 h 1694229"/>
                <a:gd name="connsiteX92" fmla="*/ 1463081 w 1872005"/>
                <a:gd name="connsiteY92" fmla="*/ 725098 h 1694229"/>
                <a:gd name="connsiteX93" fmla="*/ 1488076 w 1872005"/>
                <a:gd name="connsiteY93" fmla="*/ 724035 h 1694229"/>
                <a:gd name="connsiteX94" fmla="*/ 1580416 w 1872005"/>
                <a:gd name="connsiteY94" fmla="*/ 740220 h 1694229"/>
                <a:gd name="connsiteX95" fmla="*/ 1615719 w 1872005"/>
                <a:gd name="connsiteY95" fmla="*/ 683758 h 1694229"/>
                <a:gd name="connsiteX96" fmla="*/ 1603753 w 1872005"/>
                <a:gd name="connsiteY96" fmla="*/ 553648 h 1694229"/>
                <a:gd name="connsiteX97" fmla="*/ 1620956 w 1872005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02405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8788"/>
                <a:gd name="connsiteY0" fmla="*/ 405322 h 1694229"/>
                <a:gd name="connsiteX1" fmla="*/ 1548806 w 1888788"/>
                <a:gd name="connsiteY1" fmla="*/ 372673 h 1694229"/>
                <a:gd name="connsiteX2" fmla="*/ 1458557 w 1888788"/>
                <a:gd name="connsiteY2" fmla="*/ 348860 h 1694229"/>
                <a:gd name="connsiteX3" fmla="*/ 1405237 w 1888788"/>
                <a:gd name="connsiteY3" fmla="*/ 271776 h 1694229"/>
                <a:gd name="connsiteX4" fmla="*/ 1382136 w 1888788"/>
                <a:gd name="connsiteY4" fmla="*/ 169931 h 1694229"/>
                <a:gd name="connsiteX5" fmla="*/ 1346239 w 1888788"/>
                <a:gd name="connsiteY5" fmla="*/ 1869 h 1694229"/>
                <a:gd name="connsiteX6" fmla="*/ 1278870 w 1888788"/>
                <a:gd name="connsiteY6" fmla="*/ 43567 h 1694229"/>
                <a:gd name="connsiteX7" fmla="*/ 1273302 w 1888788"/>
                <a:gd name="connsiteY7" fmla="*/ 101090 h 1694229"/>
                <a:gd name="connsiteX8" fmla="*/ 1257397 w 1888788"/>
                <a:gd name="connsiteY8" fmla="*/ 152303 h 1694229"/>
                <a:gd name="connsiteX9" fmla="*/ 1237872 w 1888788"/>
                <a:gd name="connsiteY9" fmla="*/ 204316 h 1694229"/>
                <a:gd name="connsiteX10" fmla="*/ 1236143 w 1888788"/>
                <a:gd name="connsiteY10" fmla="*/ 273739 h 1694229"/>
                <a:gd name="connsiteX11" fmla="*/ 1163162 w 1888788"/>
                <a:gd name="connsiteY11" fmla="*/ 283903 h 1694229"/>
                <a:gd name="connsiteX12" fmla="*/ 1098809 w 1888788"/>
                <a:gd name="connsiteY12" fmla="*/ 285917 h 1694229"/>
                <a:gd name="connsiteX13" fmla="*/ 1051208 w 1888788"/>
                <a:gd name="connsiteY13" fmla="*/ 346183 h 1694229"/>
                <a:gd name="connsiteX14" fmla="*/ 996593 w 1888788"/>
                <a:gd name="connsiteY14" fmla="*/ 371690 h 1694229"/>
                <a:gd name="connsiteX15" fmla="*/ 943969 w 1888788"/>
                <a:gd name="connsiteY15" fmla="*/ 358385 h 1694229"/>
                <a:gd name="connsiteX16" fmla="*/ 837229 w 1888788"/>
                <a:gd name="connsiteY16" fmla="*/ 376257 h 1694229"/>
                <a:gd name="connsiteX17" fmla="*/ 814246 w 1888788"/>
                <a:gd name="connsiteY17" fmla="*/ 440035 h 1694229"/>
                <a:gd name="connsiteX18" fmla="*/ 797163 w 1888788"/>
                <a:gd name="connsiteY18" fmla="*/ 475926 h 1694229"/>
                <a:gd name="connsiteX19" fmla="*/ 715132 w 1888788"/>
                <a:gd name="connsiteY19" fmla="*/ 494632 h 1694229"/>
                <a:gd name="connsiteX20" fmla="*/ 697320 w 1888788"/>
                <a:gd name="connsiteY20" fmla="*/ 440647 h 1694229"/>
                <a:gd name="connsiteX21" fmla="*/ 653456 w 1888788"/>
                <a:gd name="connsiteY21" fmla="*/ 420298 h 1694229"/>
                <a:gd name="connsiteX22" fmla="*/ 518140 w 1888788"/>
                <a:gd name="connsiteY22" fmla="*/ 420641 h 1694229"/>
                <a:gd name="connsiteX23" fmla="*/ 434263 w 1888788"/>
                <a:gd name="connsiteY23" fmla="*/ 447350 h 1694229"/>
                <a:gd name="connsiteX24" fmla="*/ 401044 w 1888788"/>
                <a:gd name="connsiteY24" fmla="*/ 420298 h 1694229"/>
                <a:gd name="connsiteX25" fmla="*/ 381994 w 1888788"/>
                <a:gd name="connsiteY25" fmla="*/ 358385 h 1694229"/>
                <a:gd name="connsiteX26" fmla="*/ 315319 w 1888788"/>
                <a:gd name="connsiteY26" fmla="*/ 305998 h 1694229"/>
                <a:gd name="connsiteX27" fmla="*/ 270134 w 1888788"/>
                <a:gd name="connsiteY27" fmla="*/ 229110 h 1694229"/>
                <a:gd name="connsiteX28" fmla="*/ 146784 w 1888788"/>
                <a:gd name="connsiteY28" fmla="*/ 258373 h 1694229"/>
                <a:gd name="connsiteX29" fmla="*/ 127734 w 1888788"/>
                <a:gd name="connsiteY29" fmla="*/ 344785 h 1694229"/>
                <a:gd name="connsiteX30" fmla="*/ 145174 w 1888788"/>
                <a:gd name="connsiteY30" fmla="*/ 411312 h 1694229"/>
                <a:gd name="connsiteX31" fmla="*/ 117735 w 1888788"/>
                <a:gd name="connsiteY31" fmla="*/ 446172 h 1694229"/>
                <a:gd name="connsiteX32" fmla="*/ 65347 w 1888788"/>
                <a:gd name="connsiteY32" fmla="*/ 474059 h 1694229"/>
                <a:gd name="connsiteX33" fmla="*/ 37246 w 1888788"/>
                <a:gd name="connsiteY33" fmla="*/ 482063 h 1694229"/>
                <a:gd name="connsiteX34" fmla="*/ 15281 w 1888788"/>
                <a:gd name="connsiteY34" fmla="*/ 520310 h 1694229"/>
                <a:gd name="connsiteX35" fmla="*/ 1469 w 1888788"/>
                <a:gd name="connsiteY35" fmla="*/ 632745 h 1694229"/>
                <a:gd name="connsiteX36" fmla="*/ 51178 w 1888788"/>
                <a:gd name="connsiteY36" fmla="*/ 685967 h 1694229"/>
                <a:gd name="connsiteX37" fmla="*/ 108092 w 1888788"/>
                <a:gd name="connsiteY37" fmla="*/ 681547 h 1694229"/>
                <a:gd name="connsiteX38" fmla="*/ 93804 w 1888788"/>
                <a:gd name="connsiteY38" fmla="*/ 751806 h 1694229"/>
                <a:gd name="connsiteX39" fmla="*/ 148631 w 1888788"/>
                <a:gd name="connsiteY39" fmla="*/ 782248 h 1694229"/>
                <a:gd name="connsiteX40" fmla="*/ 217629 w 1888788"/>
                <a:gd name="connsiteY40" fmla="*/ 792460 h 1694229"/>
                <a:gd name="connsiteX41" fmla="*/ 252932 w 1888788"/>
                <a:gd name="connsiteY41" fmla="*/ 848431 h 1694229"/>
                <a:gd name="connsiteX42" fmla="*/ 252339 w 1888788"/>
                <a:gd name="connsiteY42" fmla="*/ 893503 h 1694229"/>
                <a:gd name="connsiteX43" fmla="*/ 276863 w 1888788"/>
                <a:gd name="connsiteY43" fmla="*/ 932978 h 1694229"/>
                <a:gd name="connsiteX44" fmla="*/ 322521 w 1888788"/>
                <a:gd name="connsiteY44" fmla="*/ 971570 h 1694229"/>
                <a:gd name="connsiteX45" fmla="*/ 407654 w 1888788"/>
                <a:gd name="connsiteY45" fmla="*/ 1025822 h 1694229"/>
                <a:gd name="connsiteX46" fmla="*/ 443431 w 1888788"/>
                <a:gd name="connsiteY46" fmla="*/ 1096915 h 1694229"/>
                <a:gd name="connsiteX47" fmla="*/ 422534 w 1888788"/>
                <a:gd name="connsiteY47" fmla="*/ 1166488 h 1694229"/>
                <a:gd name="connsiteX48" fmla="*/ 500581 w 1888788"/>
                <a:gd name="connsiteY48" fmla="*/ 1222951 h 1694229"/>
                <a:gd name="connsiteX49" fmla="*/ 572613 w 1888788"/>
                <a:gd name="connsiteY49" fmla="*/ 1255945 h 1694229"/>
                <a:gd name="connsiteX50" fmla="*/ 553444 w 1888788"/>
                <a:gd name="connsiteY50" fmla="*/ 1315648 h 1694229"/>
                <a:gd name="connsiteX51" fmla="*/ 643931 w 1888788"/>
                <a:gd name="connsiteY51" fmla="*/ 1468048 h 1694229"/>
                <a:gd name="connsiteX52" fmla="*/ 736741 w 1888788"/>
                <a:gd name="connsiteY52" fmla="*/ 1541202 h 1694229"/>
                <a:gd name="connsiteX53" fmla="*/ 786806 w 1888788"/>
                <a:gd name="connsiteY53" fmla="*/ 1491860 h 1694229"/>
                <a:gd name="connsiteX54" fmla="*/ 851396 w 1888788"/>
                <a:gd name="connsiteY54" fmla="*/ 1519257 h 1694229"/>
                <a:gd name="connsiteX55" fmla="*/ 905869 w 1888788"/>
                <a:gd name="connsiteY55" fmla="*/ 1487098 h 1694229"/>
                <a:gd name="connsiteX56" fmla="*/ 922716 w 1888788"/>
                <a:gd name="connsiteY56" fmla="*/ 1444922 h 1694229"/>
                <a:gd name="connsiteX57" fmla="*/ 986593 w 1888788"/>
                <a:gd name="connsiteY57" fmla="*/ 1531334 h 1694229"/>
                <a:gd name="connsiteX58" fmla="*/ 1031660 w 1888788"/>
                <a:gd name="connsiteY58" fmla="*/ 1602428 h 1694229"/>
                <a:gd name="connsiteX59" fmla="*/ 1101606 w 1888788"/>
                <a:gd name="connsiteY59" fmla="*/ 1693947 h 1694229"/>
                <a:gd name="connsiteX60" fmla="*/ 1132504 w 1888788"/>
                <a:gd name="connsiteY60" fmla="*/ 1630856 h 1694229"/>
                <a:gd name="connsiteX61" fmla="*/ 1163163 w 1888788"/>
                <a:gd name="connsiteY61" fmla="*/ 1624376 h 1694229"/>
                <a:gd name="connsiteX62" fmla="*/ 1206262 w 1888788"/>
                <a:gd name="connsiteY62" fmla="*/ 1653639 h 1694229"/>
                <a:gd name="connsiteX63" fmla="*/ 1239837 w 1888788"/>
                <a:gd name="connsiteY63" fmla="*/ 1612985 h 1694229"/>
                <a:gd name="connsiteX64" fmla="*/ 1258658 w 1888788"/>
                <a:gd name="connsiteY64" fmla="*/ 1617602 h 1694229"/>
                <a:gd name="connsiteX65" fmla="*/ 1292700 w 1888788"/>
                <a:gd name="connsiteY65" fmla="*/ 1684079 h 1694229"/>
                <a:gd name="connsiteX66" fmla="*/ 1349256 w 1888788"/>
                <a:gd name="connsiteY66" fmla="*/ 1660610 h 1694229"/>
                <a:gd name="connsiteX67" fmla="*/ 1401288 w 1888788"/>
                <a:gd name="connsiteY67" fmla="*/ 1604489 h 1694229"/>
                <a:gd name="connsiteX68" fmla="*/ 1452065 w 1888788"/>
                <a:gd name="connsiteY68" fmla="*/ 1587946 h 1694229"/>
                <a:gd name="connsiteX69" fmla="*/ 1469744 w 1888788"/>
                <a:gd name="connsiteY69" fmla="*/ 1643768 h 1694229"/>
                <a:gd name="connsiteX70" fmla="*/ 1539639 w 1888788"/>
                <a:gd name="connsiteY70" fmla="*/ 1618090 h 1694229"/>
                <a:gd name="connsiteX71" fmla="*/ 1570417 w 1888788"/>
                <a:gd name="connsiteY71" fmla="*/ 1531334 h 1694229"/>
                <a:gd name="connsiteX72" fmla="*/ 1651853 w 1888788"/>
                <a:gd name="connsiteY72" fmla="*/ 1441192 h 1694229"/>
                <a:gd name="connsiteX73" fmla="*/ 1696444 w 1888788"/>
                <a:gd name="connsiteY73" fmla="*/ 1410062 h 1694229"/>
                <a:gd name="connsiteX74" fmla="*/ 1724813 w 1888788"/>
                <a:gd name="connsiteY74" fmla="*/ 1413357 h 1694229"/>
                <a:gd name="connsiteX75" fmla="*/ 1814608 w 1888788"/>
                <a:gd name="connsiteY75" fmla="*/ 1402749 h 1694229"/>
                <a:gd name="connsiteX76" fmla="*/ 1797524 w 1888788"/>
                <a:gd name="connsiteY76" fmla="*/ 1456313 h 1694229"/>
                <a:gd name="connsiteX77" fmla="*/ 1884978 w 1888788"/>
                <a:gd name="connsiteY77" fmla="*/ 1492399 h 1694229"/>
                <a:gd name="connsiteX78" fmla="*/ 1871943 w 1888788"/>
                <a:gd name="connsiteY78" fmla="*/ 1454448 h 1694229"/>
                <a:gd name="connsiteX79" fmla="*/ 1861403 w 1888788"/>
                <a:gd name="connsiteY79" fmla="*/ 1401373 h 1694229"/>
                <a:gd name="connsiteX80" fmla="*/ 1863844 w 1888788"/>
                <a:gd name="connsiteY80" fmla="*/ 1326546 h 1694229"/>
                <a:gd name="connsiteX81" fmla="*/ 1797946 w 1888788"/>
                <a:gd name="connsiteY81" fmla="*/ 1305140 h 1694229"/>
                <a:gd name="connsiteX82" fmla="*/ 1747763 w 1888788"/>
                <a:gd name="connsiteY82" fmla="*/ 1264979 h 1694229"/>
                <a:gd name="connsiteX83" fmla="*/ 1737459 w 1888788"/>
                <a:gd name="connsiteY83" fmla="*/ 1176356 h 1694229"/>
                <a:gd name="connsiteX84" fmla="*/ 1704241 w 1888788"/>
                <a:gd name="connsiteY84" fmla="*/ 1038783 h 1694229"/>
                <a:gd name="connsiteX85" fmla="*/ 1627446 w 1888788"/>
                <a:gd name="connsiteY85" fmla="*/ 972257 h 1694229"/>
                <a:gd name="connsiteX86" fmla="*/ 1594228 w 1888788"/>
                <a:gd name="connsiteY86" fmla="*/ 917660 h 1694229"/>
                <a:gd name="connsiteX87" fmla="*/ 1544162 w 1888788"/>
                <a:gd name="connsiteY87" fmla="*/ 872587 h 1694229"/>
                <a:gd name="connsiteX88" fmla="*/ 1472251 w 1888788"/>
                <a:gd name="connsiteY88" fmla="*/ 845878 h 1694229"/>
                <a:gd name="connsiteX89" fmla="*/ 1449150 w 1888788"/>
                <a:gd name="connsiteY89" fmla="*/ 823245 h 1694229"/>
                <a:gd name="connsiteX90" fmla="*/ 1477013 w 1888788"/>
                <a:gd name="connsiteY90" fmla="*/ 784801 h 1694229"/>
                <a:gd name="connsiteX91" fmla="*/ 1458319 w 1888788"/>
                <a:gd name="connsiteY91" fmla="*/ 748910 h 1694229"/>
                <a:gd name="connsiteX92" fmla="*/ 1463081 w 1888788"/>
                <a:gd name="connsiteY92" fmla="*/ 725098 h 1694229"/>
                <a:gd name="connsiteX93" fmla="*/ 1488076 w 1888788"/>
                <a:gd name="connsiteY93" fmla="*/ 724035 h 1694229"/>
                <a:gd name="connsiteX94" fmla="*/ 1580416 w 1888788"/>
                <a:gd name="connsiteY94" fmla="*/ 740220 h 1694229"/>
                <a:gd name="connsiteX95" fmla="*/ 1615719 w 1888788"/>
                <a:gd name="connsiteY95" fmla="*/ 683758 h 1694229"/>
                <a:gd name="connsiteX96" fmla="*/ 1603753 w 1888788"/>
                <a:gd name="connsiteY96" fmla="*/ 553648 h 1694229"/>
                <a:gd name="connsiteX97" fmla="*/ 1620956 w 1888788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53444 w 1887825"/>
                <a:gd name="connsiteY50" fmla="*/ 1315648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43931 w 1887825"/>
                <a:gd name="connsiteY51" fmla="*/ 1468048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  <a:gd name="connsiteX0" fmla="*/ 1620956 w 1887825"/>
                <a:gd name="connsiteY0" fmla="*/ 405322 h 1694229"/>
                <a:gd name="connsiteX1" fmla="*/ 1548806 w 1887825"/>
                <a:gd name="connsiteY1" fmla="*/ 372673 h 1694229"/>
                <a:gd name="connsiteX2" fmla="*/ 1458557 w 1887825"/>
                <a:gd name="connsiteY2" fmla="*/ 348860 h 1694229"/>
                <a:gd name="connsiteX3" fmla="*/ 1405237 w 1887825"/>
                <a:gd name="connsiteY3" fmla="*/ 271776 h 1694229"/>
                <a:gd name="connsiteX4" fmla="*/ 1382136 w 1887825"/>
                <a:gd name="connsiteY4" fmla="*/ 169931 h 1694229"/>
                <a:gd name="connsiteX5" fmla="*/ 1346239 w 1887825"/>
                <a:gd name="connsiteY5" fmla="*/ 1869 h 1694229"/>
                <a:gd name="connsiteX6" fmla="*/ 1278870 w 1887825"/>
                <a:gd name="connsiteY6" fmla="*/ 43567 h 1694229"/>
                <a:gd name="connsiteX7" fmla="*/ 1273302 w 1887825"/>
                <a:gd name="connsiteY7" fmla="*/ 101090 h 1694229"/>
                <a:gd name="connsiteX8" fmla="*/ 1257397 w 1887825"/>
                <a:gd name="connsiteY8" fmla="*/ 152303 h 1694229"/>
                <a:gd name="connsiteX9" fmla="*/ 1237872 w 1887825"/>
                <a:gd name="connsiteY9" fmla="*/ 204316 h 1694229"/>
                <a:gd name="connsiteX10" fmla="*/ 1236143 w 1887825"/>
                <a:gd name="connsiteY10" fmla="*/ 273739 h 1694229"/>
                <a:gd name="connsiteX11" fmla="*/ 1163162 w 1887825"/>
                <a:gd name="connsiteY11" fmla="*/ 283903 h 1694229"/>
                <a:gd name="connsiteX12" fmla="*/ 1098809 w 1887825"/>
                <a:gd name="connsiteY12" fmla="*/ 285917 h 1694229"/>
                <a:gd name="connsiteX13" fmla="*/ 1051208 w 1887825"/>
                <a:gd name="connsiteY13" fmla="*/ 346183 h 1694229"/>
                <a:gd name="connsiteX14" fmla="*/ 996593 w 1887825"/>
                <a:gd name="connsiteY14" fmla="*/ 371690 h 1694229"/>
                <a:gd name="connsiteX15" fmla="*/ 943969 w 1887825"/>
                <a:gd name="connsiteY15" fmla="*/ 358385 h 1694229"/>
                <a:gd name="connsiteX16" fmla="*/ 837229 w 1887825"/>
                <a:gd name="connsiteY16" fmla="*/ 376257 h 1694229"/>
                <a:gd name="connsiteX17" fmla="*/ 814246 w 1887825"/>
                <a:gd name="connsiteY17" fmla="*/ 440035 h 1694229"/>
                <a:gd name="connsiteX18" fmla="*/ 797163 w 1887825"/>
                <a:gd name="connsiteY18" fmla="*/ 475926 h 1694229"/>
                <a:gd name="connsiteX19" fmla="*/ 715132 w 1887825"/>
                <a:gd name="connsiteY19" fmla="*/ 494632 h 1694229"/>
                <a:gd name="connsiteX20" fmla="*/ 697320 w 1887825"/>
                <a:gd name="connsiteY20" fmla="*/ 440647 h 1694229"/>
                <a:gd name="connsiteX21" fmla="*/ 653456 w 1887825"/>
                <a:gd name="connsiteY21" fmla="*/ 420298 h 1694229"/>
                <a:gd name="connsiteX22" fmla="*/ 518140 w 1887825"/>
                <a:gd name="connsiteY22" fmla="*/ 420641 h 1694229"/>
                <a:gd name="connsiteX23" fmla="*/ 434263 w 1887825"/>
                <a:gd name="connsiteY23" fmla="*/ 447350 h 1694229"/>
                <a:gd name="connsiteX24" fmla="*/ 401044 w 1887825"/>
                <a:gd name="connsiteY24" fmla="*/ 420298 h 1694229"/>
                <a:gd name="connsiteX25" fmla="*/ 381994 w 1887825"/>
                <a:gd name="connsiteY25" fmla="*/ 358385 h 1694229"/>
                <a:gd name="connsiteX26" fmla="*/ 315319 w 1887825"/>
                <a:gd name="connsiteY26" fmla="*/ 305998 h 1694229"/>
                <a:gd name="connsiteX27" fmla="*/ 270134 w 1887825"/>
                <a:gd name="connsiteY27" fmla="*/ 229110 h 1694229"/>
                <a:gd name="connsiteX28" fmla="*/ 146784 w 1887825"/>
                <a:gd name="connsiteY28" fmla="*/ 258373 h 1694229"/>
                <a:gd name="connsiteX29" fmla="*/ 127734 w 1887825"/>
                <a:gd name="connsiteY29" fmla="*/ 344785 h 1694229"/>
                <a:gd name="connsiteX30" fmla="*/ 145174 w 1887825"/>
                <a:gd name="connsiteY30" fmla="*/ 411312 h 1694229"/>
                <a:gd name="connsiteX31" fmla="*/ 117735 w 1887825"/>
                <a:gd name="connsiteY31" fmla="*/ 446172 h 1694229"/>
                <a:gd name="connsiteX32" fmla="*/ 65347 w 1887825"/>
                <a:gd name="connsiteY32" fmla="*/ 474059 h 1694229"/>
                <a:gd name="connsiteX33" fmla="*/ 37246 w 1887825"/>
                <a:gd name="connsiteY33" fmla="*/ 482063 h 1694229"/>
                <a:gd name="connsiteX34" fmla="*/ 15281 w 1887825"/>
                <a:gd name="connsiteY34" fmla="*/ 520310 h 1694229"/>
                <a:gd name="connsiteX35" fmla="*/ 1469 w 1887825"/>
                <a:gd name="connsiteY35" fmla="*/ 632745 h 1694229"/>
                <a:gd name="connsiteX36" fmla="*/ 51178 w 1887825"/>
                <a:gd name="connsiteY36" fmla="*/ 685967 h 1694229"/>
                <a:gd name="connsiteX37" fmla="*/ 108092 w 1887825"/>
                <a:gd name="connsiteY37" fmla="*/ 681547 h 1694229"/>
                <a:gd name="connsiteX38" fmla="*/ 93804 w 1887825"/>
                <a:gd name="connsiteY38" fmla="*/ 751806 h 1694229"/>
                <a:gd name="connsiteX39" fmla="*/ 148631 w 1887825"/>
                <a:gd name="connsiteY39" fmla="*/ 782248 h 1694229"/>
                <a:gd name="connsiteX40" fmla="*/ 217629 w 1887825"/>
                <a:gd name="connsiteY40" fmla="*/ 792460 h 1694229"/>
                <a:gd name="connsiteX41" fmla="*/ 252932 w 1887825"/>
                <a:gd name="connsiteY41" fmla="*/ 848431 h 1694229"/>
                <a:gd name="connsiteX42" fmla="*/ 252339 w 1887825"/>
                <a:gd name="connsiteY42" fmla="*/ 893503 h 1694229"/>
                <a:gd name="connsiteX43" fmla="*/ 276863 w 1887825"/>
                <a:gd name="connsiteY43" fmla="*/ 932978 h 1694229"/>
                <a:gd name="connsiteX44" fmla="*/ 322521 w 1887825"/>
                <a:gd name="connsiteY44" fmla="*/ 971570 h 1694229"/>
                <a:gd name="connsiteX45" fmla="*/ 407654 w 1887825"/>
                <a:gd name="connsiteY45" fmla="*/ 1025822 h 1694229"/>
                <a:gd name="connsiteX46" fmla="*/ 443431 w 1887825"/>
                <a:gd name="connsiteY46" fmla="*/ 1096915 h 1694229"/>
                <a:gd name="connsiteX47" fmla="*/ 422534 w 1887825"/>
                <a:gd name="connsiteY47" fmla="*/ 1166488 h 1694229"/>
                <a:gd name="connsiteX48" fmla="*/ 500581 w 1887825"/>
                <a:gd name="connsiteY48" fmla="*/ 1222951 h 1694229"/>
                <a:gd name="connsiteX49" fmla="*/ 572613 w 1887825"/>
                <a:gd name="connsiteY49" fmla="*/ 1255945 h 1694229"/>
                <a:gd name="connsiteX50" fmla="*/ 582731 w 1887825"/>
                <a:gd name="connsiteY50" fmla="*/ 1330966 h 1694229"/>
                <a:gd name="connsiteX51" fmla="*/ 651253 w 1887825"/>
                <a:gd name="connsiteY51" fmla="*/ 1450176 h 1694229"/>
                <a:gd name="connsiteX52" fmla="*/ 736741 w 1887825"/>
                <a:gd name="connsiteY52" fmla="*/ 1541202 h 1694229"/>
                <a:gd name="connsiteX53" fmla="*/ 786806 w 1887825"/>
                <a:gd name="connsiteY53" fmla="*/ 1491860 h 1694229"/>
                <a:gd name="connsiteX54" fmla="*/ 851396 w 1887825"/>
                <a:gd name="connsiteY54" fmla="*/ 1519257 h 1694229"/>
                <a:gd name="connsiteX55" fmla="*/ 905869 w 1887825"/>
                <a:gd name="connsiteY55" fmla="*/ 1487098 h 1694229"/>
                <a:gd name="connsiteX56" fmla="*/ 922716 w 1887825"/>
                <a:gd name="connsiteY56" fmla="*/ 1444922 h 1694229"/>
                <a:gd name="connsiteX57" fmla="*/ 986593 w 1887825"/>
                <a:gd name="connsiteY57" fmla="*/ 1531334 h 1694229"/>
                <a:gd name="connsiteX58" fmla="*/ 1031660 w 1887825"/>
                <a:gd name="connsiteY58" fmla="*/ 1602428 h 1694229"/>
                <a:gd name="connsiteX59" fmla="*/ 1101606 w 1887825"/>
                <a:gd name="connsiteY59" fmla="*/ 1693947 h 1694229"/>
                <a:gd name="connsiteX60" fmla="*/ 1132504 w 1887825"/>
                <a:gd name="connsiteY60" fmla="*/ 1630856 h 1694229"/>
                <a:gd name="connsiteX61" fmla="*/ 1163163 w 1887825"/>
                <a:gd name="connsiteY61" fmla="*/ 1624376 h 1694229"/>
                <a:gd name="connsiteX62" fmla="*/ 1206262 w 1887825"/>
                <a:gd name="connsiteY62" fmla="*/ 1653639 h 1694229"/>
                <a:gd name="connsiteX63" fmla="*/ 1239837 w 1887825"/>
                <a:gd name="connsiteY63" fmla="*/ 1612985 h 1694229"/>
                <a:gd name="connsiteX64" fmla="*/ 1258658 w 1887825"/>
                <a:gd name="connsiteY64" fmla="*/ 1617602 h 1694229"/>
                <a:gd name="connsiteX65" fmla="*/ 1292700 w 1887825"/>
                <a:gd name="connsiteY65" fmla="*/ 1684079 h 1694229"/>
                <a:gd name="connsiteX66" fmla="*/ 1349256 w 1887825"/>
                <a:gd name="connsiteY66" fmla="*/ 1660610 h 1694229"/>
                <a:gd name="connsiteX67" fmla="*/ 1401288 w 1887825"/>
                <a:gd name="connsiteY67" fmla="*/ 1604489 h 1694229"/>
                <a:gd name="connsiteX68" fmla="*/ 1452065 w 1887825"/>
                <a:gd name="connsiteY68" fmla="*/ 1587946 h 1694229"/>
                <a:gd name="connsiteX69" fmla="*/ 1469744 w 1887825"/>
                <a:gd name="connsiteY69" fmla="*/ 1643768 h 1694229"/>
                <a:gd name="connsiteX70" fmla="*/ 1539639 w 1887825"/>
                <a:gd name="connsiteY70" fmla="*/ 1618090 h 1694229"/>
                <a:gd name="connsiteX71" fmla="*/ 1570417 w 1887825"/>
                <a:gd name="connsiteY71" fmla="*/ 1531334 h 1694229"/>
                <a:gd name="connsiteX72" fmla="*/ 1651853 w 1887825"/>
                <a:gd name="connsiteY72" fmla="*/ 1441192 h 1694229"/>
                <a:gd name="connsiteX73" fmla="*/ 1696444 w 1887825"/>
                <a:gd name="connsiteY73" fmla="*/ 1410062 h 1694229"/>
                <a:gd name="connsiteX74" fmla="*/ 1724813 w 1887825"/>
                <a:gd name="connsiteY74" fmla="*/ 1413357 h 1694229"/>
                <a:gd name="connsiteX75" fmla="*/ 1814608 w 1887825"/>
                <a:gd name="connsiteY75" fmla="*/ 1402749 h 1694229"/>
                <a:gd name="connsiteX76" fmla="*/ 1812167 w 1887825"/>
                <a:gd name="connsiteY76" fmla="*/ 1466525 h 1694229"/>
                <a:gd name="connsiteX77" fmla="*/ 1884978 w 1887825"/>
                <a:gd name="connsiteY77" fmla="*/ 1492399 h 1694229"/>
                <a:gd name="connsiteX78" fmla="*/ 1871943 w 1887825"/>
                <a:gd name="connsiteY78" fmla="*/ 1454448 h 1694229"/>
                <a:gd name="connsiteX79" fmla="*/ 1861403 w 1887825"/>
                <a:gd name="connsiteY79" fmla="*/ 1401373 h 1694229"/>
                <a:gd name="connsiteX80" fmla="*/ 1863844 w 1887825"/>
                <a:gd name="connsiteY80" fmla="*/ 1326546 h 1694229"/>
                <a:gd name="connsiteX81" fmla="*/ 1797946 w 1887825"/>
                <a:gd name="connsiteY81" fmla="*/ 1305140 h 1694229"/>
                <a:gd name="connsiteX82" fmla="*/ 1747763 w 1887825"/>
                <a:gd name="connsiteY82" fmla="*/ 1264979 h 1694229"/>
                <a:gd name="connsiteX83" fmla="*/ 1737459 w 1887825"/>
                <a:gd name="connsiteY83" fmla="*/ 1176356 h 1694229"/>
                <a:gd name="connsiteX84" fmla="*/ 1704241 w 1887825"/>
                <a:gd name="connsiteY84" fmla="*/ 1038783 h 1694229"/>
                <a:gd name="connsiteX85" fmla="*/ 1627446 w 1887825"/>
                <a:gd name="connsiteY85" fmla="*/ 972257 h 1694229"/>
                <a:gd name="connsiteX86" fmla="*/ 1594228 w 1887825"/>
                <a:gd name="connsiteY86" fmla="*/ 917660 h 1694229"/>
                <a:gd name="connsiteX87" fmla="*/ 1544162 w 1887825"/>
                <a:gd name="connsiteY87" fmla="*/ 872587 h 1694229"/>
                <a:gd name="connsiteX88" fmla="*/ 1472251 w 1887825"/>
                <a:gd name="connsiteY88" fmla="*/ 845878 h 1694229"/>
                <a:gd name="connsiteX89" fmla="*/ 1449150 w 1887825"/>
                <a:gd name="connsiteY89" fmla="*/ 823245 h 1694229"/>
                <a:gd name="connsiteX90" fmla="*/ 1477013 w 1887825"/>
                <a:gd name="connsiteY90" fmla="*/ 784801 h 1694229"/>
                <a:gd name="connsiteX91" fmla="*/ 1458319 w 1887825"/>
                <a:gd name="connsiteY91" fmla="*/ 748910 h 1694229"/>
                <a:gd name="connsiteX92" fmla="*/ 1463081 w 1887825"/>
                <a:gd name="connsiteY92" fmla="*/ 725098 h 1694229"/>
                <a:gd name="connsiteX93" fmla="*/ 1488076 w 1887825"/>
                <a:gd name="connsiteY93" fmla="*/ 724035 h 1694229"/>
                <a:gd name="connsiteX94" fmla="*/ 1580416 w 1887825"/>
                <a:gd name="connsiteY94" fmla="*/ 740220 h 1694229"/>
                <a:gd name="connsiteX95" fmla="*/ 1615719 w 1887825"/>
                <a:gd name="connsiteY95" fmla="*/ 683758 h 1694229"/>
                <a:gd name="connsiteX96" fmla="*/ 1603753 w 1887825"/>
                <a:gd name="connsiteY96" fmla="*/ 553648 h 1694229"/>
                <a:gd name="connsiteX97" fmla="*/ 1620956 w 1887825"/>
                <a:gd name="connsiteY97" fmla="*/ 405322 h 169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887825" h="1694229">
                  <a:moveTo>
                    <a:pt x="1620956" y="405322"/>
                  </a:moveTo>
                  <a:cubicBezTo>
                    <a:pt x="1611798" y="375160"/>
                    <a:pt x="1575873" y="382083"/>
                    <a:pt x="1548806" y="372673"/>
                  </a:cubicBezTo>
                  <a:cubicBezTo>
                    <a:pt x="1521740" y="363263"/>
                    <a:pt x="1482485" y="365676"/>
                    <a:pt x="1458557" y="348860"/>
                  </a:cubicBezTo>
                  <a:cubicBezTo>
                    <a:pt x="1434629" y="332044"/>
                    <a:pt x="1417974" y="301598"/>
                    <a:pt x="1405237" y="271776"/>
                  </a:cubicBezTo>
                  <a:cubicBezTo>
                    <a:pt x="1392500" y="241954"/>
                    <a:pt x="1391969" y="214915"/>
                    <a:pt x="1382136" y="169931"/>
                  </a:cubicBezTo>
                  <a:cubicBezTo>
                    <a:pt x="1372303" y="124947"/>
                    <a:pt x="1353688" y="-17918"/>
                    <a:pt x="1346239" y="1869"/>
                  </a:cubicBezTo>
                  <a:cubicBezTo>
                    <a:pt x="1338790" y="21656"/>
                    <a:pt x="1288585" y="9160"/>
                    <a:pt x="1278870" y="43567"/>
                  </a:cubicBezTo>
                  <a:cubicBezTo>
                    <a:pt x="1269155" y="77974"/>
                    <a:pt x="1274440" y="66798"/>
                    <a:pt x="1273302" y="101090"/>
                  </a:cubicBezTo>
                  <a:cubicBezTo>
                    <a:pt x="1272164" y="120063"/>
                    <a:pt x="1263302" y="135099"/>
                    <a:pt x="1257397" y="152303"/>
                  </a:cubicBezTo>
                  <a:cubicBezTo>
                    <a:pt x="1251492" y="169507"/>
                    <a:pt x="1241414" y="184077"/>
                    <a:pt x="1237872" y="204316"/>
                  </a:cubicBezTo>
                  <a:cubicBezTo>
                    <a:pt x="1234330" y="224555"/>
                    <a:pt x="1248595" y="260475"/>
                    <a:pt x="1236143" y="273739"/>
                  </a:cubicBezTo>
                  <a:cubicBezTo>
                    <a:pt x="1223691" y="287004"/>
                    <a:pt x="1198254" y="286979"/>
                    <a:pt x="1163162" y="283903"/>
                  </a:cubicBezTo>
                  <a:cubicBezTo>
                    <a:pt x="1128070" y="280827"/>
                    <a:pt x="1117468" y="275537"/>
                    <a:pt x="1098809" y="285917"/>
                  </a:cubicBezTo>
                  <a:cubicBezTo>
                    <a:pt x="1080150" y="296297"/>
                    <a:pt x="1069871" y="341249"/>
                    <a:pt x="1051208" y="346183"/>
                  </a:cubicBezTo>
                  <a:cubicBezTo>
                    <a:pt x="1037427" y="374095"/>
                    <a:pt x="1014466" y="369656"/>
                    <a:pt x="996593" y="371690"/>
                  </a:cubicBezTo>
                  <a:cubicBezTo>
                    <a:pt x="978720" y="373724"/>
                    <a:pt x="975412" y="370390"/>
                    <a:pt x="943969" y="358385"/>
                  </a:cubicBezTo>
                  <a:cubicBezTo>
                    <a:pt x="912526" y="346380"/>
                    <a:pt x="858849" y="362649"/>
                    <a:pt x="837229" y="376257"/>
                  </a:cubicBezTo>
                  <a:cubicBezTo>
                    <a:pt x="815609" y="389865"/>
                    <a:pt x="820924" y="423424"/>
                    <a:pt x="814246" y="440035"/>
                  </a:cubicBezTo>
                  <a:cubicBezTo>
                    <a:pt x="807568" y="456646"/>
                    <a:pt x="813682" y="466827"/>
                    <a:pt x="797163" y="475926"/>
                  </a:cubicBezTo>
                  <a:cubicBezTo>
                    <a:pt x="780644" y="485025"/>
                    <a:pt x="731772" y="500512"/>
                    <a:pt x="715132" y="494632"/>
                  </a:cubicBezTo>
                  <a:cubicBezTo>
                    <a:pt x="698492" y="488752"/>
                    <a:pt x="707599" y="453036"/>
                    <a:pt x="697320" y="440647"/>
                  </a:cubicBezTo>
                  <a:cubicBezTo>
                    <a:pt x="687041" y="428258"/>
                    <a:pt x="683319" y="423632"/>
                    <a:pt x="653456" y="420298"/>
                  </a:cubicBezTo>
                  <a:cubicBezTo>
                    <a:pt x="623593" y="416964"/>
                    <a:pt x="554672" y="416132"/>
                    <a:pt x="518140" y="420641"/>
                  </a:cubicBezTo>
                  <a:cubicBezTo>
                    <a:pt x="481608" y="425150"/>
                    <a:pt x="453779" y="447407"/>
                    <a:pt x="434263" y="447350"/>
                  </a:cubicBezTo>
                  <a:cubicBezTo>
                    <a:pt x="414747" y="447293"/>
                    <a:pt x="409756" y="435126"/>
                    <a:pt x="401044" y="420298"/>
                  </a:cubicBezTo>
                  <a:cubicBezTo>
                    <a:pt x="392332" y="405470"/>
                    <a:pt x="396281" y="377435"/>
                    <a:pt x="381994" y="358385"/>
                  </a:cubicBezTo>
                  <a:cubicBezTo>
                    <a:pt x="367706" y="339335"/>
                    <a:pt x="333962" y="327544"/>
                    <a:pt x="315319" y="305998"/>
                  </a:cubicBezTo>
                  <a:cubicBezTo>
                    <a:pt x="296676" y="284452"/>
                    <a:pt x="298223" y="237047"/>
                    <a:pt x="270134" y="229110"/>
                  </a:cubicBezTo>
                  <a:cubicBezTo>
                    <a:pt x="242045" y="221173"/>
                    <a:pt x="170517" y="239094"/>
                    <a:pt x="146784" y="258373"/>
                  </a:cubicBezTo>
                  <a:cubicBezTo>
                    <a:pt x="123051" y="277652"/>
                    <a:pt x="128002" y="319295"/>
                    <a:pt x="127734" y="344785"/>
                  </a:cubicBezTo>
                  <a:cubicBezTo>
                    <a:pt x="127466" y="370275"/>
                    <a:pt x="146840" y="394414"/>
                    <a:pt x="145174" y="411312"/>
                  </a:cubicBezTo>
                  <a:cubicBezTo>
                    <a:pt x="143508" y="428210"/>
                    <a:pt x="131040" y="435714"/>
                    <a:pt x="117735" y="446172"/>
                  </a:cubicBezTo>
                  <a:cubicBezTo>
                    <a:pt x="104431" y="456630"/>
                    <a:pt x="78762" y="468077"/>
                    <a:pt x="65347" y="474059"/>
                  </a:cubicBezTo>
                  <a:cubicBezTo>
                    <a:pt x="51932" y="480041"/>
                    <a:pt x="45590" y="474355"/>
                    <a:pt x="37246" y="482063"/>
                  </a:cubicBezTo>
                  <a:cubicBezTo>
                    <a:pt x="28902" y="489771"/>
                    <a:pt x="21244" y="495196"/>
                    <a:pt x="15281" y="520310"/>
                  </a:cubicBezTo>
                  <a:cubicBezTo>
                    <a:pt x="9318" y="545424"/>
                    <a:pt x="-4514" y="605136"/>
                    <a:pt x="1469" y="632745"/>
                  </a:cubicBezTo>
                  <a:cubicBezTo>
                    <a:pt x="7452" y="660354"/>
                    <a:pt x="33408" y="677833"/>
                    <a:pt x="51178" y="685967"/>
                  </a:cubicBezTo>
                  <a:cubicBezTo>
                    <a:pt x="68948" y="694101"/>
                    <a:pt x="100988" y="670574"/>
                    <a:pt x="108092" y="681547"/>
                  </a:cubicBezTo>
                  <a:cubicBezTo>
                    <a:pt x="115196" y="692520"/>
                    <a:pt x="87047" y="735022"/>
                    <a:pt x="93804" y="751806"/>
                  </a:cubicBezTo>
                  <a:cubicBezTo>
                    <a:pt x="100561" y="768590"/>
                    <a:pt x="127994" y="775472"/>
                    <a:pt x="148631" y="782248"/>
                  </a:cubicBezTo>
                  <a:cubicBezTo>
                    <a:pt x="169268" y="789024"/>
                    <a:pt x="200246" y="781430"/>
                    <a:pt x="217629" y="792460"/>
                  </a:cubicBezTo>
                  <a:cubicBezTo>
                    <a:pt x="235013" y="803491"/>
                    <a:pt x="247147" y="831591"/>
                    <a:pt x="252932" y="848431"/>
                  </a:cubicBezTo>
                  <a:cubicBezTo>
                    <a:pt x="258717" y="865271"/>
                    <a:pt x="248351" y="879412"/>
                    <a:pt x="252339" y="893503"/>
                  </a:cubicBezTo>
                  <a:cubicBezTo>
                    <a:pt x="256327" y="907594"/>
                    <a:pt x="265166" y="919967"/>
                    <a:pt x="276863" y="932978"/>
                  </a:cubicBezTo>
                  <a:cubicBezTo>
                    <a:pt x="288560" y="945989"/>
                    <a:pt x="300723" y="956096"/>
                    <a:pt x="322521" y="971570"/>
                  </a:cubicBezTo>
                  <a:cubicBezTo>
                    <a:pt x="344320" y="987044"/>
                    <a:pt x="387502" y="1004931"/>
                    <a:pt x="407654" y="1025822"/>
                  </a:cubicBezTo>
                  <a:cubicBezTo>
                    <a:pt x="427806" y="1046713"/>
                    <a:pt x="440951" y="1073471"/>
                    <a:pt x="443431" y="1096915"/>
                  </a:cubicBezTo>
                  <a:cubicBezTo>
                    <a:pt x="445911" y="1120359"/>
                    <a:pt x="413009" y="1145482"/>
                    <a:pt x="422534" y="1166488"/>
                  </a:cubicBezTo>
                  <a:cubicBezTo>
                    <a:pt x="432059" y="1187494"/>
                    <a:pt x="475568" y="1208042"/>
                    <a:pt x="500581" y="1222951"/>
                  </a:cubicBezTo>
                  <a:cubicBezTo>
                    <a:pt x="525594" y="1237860"/>
                    <a:pt x="558921" y="1237943"/>
                    <a:pt x="572613" y="1255945"/>
                  </a:cubicBezTo>
                  <a:cubicBezTo>
                    <a:pt x="586305" y="1273947"/>
                    <a:pt x="579387" y="1290935"/>
                    <a:pt x="582731" y="1330966"/>
                  </a:cubicBezTo>
                  <a:cubicBezTo>
                    <a:pt x="586075" y="1370997"/>
                    <a:pt x="625585" y="1415137"/>
                    <a:pt x="651253" y="1450176"/>
                  </a:cubicBezTo>
                  <a:cubicBezTo>
                    <a:pt x="676921" y="1485215"/>
                    <a:pt x="714149" y="1534255"/>
                    <a:pt x="736741" y="1541202"/>
                  </a:cubicBezTo>
                  <a:cubicBezTo>
                    <a:pt x="759333" y="1548149"/>
                    <a:pt x="767697" y="1495518"/>
                    <a:pt x="786806" y="1491860"/>
                  </a:cubicBezTo>
                  <a:cubicBezTo>
                    <a:pt x="805915" y="1488203"/>
                    <a:pt x="831552" y="1520051"/>
                    <a:pt x="851396" y="1519257"/>
                  </a:cubicBezTo>
                  <a:cubicBezTo>
                    <a:pt x="871240" y="1518463"/>
                    <a:pt x="893982" y="1499487"/>
                    <a:pt x="905869" y="1487098"/>
                  </a:cubicBezTo>
                  <a:cubicBezTo>
                    <a:pt x="917756" y="1474709"/>
                    <a:pt x="877533" y="1437549"/>
                    <a:pt x="922716" y="1444922"/>
                  </a:cubicBezTo>
                  <a:cubicBezTo>
                    <a:pt x="967899" y="1452295"/>
                    <a:pt x="978199" y="1487211"/>
                    <a:pt x="986593" y="1531334"/>
                  </a:cubicBezTo>
                  <a:cubicBezTo>
                    <a:pt x="994987" y="1575457"/>
                    <a:pt x="997847" y="1588092"/>
                    <a:pt x="1031660" y="1602428"/>
                  </a:cubicBezTo>
                  <a:cubicBezTo>
                    <a:pt x="1065473" y="1616764"/>
                    <a:pt x="1084799" y="1689209"/>
                    <a:pt x="1101606" y="1693947"/>
                  </a:cubicBezTo>
                  <a:cubicBezTo>
                    <a:pt x="1118413" y="1698685"/>
                    <a:pt x="1122245" y="1642451"/>
                    <a:pt x="1132504" y="1630856"/>
                  </a:cubicBezTo>
                  <a:cubicBezTo>
                    <a:pt x="1142764" y="1619261"/>
                    <a:pt x="1150870" y="1620579"/>
                    <a:pt x="1163163" y="1624376"/>
                  </a:cubicBezTo>
                  <a:cubicBezTo>
                    <a:pt x="1175456" y="1628173"/>
                    <a:pt x="1193483" y="1655537"/>
                    <a:pt x="1206262" y="1653639"/>
                  </a:cubicBezTo>
                  <a:cubicBezTo>
                    <a:pt x="1219041" y="1651741"/>
                    <a:pt x="1231104" y="1618991"/>
                    <a:pt x="1239837" y="1612985"/>
                  </a:cubicBezTo>
                  <a:cubicBezTo>
                    <a:pt x="1248570" y="1606979"/>
                    <a:pt x="1249848" y="1605753"/>
                    <a:pt x="1258658" y="1617602"/>
                  </a:cubicBezTo>
                  <a:cubicBezTo>
                    <a:pt x="1267468" y="1629451"/>
                    <a:pt x="1277600" y="1676911"/>
                    <a:pt x="1292700" y="1684079"/>
                  </a:cubicBezTo>
                  <a:cubicBezTo>
                    <a:pt x="1307800" y="1691247"/>
                    <a:pt x="1331158" y="1673875"/>
                    <a:pt x="1349256" y="1660610"/>
                  </a:cubicBezTo>
                  <a:cubicBezTo>
                    <a:pt x="1367354" y="1647345"/>
                    <a:pt x="1384153" y="1616600"/>
                    <a:pt x="1401288" y="1604489"/>
                  </a:cubicBezTo>
                  <a:cubicBezTo>
                    <a:pt x="1418423" y="1592378"/>
                    <a:pt x="1440656" y="1581400"/>
                    <a:pt x="1452065" y="1587946"/>
                  </a:cubicBezTo>
                  <a:cubicBezTo>
                    <a:pt x="1463474" y="1594493"/>
                    <a:pt x="1455148" y="1638744"/>
                    <a:pt x="1469744" y="1643768"/>
                  </a:cubicBezTo>
                  <a:cubicBezTo>
                    <a:pt x="1484340" y="1648792"/>
                    <a:pt x="1522860" y="1636829"/>
                    <a:pt x="1539639" y="1618090"/>
                  </a:cubicBezTo>
                  <a:cubicBezTo>
                    <a:pt x="1556418" y="1599351"/>
                    <a:pt x="1551715" y="1560817"/>
                    <a:pt x="1570417" y="1531334"/>
                  </a:cubicBezTo>
                  <a:cubicBezTo>
                    <a:pt x="1589119" y="1501851"/>
                    <a:pt x="1630849" y="1461404"/>
                    <a:pt x="1651853" y="1441192"/>
                  </a:cubicBezTo>
                  <a:cubicBezTo>
                    <a:pt x="1672857" y="1420980"/>
                    <a:pt x="1684284" y="1414701"/>
                    <a:pt x="1696444" y="1410062"/>
                  </a:cubicBezTo>
                  <a:cubicBezTo>
                    <a:pt x="1708604" y="1405423"/>
                    <a:pt x="1715288" y="1414151"/>
                    <a:pt x="1724813" y="1413357"/>
                  </a:cubicBezTo>
                  <a:cubicBezTo>
                    <a:pt x="1734338" y="1412563"/>
                    <a:pt x="1800049" y="1393888"/>
                    <a:pt x="1814608" y="1402749"/>
                  </a:cubicBezTo>
                  <a:cubicBezTo>
                    <a:pt x="1829167" y="1411610"/>
                    <a:pt x="1800439" y="1451583"/>
                    <a:pt x="1812167" y="1466525"/>
                  </a:cubicBezTo>
                  <a:cubicBezTo>
                    <a:pt x="1823895" y="1481467"/>
                    <a:pt x="1875015" y="1494412"/>
                    <a:pt x="1884978" y="1492399"/>
                  </a:cubicBezTo>
                  <a:cubicBezTo>
                    <a:pt x="1894941" y="1490386"/>
                    <a:pt x="1875872" y="1469619"/>
                    <a:pt x="1871943" y="1454448"/>
                  </a:cubicBezTo>
                  <a:cubicBezTo>
                    <a:pt x="1868014" y="1439277"/>
                    <a:pt x="1862753" y="1422690"/>
                    <a:pt x="1861403" y="1401373"/>
                  </a:cubicBezTo>
                  <a:cubicBezTo>
                    <a:pt x="1860053" y="1380056"/>
                    <a:pt x="1874420" y="1342585"/>
                    <a:pt x="1863844" y="1326546"/>
                  </a:cubicBezTo>
                  <a:cubicBezTo>
                    <a:pt x="1853268" y="1310507"/>
                    <a:pt x="1817293" y="1315401"/>
                    <a:pt x="1797946" y="1305140"/>
                  </a:cubicBezTo>
                  <a:cubicBezTo>
                    <a:pt x="1778599" y="1294879"/>
                    <a:pt x="1757844" y="1286443"/>
                    <a:pt x="1747763" y="1264979"/>
                  </a:cubicBezTo>
                  <a:cubicBezTo>
                    <a:pt x="1737682" y="1243515"/>
                    <a:pt x="1744713" y="1214055"/>
                    <a:pt x="1737459" y="1176356"/>
                  </a:cubicBezTo>
                  <a:cubicBezTo>
                    <a:pt x="1730205" y="1138657"/>
                    <a:pt x="1722576" y="1072799"/>
                    <a:pt x="1704241" y="1038783"/>
                  </a:cubicBezTo>
                  <a:cubicBezTo>
                    <a:pt x="1685906" y="1004767"/>
                    <a:pt x="1645781" y="992444"/>
                    <a:pt x="1627446" y="972257"/>
                  </a:cubicBezTo>
                  <a:cubicBezTo>
                    <a:pt x="1609111" y="952070"/>
                    <a:pt x="1608109" y="934272"/>
                    <a:pt x="1594228" y="917660"/>
                  </a:cubicBezTo>
                  <a:cubicBezTo>
                    <a:pt x="1580347" y="901048"/>
                    <a:pt x="1564491" y="884551"/>
                    <a:pt x="1544162" y="872587"/>
                  </a:cubicBezTo>
                  <a:cubicBezTo>
                    <a:pt x="1523833" y="860623"/>
                    <a:pt x="1488086" y="854102"/>
                    <a:pt x="1472251" y="845878"/>
                  </a:cubicBezTo>
                  <a:cubicBezTo>
                    <a:pt x="1456416" y="837654"/>
                    <a:pt x="1448356" y="833425"/>
                    <a:pt x="1449150" y="823245"/>
                  </a:cubicBezTo>
                  <a:cubicBezTo>
                    <a:pt x="1449944" y="813066"/>
                    <a:pt x="1475485" y="797190"/>
                    <a:pt x="1477013" y="784801"/>
                  </a:cubicBezTo>
                  <a:cubicBezTo>
                    <a:pt x="1478541" y="772412"/>
                    <a:pt x="1460641" y="758860"/>
                    <a:pt x="1458319" y="748910"/>
                  </a:cubicBezTo>
                  <a:cubicBezTo>
                    <a:pt x="1455997" y="738960"/>
                    <a:pt x="1458122" y="729244"/>
                    <a:pt x="1463081" y="725098"/>
                  </a:cubicBezTo>
                  <a:cubicBezTo>
                    <a:pt x="1468040" y="720952"/>
                    <a:pt x="1472995" y="717685"/>
                    <a:pt x="1488076" y="724035"/>
                  </a:cubicBezTo>
                  <a:cubicBezTo>
                    <a:pt x="1503157" y="730385"/>
                    <a:pt x="1559142" y="746933"/>
                    <a:pt x="1580416" y="740220"/>
                  </a:cubicBezTo>
                  <a:cubicBezTo>
                    <a:pt x="1601690" y="733507"/>
                    <a:pt x="1608575" y="718683"/>
                    <a:pt x="1615719" y="683758"/>
                  </a:cubicBezTo>
                  <a:cubicBezTo>
                    <a:pt x="1622863" y="648833"/>
                    <a:pt x="1602880" y="600054"/>
                    <a:pt x="1603753" y="553648"/>
                  </a:cubicBezTo>
                  <a:cubicBezTo>
                    <a:pt x="1604626" y="507242"/>
                    <a:pt x="1630114" y="435484"/>
                    <a:pt x="1620956" y="4053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US" sz="1712" b="0" dirty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sp>
          <p:nvSpPr>
            <p:cNvPr id="252" name="Freeform 83"/>
            <p:cNvSpPr>
              <a:spLocks/>
            </p:cNvSpPr>
            <p:nvPr/>
          </p:nvSpPr>
          <p:spPr bwMode="auto">
            <a:xfrm>
              <a:off x="5982244" y="3952287"/>
              <a:ext cx="337295" cy="381610"/>
            </a:xfrm>
            <a:custGeom>
              <a:avLst/>
              <a:gdLst>
                <a:gd name="connsiteX0" fmla="*/ 3440 w 9933"/>
                <a:gd name="connsiteY0" fmla="*/ 9133 h 9898"/>
                <a:gd name="connsiteX1" fmla="*/ 4037 w 9933"/>
                <a:gd name="connsiteY1" fmla="*/ 9439 h 9898"/>
                <a:gd name="connsiteX2" fmla="*/ 4485 w 9933"/>
                <a:gd name="connsiteY2" fmla="*/ 9337 h 9898"/>
                <a:gd name="connsiteX3" fmla="*/ 5381 w 9933"/>
                <a:gd name="connsiteY3" fmla="*/ 9898 h 9898"/>
                <a:gd name="connsiteX4" fmla="*/ 5829 w 9933"/>
                <a:gd name="connsiteY4" fmla="*/ 9745 h 9898"/>
                <a:gd name="connsiteX5" fmla="*/ 6052 w 9933"/>
                <a:gd name="connsiteY5" fmla="*/ 9847 h 9898"/>
                <a:gd name="connsiteX6" fmla="*/ 6724 w 9933"/>
                <a:gd name="connsiteY6" fmla="*/ 9643 h 9898"/>
                <a:gd name="connsiteX7" fmla="*/ 6873 w 9933"/>
                <a:gd name="connsiteY7" fmla="*/ 9745 h 9898"/>
                <a:gd name="connsiteX8" fmla="*/ 7172 w 9933"/>
                <a:gd name="connsiteY8" fmla="*/ 9490 h 9898"/>
                <a:gd name="connsiteX9" fmla="*/ 7620 w 9933"/>
                <a:gd name="connsiteY9" fmla="*/ 9184 h 9898"/>
                <a:gd name="connsiteX10" fmla="*/ 8142 w 9933"/>
                <a:gd name="connsiteY10" fmla="*/ 9184 h 9898"/>
                <a:gd name="connsiteX11" fmla="*/ 8366 w 9933"/>
                <a:gd name="connsiteY11" fmla="*/ 9337 h 9898"/>
                <a:gd name="connsiteX12" fmla="*/ 8217 w 9933"/>
                <a:gd name="connsiteY12" fmla="*/ 8929 h 9898"/>
                <a:gd name="connsiteX13" fmla="*/ 7769 w 9933"/>
                <a:gd name="connsiteY13" fmla="*/ 8469 h 9898"/>
                <a:gd name="connsiteX14" fmla="*/ 7321 w 9933"/>
                <a:gd name="connsiteY14" fmla="*/ 8010 h 9898"/>
                <a:gd name="connsiteX15" fmla="*/ 6724 w 9933"/>
                <a:gd name="connsiteY15" fmla="*/ 7602 h 9898"/>
                <a:gd name="connsiteX16" fmla="*/ 7097 w 9933"/>
                <a:gd name="connsiteY16" fmla="*/ 7449 h 9898"/>
                <a:gd name="connsiteX17" fmla="*/ 7396 w 9933"/>
                <a:gd name="connsiteY17" fmla="*/ 6633 h 9898"/>
                <a:gd name="connsiteX18" fmla="*/ 7396 w 9933"/>
                <a:gd name="connsiteY18" fmla="*/ 6276 h 9898"/>
                <a:gd name="connsiteX19" fmla="*/ 7769 w 9933"/>
                <a:gd name="connsiteY19" fmla="*/ 6276 h 9898"/>
                <a:gd name="connsiteX20" fmla="*/ 7993 w 9933"/>
                <a:gd name="connsiteY20" fmla="*/ 5612 h 9898"/>
                <a:gd name="connsiteX21" fmla="*/ 8590 w 9933"/>
                <a:gd name="connsiteY21" fmla="*/ 5204 h 9898"/>
                <a:gd name="connsiteX22" fmla="*/ 8814 w 9933"/>
                <a:gd name="connsiteY22" fmla="*/ 4439 h 9898"/>
                <a:gd name="connsiteX23" fmla="*/ 8664 w 9933"/>
                <a:gd name="connsiteY23" fmla="*/ 4031 h 9898"/>
                <a:gd name="connsiteX24" fmla="*/ 9037 w 9933"/>
                <a:gd name="connsiteY24" fmla="*/ 3163 h 9898"/>
                <a:gd name="connsiteX25" fmla="*/ 9336 w 9933"/>
                <a:gd name="connsiteY25" fmla="*/ 2908 h 9898"/>
                <a:gd name="connsiteX26" fmla="*/ 9933 w 9933"/>
                <a:gd name="connsiteY26" fmla="*/ 2500 h 9898"/>
                <a:gd name="connsiteX27" fmla="*/ 9709 w 9933"/>
                <a:gd name="connsiteY27" fmla="*/ 2449 h 9898"/>
                <a:gd name="connsiteX28" fmla="*/ 9336 w 9933"/>
                <a:gd name="connsiteY28" fmla="*/ 2194 h 9898"/>
                <a:gd name="connsiteX29" fmla="*/ 9112 w 9933"/>
                <a:gd name="connsiteY29" fmla="*/ 1429 h 9898"/>
                <a:gd name="connsiteX30" fmla="*/ 9112 w 9933"/>
                <a:gd name="connsiteY30" fmla="*/ 1020 h 9898"/>
                <a:gd name="connsiteX31" fmla="*/ 9037 w 9933"/>
                <a:gd name="connsiteY31" fmla="*/ 510 h 9898"/>
                <a:gd name="connsiteX32" fmla="*/ 8814 w 9933"/>
                <a:gd name="connsiteY32" fmla="*/ 357 h 9898"/>
                <a:gd name="connsiteX33" fmla="*/ 8440 w 9933"/>
                <a:gd name="connsiteY33" fmla="*/ 153 h 9898"/>
                <a:gd name="connsiteX34" fmla="*/ 8217 w 9933"/>
                <a:gd name="connsiteY34" fmla="*/ 0 h 9898"/>
                <a:gd name="connsiteX35" fmla="*/ 7769 w 9933"/>
                <a:gd name="connsiteY35" fmla="*/ 204 h 9898"/>
                <a:gd name="connsiteX36" fmla="*/ 7321 w 9933"/>
                <a:gd name="connsiteY36" fmla="*/ 510 h 9898"/>
                <a:gd name="connsiteX37" fmla="*/ 6724 w 9933"/>
                <a:gd name="connsiteY37" fmla="*/ 510 h 9898"/>
                <a:gd name="connsiteX38" fmla="*/ 5679 w 9933"/>
                <a:gd name="connsiteY38" fmla="*/ 510 h 9898"/>
                <a:gd name="connsiteX39" fmla="*/ 5679 w 9933"/>
                <a:gd name="connsiteY39" fmla="*/ 459 h 9898"/>
                <a:gd name="connsiteX40" fmla="*/ 5605 w 9933"/>
                <a:gd name="connsiteY40" fmla="*/ 510 h 9898"/>
                <a:gd name="connsiteX41" fmla="*/ 1948 w 9933"/>
                <a:gd name="connsiteY41" fmla="*/ 510 h 9898"/>
                <a:gd name="connsiteX42" fmla="*/ 1948 w 9933"/>
                <a:gd name="connsiteY42" fmla="*/ 1582 h 9898"/>
                <a:gd name="connsiteX43" fmla="*/ 1276 w 9933"/>
                <a:gd name="connsiteY43" fmla="*/ 1582 h 9898"/>
                <a:gd name="connsiteX44" fmla="*/ 1276 w 9933"/>
                <a:gd name="connsiteY44" fmla="*/ 1786 h 9898"/>
                <a:gd name="connsiteX45" fmla="*/ 1276 w 9933"/>
                <a:gd name="connsiteY45" fmla="*/ 3622 h 9898"/>
                <a:gd name="connsiteX46" fmla="*/ 1127 w 9933"/>
                <a:gd name="connsiteY46" fmla="*/ 3724 h 9898"/>
                <a:gd name="connsiteX47" fmla="*/ 679 w 9933"/>
                <a:gd name="connsiteY47" fmla="*/ 3929 h 9898"/>
                <a:gd name="connsiteX48" fmla="*/ 605 w 9933"/>
                <a:gd name="connsiteY48" fmla="*/ 4184 h 9898"/>
                <a:gd name="connsiteX49" fmla="*/ 381 w 9933"/>
                <a:gd name="connsiteY49" fmla="*/ 4439 h 9898"/>
                <a:gd name="connsiteX50" fmla="*/ 232 w 9933"/>
                <a:gd name="connsiteY50" fmla="*/ 4847 h 9898"/>
                <a:gd name="connsiteX51" fmla="*/ 8 w 9933"/>
                <a:gd name="connsiteY51" fmla="*/ 5306 h 9898"/>
                <a:gd name="connsiteX52" fmla="*/ 381 w 9933"/>
                <a:gd name="connsiteY52" fmla="*/ 5357 h 9898"/>
                <a:gd name="connsiteX53" fmla="*/ 455 w 9933"/>
                <a:gd name="connsiteY53" fmla="*/ 5765 h 9898"/>
                <a:gd name="connsiteX54" fmla="*/ 679 w 9933"/>
                <a:gd name="connsiteY54" fmla="*/ 6173 h 9898"/>
                <a:gd name="connsiteX55" fmla="*/ 1052 w 9933"/>
                <a:gd name="connsiteY55" fmla="*/ 6990 h 9898"/>
                <a:gd name="connsiteX56" fmla="*/ 1351 w 9933"/>
                <a:gd name="connsiteY56" fmla="*/ 7347 h 9898"/>
                <a:gd name="connsiteX57" fmla="*/ 1948 w 9933"/>
                <a:gd name="connsiteY57" fmla="*/ 7602 h 9898"/>
                <a:gd name="connsiteX58" fmla="*/ 2321 w 9933"/>
                <a:gd name="connsiteY58" fmla="*/ 8010 h 9898"/>
                <a:gd name="connsiteX59" fmla="*/ 2769 w 9933"/>
                <a:gd name="connsiteY59" fmla="*/ 8418 h 9898"/>
                <a:gd name="connsiteX60" fmla="*/ 3067 w 9933"/>
                <a:gd name="connsiteY60" fmla="*/ 8724 h 9898"/>
                <a:gd name="connsiteX61" fmla="*/ 3440 w 9933"/>
                <a:gd name="connsiteY61" fmla="*/ 9133 h 9898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1961 w 10000"/>
                <a:gd name="connsiteY56" fmla="*/ 7680 h 10000"/>
                <a:gd name="connsiteX57" fmla="*/ 2337 w 10000"/>
                <a:gd name="connsiteY57" fmla="*/ 8093 h 10000"/>
                <a:gd name="connsiteX58" fmla="*/ 2788 w 10000"/>
                <a:gd name="connsiteY58" fmla="*/ 8505 h 10000"/>
                <a:gd name="connsiteX59" fmla="*/ 3088 w 10000"/>
                <a:gd name="connsiteY59" fmla="*/ 8814 h 10000"/>
                <a:gd name="connsiteX60" fmla="*/ 3463 w 10000"/>
                <a:gd name="connsiteY60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2788 w 10000"/>
                <a:gd name="connsiteY57" fmla="*/ 8505 h 10000"/>
                <a:gd name="connsiteX58" fmla="*/ 3088 w 10000"/>
                <a:gd name="connsiteY58" fmla="*/ 8814 h 10000"/>
                <a:gd name="connsiteX59" fmla="*/ 3463 w 10000"/>
                <a:gd name="connsiteY59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2337 w 10000"/>
                <a:gd name="connsiteY56" fmla="*/ 8093 h 10000"/>
                <a:gd name="connsiteX57" fmla="*/ 3088 w 10000"/>
                <a:gd name="connsiteY57" fmla="*/ 8814 h 10000"/>
                <a:gd name="connsiteX58" fmla="*/ 3463 w 10000"/>
                <a:gd name="connsiteY58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088 w 10000"/>
                <a:gd name="connsiteY56" fmla="*/ 8814 h 10000"/>
                <a:gd name="connsiteX57" fmla="*/ 3463 w 10000"/>
                <a:gd name="connsiteY57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56" fmla="*/ 3463 w 10000"/>
                <a:gd name="connsiteY56" fmla="*/ 9227 h 10000"/>
                <a:gd name="connsiteX0" fmla="*/ 3463 w 10000"/>
                <a:gd name="connsiteY0" fmla="*/ 9227 h 10000"/>
                <a:gd name="connsiteX1" fmla="*/ 4064 w 10000"/>
                <a:gd name="connsiteY1" fmla="*/ 9536 h 10000"/>
                <a:gd name="connsiteX2" fmla="*/ 4515 w 10000"/>
                <a:gd name="connsiteY2" fmla="*/ 9433 h 10000"/>
                <a:gd name="connsiteX3" fmla="*/ 5417 w 10000"/>
                <a:gd name="connsiteY3" fmla="*/ 10000 h 10000"/>
                <a:gd name="connsiteX4" fmla="*/ 5868 w 10000"/>
                <a:gd name="connsiteY4" fmla="*/ 9845 h 10000"/>
                <a:gd name="connsiteX5" fmla="*/ 6093 w 10000"/>
                <a:gd name="connsiteY5" fmla="*/ 9948 h 10000"/>
                <a:gd name="connsiteX6" fmla="*/ 6769 w 10000"/>
                <a:gd name="connsiteY6" fmla="*/ 9742 h 10000"/>
                <a:gd name="connsiteX7" fmla="*/ 6919 w 10000"/>
                <a:gd name="connsiteY7" fmla="*/ 9845 h 10000"/>
                <a:gd name="connsiteX8" fmla="*/ 7220 w 10000"/>
                <a:gd name="connsiteY8" fmla="*/ 9588 h 10000"/>
                <a:gd name="connsiteX9" fmla="*/ 7671 w 10000"/>
                <a:gd name="connsiteY9" fmla="*/ 9279 h 10000"/>
                <a:gd name="connsiteX10" fmla="*/ 8197 w 10000"/>
                <a:gd name="connsiteY10" fmla="*/ 9279 h 10000"/>
                <a:gd name="connsiteX11" fmla="*/ 8422 w 10000"/>
                <a:gd name="connsiteY11" fmla="*/ 9433 h 10000"/>
                <a:gd name="connsiteX12" fmla="*/ 8272 w 10000"/>
                <a:gd name="connsiteY12" fmla="*/ 9021 h 10000"/>
                <a:gd name="connsiteX13" fmla="*/ 7821 w 10000"/>
                <a:gd name="connsiteY13" fmla="*/ 8556 h 10000"/>
                <a:gd name="connsiteX14" fmla="*/ 7370 w 10000"/>
                <a:gd name="connsiteY14" fmla="*/ 8093 h 10000"/>
                <a:gd name="connsiteX15" fmla="*/ 6769 w 10000"/>
                <a:gd name="connsiteY15" fmla="*/ 7680 h 10000"/>
                <a:gd name="connsiteX16" fmla="*/ 7145 w 10000"/>
                <a:gd name="connsiteY16" fmla="*/ 7526 h 10000"/>
                <a:gd name="connsiteX17" fmla="*/ 7446 w 10000"/>
                <a:gd name="connsiteY17" fmla="*/ 6701 h 10000"/>
                <a:gd name="connsiteX18" fmla="*/ 7446 w 10000"/>
                <a:gd name="connsiteY18" fmla="*/ 6341 h 10000"/>
                <a:gd name="connsiteX19" fmla="*/ 7821 w 10000"/>
                <a:gd name="connsiteY19" fmla="*/ 6341 h 10000"/>
                <a:gd name="connsiteX20" fmla="*/ 8047 w 10000"/>
                <a:gd name="connsiteY20" fmla="*/ 5670 h 10000"/>
                <a:gd name="connsiteX21" fmla="*/ 8648 w 10000"/>
                <a:gd name="connsiteY21" fmla="*/ 5258 h 10000"/>
                <a:gd name="connsiteX22" fmla="*/ 8873 w 10000"/>
                <a:gd name="connsiteY22" fmla="*/ 4485 h 10000"/>
                <a:gd name="connsiteX23" fmla="*/ 8722 w 10000"/>
                <a:gd name="connsiteY23" fmla="*/ 4073 h 10000"/>
                <a:gd name="connsiteX24" fmla="*/ 9098 w 10000"/>
                <a:gd name="connsiteY24" fmla="*/ 3196 h 10000"/>
                <a:gd name="connsiteX25" fmla="*/ 9399 w 10000"/>
                <a:gd name="connsiteY25" fmla="*/ 2938 h 10000"/>
                <a:gd name="connsiteX26" fmla="*/ 10000 w 10000"/>
                <a:gd name="connsiteY26" fmla="*/ 2526 h 10000"/>
                <a:gd name="connsiteX27" fmla="*/ 9774 w 10000"/>
                <a:gd name="connsiteY27" fmla="*/ 2474 h 10000"/>
                <a:gd name="connsiteX28" fmla="*/ 9399 w 10000"/>
                <a:gd name="connsiteY28" fmla="*/ 2217 h 10000"/>
                <a:gd name="connsiteX29" fmla="*/ 9173 w 10000"/>
                <a:gd name="connsiteY29" fmla="*/ 1444 h 10000"/>
                <a:gd name="connsiteX30" fmla="*/ 9173 w 10000"/>
                <a:gd name="connsiteY30" fmla="*/ 1031 h 10000"/>
                <a:gd name="connsiteX31" fmla="*/ 9098 w 10000"/>
                <a:gd name="connsiteY31" fmla="*/ 515 h 10000"/>
                <a:gd name="connsiteX32" fmla="*/ 8873 w 10000"/>
                <a:gd name="connsiteY32" fmla="*/ 361 h 10000"/>
                <a:gd name="connsiteX33" fmla="*/ 8497 w 10000"/>
                <a:gd name="connsiteY33" fmla="*/ 155 h 10000"/>
                <a:gd name="connsiteX34" fmla="*/ 8272 w 10000"/>
                <a:gd name="connsiteY34" fmla="*/ 0 h 10000"/>
                <a:gd name="connsiteX35" fmla="*/ 7821 w 10000"/>
                <a:gd name="connsiteY35" fmla="*/ 206 h 10000"/>
                <a:gd name="connsiteX36" fmla="*/ 7370 w 10000"/>
                <a:gd name="connsiteY36" fmla="*/ 515 h 10000"/>
                <a:gd name="connsiteX37" fmla="*/ 6769 w 10000"/>
                <a:gd name="connsiteY37" fmla="*/ 515 h 10000"/>
                <a:gd name="connsiteX38" fmla="*/ 5717 w 10000"/>
                <a:gd name="connsiteY38" fmla="*/ 515 h 10000"/>
                <a:gd name="connsiteX39" fmla="*/ 5717 w 10000"/>
                <a:gd name="connsiteY39" fmla="*/ 464 h 10000"/>
                <a:gd name="connsiteX40" fmla="*/ 5643 w 10000"/>
                <a:gd name="connsiteY40" fmla="*/ 515 h 10000"/>
                <a:gd name="connsiteX41" fmla="*/ 1961 w 10000"/>
                <a:gd name="connsiteY41" fmla="*/ 515 h 10000"/>
                <a:gd name="connsiteX42" fmla="*/ 1961 w 10000"/>
                <a:gd name="connsiteY42" fmla="*/ 1598 h 10000"/>
                <a:gd name="connsiteX43" fmla="*/ 1285 w 10000"/>
                <a:gd name="connsiteY43" fmla="*/ 1598 h 10000"/>
                <a:gd name="connsiteX44" fmla="*/ 1285 w 10000"/>
                <a:gd name="connsiteY44" fmla="*/ 1804 h 10000"/>
                <a:gd name="connsiteX45" fmla="*/ 1285 w 10000"/>
                <a:gd name="connsiteY45" fmla="*/ 3659 h 10000"/>
                <a:gd name="connsiteX46" fmla="*/ 1135 w 10000"/>
                <a:gd name="connsiteY46" fmla="*/ 3762 h 10000"/>
                <a:gd name="connsiteX47" fmla="*/ 684 w 10000"/>
                <a:gd name="connsiteY47" fmla="*/ 3969 h 10000"/>
                <a:gd name="connsiteX48" fmla="*/ 609 w 10000"/>
                <a:gd name="connsiteY48" fmla="*/ 4227 h 10000"/>
                <a:gd name="connsiteX49" fmla="*/ 384 w 10000"/>
                <a:gd name="connsiteY49" fmla="*/ 4485 h 10000"/>
                <a:gd name="connsiteX50" fmla="*/ 234 w 10000"/>
                <a:gd name="connsiteY50" fmla="*/ 4897 h 10000"/>
                <a:gd name="connsiteX51" fmla="*/ 8 w 10000"/>
                <a:gd name="connsiteY51" fmla="*/ 5361 h 10000"/>
                <a:gd name="connsiteX52" fmla="*/ 384 w 10000"/>
                <a:gd name="connsiteY52" fmla="*/ 5412 h 10000"/>
                <a:gd name="connsiteX53" fmla="*/ 458 w 10000"/>
                <a:gd name="connsiteY53" fmla="*/ 5824 h 10000"/>
                <a:gd name="connsiteX54" fmla="*/ 684 w 10000"/>
                <a:gd name="connsiteY54" fmla="*/ 6237 h 10000"/>
                <a:gd name="connsiteX55" fmla="*/ 1059 w 10000"/>
                <a:gd name="connsiteY55" fmla="*/ 7062 h 10000"/>
                <a:gd name="connsiteX0" fmla="*/ 4064 w 10000"/>
                <a:gd name="connsiteY0" fmla="*/ 9536 h 10000"/>
                <a:gd name="connsiteX1" fmla="*/ 4515 w 10000"/>
                <a:gd name="connsiteY1" fmla="*/ 9433 h 10000"/>
                <a:gd name="connsiteX2" fmla="*/ 5417 w 10000"/>
                <a:gd name="connsiteY2" fmla="*/ 10000 h 10000"/>
                <a:gd name="connsiteX3" fmla="*/ 5868 w 10000"/>
                <a:gd name="connsiteY3" fmla="*/ 9845 h 10000"/>
                <a:gd name="connsiteX4" fmla="*/ 6093 w 10000"/>
                <a:gd name="connsiteY4" fmla="*/ 9948 h 10000"/>
                <a:gd name="connsiteX5" fmla="*/ 6769 w 10000"/>
                <a:gd name="connsiteY5" fmla="*/ 9742 h 10000"/>
                <a:gd name="connsiteX6" fmla="*/ 6919 w 10000"/>
                <a:gd name="connsiteY6" fmla="*/ 9845 h 10000"/>
                <a:gd name="connsiteX7" fmla="*/ 7220 w 10000"/>
                <a:gd name="connsiteY7" fmla="*/ 9588 h 10000"/>
                <a:gd name="connsiteX8" fmla="*/ 7671 w 10000"/>
                <a:gd name="connsiteY8" fmla="*/ 9279 h 10000"/>
                <a:gd name="connsiteX9" fmla="*/ 8197 w 10000"/>
                <a:gd name="connsiteY9" fmla="*/ 9279 h 10000"/>
                <a:gd name="connsiteX10" fmla="*/ 8422 w 10000"/>
                <a:gd name="connsiteY10" fmla="*/ 9433 h 10000"/>
                <a:gd name="connsiteX11" fmla="*/ 8272 w 10000"/>
                <a:gd name="connsiteY11" fmla="*/ 9021 h 10000"/>
                <a:gd name="connsiteX12" fmla="*/ 7821 w 10000"/>
                <a:gd name="connsiteY12" fmla="*/ 8556 h 10000"/>
                <a:gd name="connsiteX13" fmla="*/ 7370 w 10000"/>
                <a:gd name="connsiteY13" fmla="*/ 8093 h 10000"/>
                <a:gd name="connsiteX14" fmla="*/ 6769 w 10000"/>
                <a:gd name="connsiteY14" fmla="*/ 7680 h 10000"/>
                <a:gd name="connsiteX15" fmla="*/ 7145 w 10000"/>
                <a:gd name="connsiteY15" fmla="*/ 7526 h 10000"/>
                <a:gd name="connsiteX16" fmla="*/ 7446 w 10000"/>
                <a:gd name="connsiteY16" fmla="*/ 6701 h 10000"/>
                <a:gd name="connsiteX17" fmla="*/ 7446 w 10000"/>
                <a:gd name="connsiteY17" fmla="*/ 6341 h 10000"/>
                <a:gd name="connsiteX18" fmla="*/ 7821 w 10000"/>
                <a:gd name="connsiteY18" fmla="*/ 6341 h 10000"/>
                <a:gd name="connsiteX19" fmla="*/ 8047 w 10000"/>
                <a:gd name="connsiteY19" fmla="*/ 5670 h 10000"/>
                <a:gd name="connsiteX20" fmla="*/ 8648 w 10000"/>
                <a:gd name="connsiteY20" fmla="*/ 5258 h 10000"/>
                <a:gd name="connsiteX21" fmla="*/ 8873 w 10000"/>
                <a:gd name="connsiteY21" fmla="*/ 4485 h 10000"/>
                <a:gd name="connsiteX22" fmla="*/ 8722 w 10000"/>
                <a:gd name="connsiteY22" fmla="*/ 4073 h 10000"/>
                <a:gd name="connsiteX23" fmla="*/ 9098 w 10000"/>
                <a:gd name="connsiteY23" fmla="*/ 3196 h 10000"/>
                <a:gd name="connsiteX24" fmla="*/ 9399 w 10000"/>
                <a:gd name="connsiteY24" fmla="*/ 2938 h 10000"/>
                <a:gd name="connsiteX25" fmla="*/ 10000 w 10000"/>
                <a:gd name="connsiteY25" fmla="*/ 2526 h 10000"/>
                <a:gd name="connsiteX26" fmla="*/ 9774 w 10000"/>
                <a:gd name="connsiteY26" fmla="*/ 2474 h 10000"/>
                <a:gd name="connsiteX27" fmla="*/ 9399 w 10000"/>
                <a:gd name="connsiteY27" fmla="*/ 2217 h 10000"/>
                <a:gd name="connsiteX28" fmla="*/ 9173 w 10000"/>
                <a:gd name="connsiteY28" fmla="*/ 1444 h 10000"/>
                <a:gd name="connsiteX29" fmla="*/ 9173 w 10000"/>
                <a:gd name="connsiteY29" fmla="*/ 1031 h 10000"/>
                <a:gd name="connsiteX30" fmla="*/ 9098 w 10000"/>
                <a:gd name="connsiteY30" fmla="*/ 515 h 10000"/>
                <a:gd name="connsiteX31" fmla="*/ 8873 w 10000"/>
                <a:gd name="connsiteY31" fmla="*/ 361 h 10000"/>
                <a:gd name="connsiteX32" fmla="*/ 8497 w 10000"/>
                <a:gd name="connsiteY32" fmla="*/ 155 h 10000"/>
                <a:gd name="connsiteX33" fmla="*/ 8272 w 10000"/>
                <a:gd name="connsiteY33" fmla="*/ 0 h 10000"/>
                <a:gd name="connsiteX34" fmla="*/ 7821 w 10000"/>
                <a:gd name="connsiteY34" fmla="*/ 206 h 10000"/>
                <a:gd name="connsiteX35" fmla="*/ 7370 w 10000"/>
                <a:gd name="connsiteY35" fmla="*/ 515 h 10000"/>
                <a:gd name="connsiteX36" fmla="*/ 6769 w 10000"/>
                <a:gd name="connsiteY36" fmla="*/ 515 h 10000"/>
                <a:gd name="connsiteX37" fmla="*/ 5717 w 10000"/>
                <a:gd name="connsiteY37" fmla="*/ 515 h 10000"/>
                <a:gd name="connsiteX38" fmla="*/ 5717 w 10000"/>
                <a:gd name="connsiteY38" fmla="*/ 464 h 10000"/>
                <a:gd name="connsiteX39" fmla="*/ 5643 w 10000"/>
                <a:gd name="connsiteY39" fmla="*/ 515 h 10000"/>
                <a:gd name="connsiteX40" fmla="*/ 1961 w 10000"/>
                <a:gd name="connsiteY40" fmla="*/ 515 h 10000"/>
                <a:gd name="connsiteX41" fmla="*/ 1961 w 10000"/>
                <a:gd name="connsiteY41" fmla="*/ 1598 h 10000"/>
                <a:gd name="connsiteX42" fmla="*/ 1285 w 10000"/>
                <a:gd name="connsiteY42" fmla="*/ 1598 h 10000"/>
                <a:gd name="connsiteX43" fmla="*/ 1285 w 10000"/>
                <a:gd name="connsiteY43" fmla="*/ 1804 h 10000"/>
                <a:gd name="connsiteX44" fmla="*/ 1285 w 10000"/>
                <a:gd name="connsiteY44" fmla="*/ 3659 h 10000"/>
                <a:gd name="connsiteX45" fmla="*/ 1135 w 10000"/>
                <a:gd name="connsiteY45" fmla="*/ 3762 h 10000"/>
                <a:gd name="connsiteX46" fmla="*/ 684 w 10000"/>
                <a:gd name="connsiteY46" fmla="*/ 3969 h 10000"/>
                <a:gd name="connsiteX47" fmla="*/ 609 w 10000"/>
                <a:gd name="connsiteY47" fmla="*/ 4227 h 10000"/>
                <a:gd name="connsiteX48" fmla="*/ 384 w 10000"/>
                <a:gd name="connsiteY48" fmla="*/ 4485 h 10000"/>
                <a:gd name="connsiteX49" fmla="*/ 234 w 10000"/>
                <a:gd name="connsiteY49" fmla="*/ 4897 h 10000"/>
                <a:gd name="connsiteX50" fmla="*/ 8 w 10000"/>
                <a:gd name="connsiteY50" fmla="*/ 5361 h 10000"/>
                <a:gd name="connsiteX51" fmla="*/ 384 w 10000"/>
                <a:gd name="connsiteY51" fmla="*/ 5412 h 10000"/>
                <a:gd name="connsiteX52" fmla="*/ 458 w 10000"/>
                <a:gd name="connsiteY52" fmla="*/ 5824 h 10000"/>
                <a:gd name="connsiteX53" fmla="*/ 684 w 10000"/>
                <a:gd name="connsiteY53" fmla="*/ 6237 h 10000"/>
                <a:gd name="connsiteX54" fmla="*/ 1059 w 10000"/>
                <a:gd name="connsiteY54" fmla="*/ 7062 h 10000"/>
                <a:gd name="connsiteX0" fmla="*/ 4515 w 10000"/>
                <a:gd name="connsiteY0" fmla="*/ 9433 h 10000"/>
                <a:gd name="connsiteX1" fmla="*/ 5417 w 10000"/>
                <a:gd name="connsiteY1" fmla="*/ 10000 h 10000"/>
                <a:gd name="connsiteX2" fmla="*/ 5868 w 10000"/>
                <a:gd name="connsiteY2" fmla="*/ 9845 h 10000"/>
                <a:gd name="connsiteX3" fmla="*/ 6093 w 10000"/>
                <a:gd name="connsiteY3" fmla="*/ 9948 h 10000"/>
                <a:gd name="connsiteX4" fmla="*/ 6769 w 10000"/>
                <a:gd name="connsiteY4" fmla="*/ 9742 h 10000"/>
                <a:gd name="connsiteX5" fmla="*/ 6919 w 10000"/>
                <a:gd name="connsiteY5" fmla="*/ 9845 h 10000"/>
                <a:gd name="connsiteX6" fmla="*/ 7220 w 10000"/>
                <a:gd name="connsiteY6" fmla="*/ 9588 h 10000"/>
                <a:gd name="connsiteX7" fmla="*/ 7671 w 10000"/>
                <a:gd name="connsiteY7" fmla="*/ 9279 h 10000"/>
                <a:gd name="connsiteX8" fmla="*/ 8197 w 10000"/>
                <a:gd name="connsiteY8" fmla="*/ 9279 h 10000"/>
                <a:gd name="connsiteX9" fmla="*/ 8422 w 10000"/>
                <a:gd name="connsiteY9" fmla="*/ 9433 h 10000"/>
                <a:gd name="connsiteX10" fmla="*/ 8272 w 10000"/>
                <a:gd name="connsiteY10" fmla="*/ 9021 h 10000"/>
                <a:gd name="connsiteX11" fmla="*/ 7821 w 10000"/>
                <a:gd name="connsiteY11" fmla="*/ 8556 h 10000"/>
                <a:gd name="connsiteX12" fmla="*/ 7370 w 10000"/>
                <a:gd name="connsiteY12" fmla="*/ 8093 h 10000"/>
                <a:gd name="connsiteX13" fmla="*/ 6769 w 10000"/>
                <a:gd name="connsiteY13" fmla="*/ 7680 h 10000"/>
                <a:gd name="connsiteX14" fmla="*/ 7145 w 10000"/>
                <a:gd name="connsiteY14" fmla="*/ 7526 h 10000"/>
                <a:gd name="connsiteX15" fmla="*/ 7446 w 10000"/>
                <a:gd name="connsiteY15" fmla="*/ 6701 h 10000"/>
                <a:gd name="connsiteX16" fmla="*/ 7446 w 10000"/>
                <a:gd name="connsiteY16" fmla="*/ 6341 h 10000"/>
                <a:gd name="connsiteX17" fmla="*/ 7821 w 10000"/>
                <a:gd name="connsiteY17" fmla="*/ 6341 h 10000"/>
                <a:gd name="connsiteX18" fmla="*/ 8047 w 10000"/>
                <a:gd name="connsiteY18" fmla="*/ 5670 h 10000"/>
                <a:gd name="connsiteX19" fmla="*/ 8648 w 10000"/>
                <a:gd name="connsiteY19" fmla="*/ 5258 h 10000"/>
                <a:gd name="connsiteX20" fmla="*/ 8873 w 10000"/>
                <a:gd name="connsiteY20" fmla="*/ 4485 h 10000"/>
                <a:gd name="connsiteX21" fmla="*/ 8722 w 10000"/>
                <a:gd name="connsiteY21" fmla="*/ 4073 h 10000"/>
                <a:gd name="connsiteX22" fmla="*/ 9098 w 10000"/>
                <a:gd name="connsiteY22" fmla="*/ 3196 h 10000"/>
                <a:gd name="connsiteX23" fmla="*/ 9399 w 10000"/>
                <a:gd name="connsiteY23" fmla="*/ 2938 h 10000"/>
                <a:gd name="connsiteX24" fmla="*/ 10000 w 10000"/>
                <a:gd name="connsiteY24" fmla="*/ 2526 h 10000"/>
                <a:gd name="connsiteX25" fmla="*/ 9774 w 10000"/>
                <a:gd name="connsiteY25" fmla="*/ 2474 h 10000"/>
                <a:gd name="connsiteX26" fmla="*/ 9399 w 10000"/>
                <a:gd name="connsiteY26" fmla="*/ 2217 h 10000"/>
                <a:gd name="connsiteX27" fmla="*/ 9173 w 10000"/>
                <a:gd name="connsiteY27" fmla="*/ 1444 h 10000"/>
                <a:gd name="connsiteX28" fmla="*/ 9173 w 10000"/>
                <a:gd name="connsiteY28" fmla="*/ 1031 h 10000"/>
                <a:gd name="connsiteX29" fmla="*/ 9098 w 10000"/>
                <a:gd name="connsiteY29" fmla="*/ 515 h 10000"/>
                <a:gd name="connsiteX30" fmla="*/ 8873 w 10000"/>
                <a:gd name="connsiteY30" fmla="*/ 361 h 10000"/>
                <a:gd name="connsiteX31" fmla="*/ 8497 w 10000"/>
                <a:gd name="connsiteY31" fmla="*/ 155 h 10000"/>
                <a:gd name="connsiteX32" fmla="*/ 8272 w 10000"/>
                <a:gd name="connsiteY32" fmla="*/ 0 h 10000"/>
                <a:gd name="connsiteX33" fmla="*/ 7821 w 10000"/>
                <a:gd name="connsiteY33" fmla="*/ 206 h 10000"/>
                <a:gd name="connsiteX34" fmla="*/ 7370 w 10000"/>
                <a:gd name="connsiteY34" fmla="*/ 515 h 10000"/>
                <a:gd name="connsiteX35" fmla="*/ 6769 w 10000"/>
                <a:gd name="connsiteY35" fmla="*/ 515 h 10000"/>
                <a:gd name="connsiteX36" fmla="*/ 5717 w 10000"/>
                <a:gd name="connsiteY36" fmla="*/ 515 h 10000"/>
                <a:gd name="connsiteX37" fmla="*/ 5717 w 10000"/>
                <a:gd name="connsiteY37" fmla="*/ 464 h 10000"/>
                <a:gd name="connsiteX38" fmla="*/ 5643 w 10000"/>
                <a:gd name="connsiteY38" fmla="*/ 515 h 10000"/>
                <a:gd name="connsiteX39" fmla="*/ 1961 w 10000"/>
                <a:gd name="connsiteY39" fmla="*/ 515 h 10000"/>
                <a:gd name="connsiteX40" fmla="*/ 1961 w 10000"/>
                <a:gd name="connsiteY40" fmla="*/ 1598 h 10000"/>
                <a:gd name="connsiteX41" fmla="*/ 1285 w 10000"/>
                <a:gd name="connsiteY41" fmla="*/ 1598 h 10000"/>
                <a:gd name="connsiteX42" fmla="*/ 1285 w 10000"/>
                <a:gd name="connsiteY42" fmla="*/ 1804 h 10000"/>
                <a:gd name="connsiteX43" fmla="*/ 1285 w 10000"/>
                <a:gd name="connsiteY43" fmla="*/ 3659 h 10000"/>
                <a:gd name="connsiteX44" fmla="*/ 1135 w 10000"/>
                <a:gd name="connsiteY44" fmla="*/ 3762 h 10000"/>
                <a:gd name="connsiteX45" fmla="*/ 684 w 10000"/>
                <a:gd name="connsiteY45" fmla="*/ 3969 h 10000"/>
                <a:gd name="connsiteX46" fmla="*/ 609 w 10000"/>
                <a:gd name="connsiteY46" fmla="*/ 4227 h 10000"/>
                <a:gd name="connsiteX47" fmla="*/ 384 w 10000"/>
                <a:gd name="connsiteY47" fmla="*/ 4485 h 10000"/>
                <a:gd name="connsiteX48" fmla="*/ 234 w 10000"/>
                <a:gd name="connsiteY48" fmla="*/ 4897 h 10000"/>
                <a:gd name="connsiteX49" fmla="*/ 8 w 10000"/>
                <a:gd name="connsiteY49" fmla="*/ 5361 h 10000"/>
                <a:gd name="connsiteX50" fmla="*/ 384 w 10000"/>
                <a:gd name="connsiteY50" fmla="*/ 5412 h 10000"/>
                <a:gd name="connsiteX51" fmla="*/ 458 w 10000"/>
                <a:gd name="connsiteY51" fmla="*/ 5824 h 10000"/>
                <a:gd name="connsiteX52" fmla="*/ 684 w 10000"/>
                <a:gd name="connsiteY52" fmla="*/ 6237 h 10000"/>
                <a:gd name="connsiteX53" fmla="*/ 1059 w 10000"/>
                <a:gd name="connsiteY53" fmla="*/ 7062 h 10000"/>
                <a:gd name="connsiteX0" fmla="*/ 5417 w 10000"/>
                <a:gd name="connsiteY0" fmla="*/ 10000 h 10000"/>
                <a:gd name="connsiteX1" fmla="*/ 5868 w 10000"/>
                <a:gd name="connsiteY1" fmla="*/ 9845 h 10000"/>
                <a:gd name="connsiteX2" fmla="*/ 6093 w 10000"/>
                <a:gd name="connsiteY2" fmla="*/ 9948 h 10000"/>
                <a:gd name="connsiteX3" fmla="*/ 6769 w 10000"/>
                <a:gd name="connsiteY3" fmla="*/ 9742 h 10000"/>
                <a:gd name="connsiteX4" fmla="*/ 6919 w 10000"/>
                <a:gd name="connsiteY4" fmla="*/ 9845 h 10000"/>
                <a:gd name="connsiteX5" fmla="*/ 7220 w 10000"/>
                <a:gd name="connsiteY5" fmla="*/ 9588 h 10000"/>
                <a:gd name="connsiteX6" fmla="*/ 7671 w 10000"/>
                <a:gd name="connsiteY6" fmla="*/ 9279 h 10000"/>
                <a:gd name="connsiteX7" fmla="*/ 8197 w 10000"/>
                <a:gd name="connsiteY7" fmla="*/ 9279 h 10000"/>
                <a:gd name="connsiteX8" fmla="*/ 8422 w 10000"/>
                <a:gd name="connsiteY8" fmla="*/ 9433 h 10000"/>
                <a:gd name="connsiteX9" fmla="*/ 8272 w 10000"/>
                <a:gd name="connsiteY9" fmla="*/ 9021 h 10000"/>
                <a:gd name="connsiteX10" fmla="*/ 7821 w 10000"/>
                <a:gd name="connsiteY10" fmla="*/ 8556 h 10000"/>
                <a:gd name="connsiteX11" fmla="*/ 7370 w 10000"/>
                <a:gd name="connsiteY11" fmla="*/ 8093 h 10000"/>
                <a:gd name="connsiteX12" fmla="*/ 6769 w 10000"/>
                <a:gd name="connsiteY12" fmla="*/ 7680 h 10000"/>
                <a:gd name="connsiteX13" fmla="*/ 7145 w 10000"/>
                <a:gd name="connsiteY13" fmla="*/ 7526 h 10000"/>
                <a:gd name="connsiteX14" fmla="*/ 7446 w 10000"/>
                <a:gd name="connsiteY14" fmla="*/ 6701 h 10000"/>
                <a:gd name="connsiteX15" fmla="*/ 7446 w 10000"/>
                <a:gd name="connsiteY15" fmla="*/ 6341 h 10000"/>
                <a:gd name="connsiteX16" fmla="*/ 7821 w 10000"/>
                <a:gd name="connsiteY16" fmla="*/ 6341 h 10000"/>
                <a:gd name="connsiteX17" fmla="*/ 8047 w 10000"/>
                <a:gd name="connsiteY17" fmla="*/ 5670 h 10000"/>
                <a:gd name="connsiteX18" fmla="*/ 8648 w 10000"/>
                <a:gd name="connsiteY18" fmla="*/ 5258 h 10000"/>
                <a:gd name="connsiteX19" fmla="*/ 8873 w 10000"/>
                <a:gd name="connsiteY19" fmla="*/ 4485 h 10000"/>
                <a:gd name="connsiteX20" fmla="*/ 8722 w 10000"/>
                <a:gd name="connsiteY20" fmla="*/ 4073 h 10000"/>
                <a:gd name="connsiteX21" fmla="*/ 9098 w 10000"/>
                <a:gd name="connsiteY21" fmla="*/ 3196 h 10000"/>
                <a:gd name="connsiteX22" fmla="*/ 9399 w 10000"/>
                <a:gd name="connsiteY22" fmla="*/ 2938 h 10000"/>
                <a:gd name="connsiteX23" fmla="*/ 10000 w 10000"/>
                <a:gd name="connsiteY23" fmla="*/ 2526 h 10000"/>
                <a:gd name="connsiteX24" fmla="*/ 9774 w 10000"/>
                <a:gd name="connsiteY24" fmla="*/ 2474 h 10000"/>
                <a:gd name="connsiteX25" fmla="*/ 9399 w 10000"/>
                <a:gd name="connsiteY25" fmla="*/ 2217 h 10000"/>
                <a:gd name="connsiteX26" fmla="*/ 9173 w 10000"/>
                <a:gd name="connsiteY26" fmla="*/ 1444 h 10000"/>
                <a:gd name="connsiteX27" fmla="*/ 9173 w 10000"/>
                <a:gd name="connsiteY27" fmla="*/ 1031 h 10000"/>
                <a:gd name="connsiteX28" fmla="*/ 9098 w 10000"/>
                <a:gd name="connsiteY28" fmla="*/ 515 h 10000"/>
                <a:gd name="connsiteX29" fmla="*/ 8873 w 10000"/>
                <a:gd name="connsiteY29" fmla="*/ 361 h 10000"/>
                <a:gd name="connsiteX30" fmla="*/ 8497 w 10000"/>
                <a:gd name="connsiteY30" fmla="*/ 155 h 10000"/>
                <a:gd name="connsiteX31" fmla="*/ 8272 w 10000"/>
                <a:gd name="connsiteY31" fmla="*/ 0 h 10000"/>
                <a:gd name="connsiteX32" fmla="*/ 7821 w 10000"/>
                <a:gd name="connsiteY32" fmla="*/ 206 h 10000"/>
                <a:gd name="connsiteX33" fmla="*/ 7370 w 10000"/>
                <a:gd name="connsiteY33" fmla="*/ 515 h 10000"/>
                <a:gd name="connsiteX34" fmla="*/ 6769 w 10000"/>
                <a:gd name="connsiteY34" fmla="*/ 515 h 10000"/>
                <a:gd name="connsiteX35" fmla="*/ 5717 w 10000"/>
                <a:gd name="connsiteY35" fmla="*/ 515 h 10000"/>
                <a:gd name="connsiteX36" fmla="*/ 5717 w 10000"/>
                <a:gd name="connsiteY36" fmla="*/ 464 h 10000"/>
                <a:gd name="connsiteX37" fmla="*/ 5643 w 10000"/>
                <a:gd name="connsiteY37" fmla="*/ 515 h 10000"/>
                <a:gd name="connsiteX38" fmla="*/ 1961 w 10000"/>
                <a:gd name="connsiteY38" fmla="*/ 515 h 10000"/>
                <a:gd name="connsiteX39" fmla="*/ 1961 w 10000"/>
                <a:gd name="connsiteY39" fmla="*/ 1598 h 10000"/>
                <a:gd name="connsiteX40" fmla="*/ 1285 w 10000"/>
                <a:gd name="connsiteY40" fmla="*/ 1598 h 10000"/>
                <a:gd name="connsiteX41" fmla="*/ 1285 w 10000"/>
                <a:gd name="connsiteY41" fmla="*/ 1804 h 10000"/>
                <a:gd name="connsiteX42" fmla="*/ 1285 w 10000"/>
                <a:gd name="connsiteY42" fmla="*/ 3659 h 10000"/>
                <a:gd name="connsiteX43" fmla="*/ 1135 w 10000"/>
                <a:gd name="connsiteY43" fmla="*/ 3762 h 10000"/>
                <a:gd name="connsiteX44" fmla="*/ 684 w 10000"/>
                <a:gd name="connsiteY44" fmla="*/ 3969 h 10000"/>
                <a:gd name="connsiteX45" fmla="*/ 609 w 10000"/>
                <a:gd name="connsiteY45" fmla="*/ 4227 h 10000"/>
                <a:gd name="connsiteX46" fmla="*/ 384 w 10000"/>
                <a:gd name="connsiteY46" fmla="*/ 4485 h 10000"/>
                <a:gd name="connsiteX47" fmla="*/ 234 w 10000"/>
                <a:gd name="connsiteY47" fmla="*/ 4897 h 10000"/>
                <a:gd name="connsiteX48" fmla="*/ 8 w 10000"/>
                <a:gd name="connsiteY48" fmla="*/ 5361 h 10000"/>
                <a:gd name="connsiteX49" fmla="*/ 384 w 10000"/>
                <a:gd name="connsiteY49" fmla="*/ 5412 h 10000"/>
                <a:gd name="connsiteX50" fmla="*/ 458 w 10000"/>
                <a:gd name="connsiteY50" fmla="*/ 5824 h 10000"/>
                <a:gd name="connsiteX51" fmla="*/ 684 w 10000"/>
                <a:gd name="connsiteY51" fmla="*/ 6237 h 10000"/>
                <a:gd name="connsiteX52" fmla="*/ 1059 w 10000"/>
                <a:gd name="connsiteY52" fmla="*/ 7062 h 10000"/>
                <a:gd name="connsiteX0" fmla="*/ 5868 w 10000"/>
                <a:gd name="connsiteY0" fmla="*/ 9845 h 9986"/>
                <a:gd name="connsiteX1" fmla="*/ 6093 w 10000"/>
                <a:gd name="connsiteY1" fmla="*/ 9948 h 9986"/>
                <a:gd name="connsiteX2" fmla="*/ 6769 w 10000"/>
                <a:gd name="connsiteY2" fmla="*/ 9742 h 9986"/>
                <a:gd name="connsiteX3" fmla="*/ 6919 w 10000"/>
                <a:gd name="connsiteY3" fmla="*/ 9845 h 9986"/>
                <a:gd name="connsiteX4" fmla="*/ 7220 w 10000"/>
                <a:gd name="connsiteY4" fmla="*/ 9588 h 9986"/>
                <a:gd name="connsiteX5" fmla="*/ 7671 w 10000"/>
                <a:gd name="connsiteY5" fmla="*/ 9279 h 9986"/>
                <a:gd name="connsiteX6" fmla="*/ 8197 w 10000"/>
                <a:gd name="connsiteY6" fmla="*/ 9279 h 9986"/>
                <a:gd name="connsiteX7" fmla="*/ 8422 w 10000"/>
                <a:gd name="connsiteY7" fmla="*/ 9433 h 9986"/>
                <a:gd name="connsiteX8" fmla="*/ 8272 w 10000"/>
                <a:gd name="connsiteY8" fmla="*/ 9021 h 9986"/>
                <a:gd name="connsiteX9" fmla="*/ 7821 w 10000"/>
                <a:gd name="connsiteY9" fmla="*/ 8556 h 9986"/>
                <a:gd name="connsiteX10" fmla="*/ 7370 w 10000"/>
                <a:gd name="connsiteY10" fmla="*/ 8093 h 9986"/>
                <a:gd name="connsiteX11" fmla="*/ 6769 w 10000"/>
                <a:gd name="connsiteY11" fmla="*/ 7680 h 9986"/>
                <a:gd name="connsiteX12" fmla="*/ 7145 w 10000"/>
                <a:gd name="connsiteY12" fmla="*/ 7526 h 9986"/>
                <a:gd name="connsiteX13" fmla="*/ 7446 w 10000"/>
                <a:gd name="connsiteY13" fmla="*/ 6701 h 9986"/>
                <a:gd name="connsiteX14" fmla="*/ 7446 w 10000"/>
                <a:gd name="connsiteY14" fmla="*/ 6341 h 9986"/>
                <a:gd name="connsiteX15" fmla="*/ 7821 w 10000"/>
                <a:gd name="connsiteY15" fmla="*/ 6341 h 9986"/>
                <a:gd name="connsiteX16" fmla="*/ 8047 w 10000"/>
                <a:gd name="connsiteY16" fmla="*/ 5670 h 9986"/>
                <a:gd name="connsiteX17" fmla="*/ 8648 w 10000"/>
                <a:gd name="connsiteY17" fmla="*/ 5258 h 9986"/>
                <a:gd name="connsiteX18" fmla="*/ 8873 w 10000"/>
                <a:gd name="connsiteY18" fmla="*/ 4485 h 9986"/>
                <a:gd name="connsiteX19" fmla="*/ 8722 w 10000"/>
                <a:gd name="connsiteY19" fmla="*/ 4073 h 9986"/>
                <a:gd name="connsiteX20" fmla="*/ 9098 w 10000"/>
                <a:gd name="connsiteY20" fmla="*/ 3196 h 9986"/>
                <a:gd name="connsiteX21" fmla="*/ 9399 w 10000"/>
                <a:gd name="connsiteY21" fmla="*/ 2938 h 9986"/>
                <a:gd name="connsiteX22" fmla="*/ 10000 w 10000"/>
                <a:gd name="connsiteY22" fmla="*/ 2526 h 9986"/>
                <a:gd name="connsiteX23" fmla="*/ 9774 w 10000"/>
                <a:gd name="connsiteY23" fmla="*/ 2474 h 9986"/>
                <a:gd name="connsiteX24" fmla="*/ 9399 w 10000"/>
                <a:gd name="connsiteY24" fmla="*/ 2217 h 9986"/>
                <a:gd name="connsiteX25" fmla="*/ 9173 w 10000"/>
                <a:gd name="connsiteY25" fmla="*/ 1444 h 9986"/>
                <a:gd name="connsiteX26" fmla="*/ 9173 w 10000"/>
                <a:gd name="connsiteY26" fmla="*/ 1031 h 9986"/>
                <a:gd name="connsiteX27" fmla="*/ 9098 w 10000"/>
                <a:gd name="connsiteY27" fmla="*/ 515 h 9986"/>
                <a:gd name="connsiteX28" fmla="*/ 8873 w 10000"/>
                <a:gd name="connsiteY28" fmla="*/ 361 h 9986"/>
                <a:gd name="connsiteX29" fmla="*/ 8497 w 10000"/>
                <a:gd name="connsiteY29" fmla="*/ 155 h 9986"/>
                <a:gd name="connsiteX30" fmla="*/ 8272 w 10000"/>
                <a:gd name="connsiteY30" fmla="*/ 0 h 9986"/>
                <a:gd name="connsiteX31" fmla="*/ 7821 w 10000"/>
                <a:gd name="connsiteY31" fmla="*/ 206 h 9986"/>
                <a:gd name="connsiteX32" fmla="*/ 7370 w 10000"/>
                <a:gd name="connsiteY32" fmla="*/ 515 h 9986"/>
                <a:gd name="connsiteX33" fmla="*/ 6769 w 10000"/>
                <a:gd name="connsiteY33" fmla="*/ 515 h 9986"/>
                <a:gd name="connsiteX34" fmla="*/ 5717 w 10000"/>
                <a:gd name="connsiteY34" fmla="*/ 515 h 9986"/>
                <a:gd name="connsiteX35" fmla="*/ 5717 w 10000"/>
                <a:gd name="connsiteY35" fmla="*/ 464 h 9986"/>
                <a:gd name="connsiteX36" fmla="*/ 5643 w 10000"/>
                <a:gd name="connsiteY36" fmla="*/ 515 h 9986"/>
                <a:gd name="connsiteX37" fmla="*/ 1961 w 10000"/>
                <a:gd name="connsiteY37" fmla="*/ 515 h 9986"/>
                <a:gd name="connsiteX38" fmla="*/ 1961 w 10000"/>
                <a:gd name="connsiteY38" fmla="*/ 1598 h 9986"/>
                <a:gd name="connsiteX39" fmla="*/ 1285 w 10000"/>
                <a:gd name="connsiteY39" fmla="*/ 1598 h 9986"/>
                <a:gd name="connsiteX40" fmla="*/ 1285 w 10000"/>
                <a:gd name="connsiteY40" fmla="*/ 1804 h 9986"/>
                <a:gd name="connsiteX41" fmla="*/ 1285 w 10000"/>
                <a:gd name="connsiteY41" fmla="*/ 3659 h 9986"/>
                <a:gd name="connsiteX42" fmla="*/ 1135 w 10000"/>
                <a:gd name="connsiteY42" fmla="*/ 3762 h 9986"/>
                <a:gd name="connsiteX43" fmla="*/ 684 w 10000"/>
                <a:gd name="connsiteY43" fmla="*/ 3969 h 9986"/>
                <a:gd name="connsiteX44" fmla="*/ 609 w 10000"/>
                <a:gd name="connsiteY44" fmla="*/ 4227 h 9986"/>
                <a:gd name="connsiteX45" fmla="*/ 384 w 10000"/>
                <a:gd name="connsiteY45" fmla="*/ 4485 h 9986"/>
                <a:gd name="connsiteX46" fmla="*/ 234 w 10000"/>
                <a:gd name="connsiteY46" fmla="*/ 4897 h 9986"/>
                <a:gd name="connsiteX47" fmla="*/ 8 w 10000"/>
                <a:gd name="connsiteY47" fmla="*/ 5361 h 9986"/>
                <a:gd name="connsiteX48" fmla="*/ 384 w 10000"/>
                <a:gd name="connsiteY48" fmla="*/ 5412 h 9986"/>
                <a:gd name="connsiteX49" fmla="*/ 458 w 10000"/>
                <a:gd name="connsiteY49" fmla="*/ 5824 h 9986"/>
                <a:gd name="connsiteX50" fmla="*/ 684 w 10000"/>
                <a:gd name="connsiteY50" fmla="*/ 6237 h 9986"/>
                <a:gd name="connsiteX51" fmla="*/ 1059 w 10000"/>
                <a:gd name="connsiteY51" fmla="*/ 7062 h 9986"/>
                <a:gd name="connsiteX0" fmla="*/ 6093 w 10000"/>
                <a:gd name="connsiteY0" fmla="*/ 9962 h 10000"/>
                <a:gd name="connsiteX1" fmla="*/ 6769 w 10000"/>
                <a:gd name="connsiteY1" fmla="*/ 9756 h 10000"/>
                <a:gd name="connsiteX2" fmla="*/ 6919 w 10000"/>
                <a:gd name="connsiteY2" fmla="*/ 9859 h 10000"/>
                <a:gd name="connsiteX3" fmla="*/ 7220 w 10000"/>
                <a:gd name="connsiteY3" fmla="*/ 9601 h 10000"/>
                <a:gd name="connsiteX4" fmla="*/ 7671 w 10000"/>
                <a:gd name="connsiteY4" fmla="*/ 9292 h 10000"/>
                <a:gd name="connsiteX5" fmla="*/ 8197 w 10000"/>
                <a:gd name="connsiteY5" fmla="*/ 9292 h 10000"/>
                <a:gd name="connsiteX6" fmla="*/ 8422 w 10000"/>
                <a:gd name="connsiteY6" fmla="*/ 9446 h 10000"/>
                <a:gd name="connsiteX7" fmla="*/ 8272 w 10000"/>
                <a:gd name="connsiteY7" fmla="*/ 9034 h 10000"/>
                <a:gd name="connsiteX8" fmla="*/ 7821 w 10000"/>
                <a:gd name="connsiteY8" fmla="*/ 8568 h 10000"/>
                <a:gd name="connsiteX9" fmla="*/ 7370 w 10000"/>
                <a:gd name="connsiteY9" fmla="*/ 8104 h 10000"/>
                <a:gd name="connsiteX10" fmla="*/ 6769 w 10000"/>
                <a:gd name="connsiteY10" fmla="*/ 7691 h 10000"/>
                <a:gd name="connsiteX11" fmla="*/ 7145 w 10000"/>
                <a:gd name="connsiteY11" fmla="*/ 7537 h 10000"/>
                <a:gd name="connsiteX12" fmla="*/ 7446 w 10000"/>
                <a:gd name="connsiteY12" fmla="*/ 6710 h 10000"/>
                <a:gd name="connsiteX13" fmla="*/ 7446 w 10000"/>
                <a:gd name="connsiteY13" fmla="*/ 6350 h 10000"/>
                <a:gd name="connsiteX14" fmla="*/ 7821 w 10000"/>
                <a:gd name="connsiteY14" fmla="*/ 6350 h 10000"/>
                <a:gd name="connsiteX15" fmla="*/ 8047 w 10000"/>
                <a:gd name="connsiteY15" fmla="*/ 5678 h 10000"/>
                <a:gd name="connsiteX16" fmla="*/ 8648 w 10000"/>
                <a:gd name="connsiteY16" fmla="*/ 5265 h 10000"/>
                <a:gd name="connsiteX17" fmla="*/ 8873 w 10000"/>
                <a:gd name="connsiteY17" fmla="*/ 4491 h 10000"/>
                <a:gd name="connsiteX18" fmla="*/ 8722 w 10000"/>
                <a:gd name="connsiteY18" fmla="*/ 4079 h 10000"/>
                <a:gd name="connsiteX19" fmla="*/ 9098 w 10000"/>
                <a:gd name="connsiteY19" fmla="*/ 3200 h 10000"/>
                <a:gd name="connsiteX20" fmla="*/ 9399 w 10000"/>
                <a:gd name="connsiteY20" fmla="*/ 2942 h 10000"/>
                <a:gd name="connsiteX21" fmla="*/ 10000 w 10000"/>
                <a:gd name="connsiteY21" fmla="*/ 2530 h 10000"/>
                <a:gd name="connsiteX22" fmla="*/ 9774 w 10000"/>
                <a:gd name="connsiteY22" fmla="*/ 2477 h 10000"/>
                <a:gd name="connsiteX23" fmla="*/ 9399 w 10000"/>
                <a:gd name="connsiteY23" fmla="*/ 2220 h 10000"/>
                <a:gd name="connsiteX24" fmla="*/ 9173 w 10000"/>
                <a:gd name="connsiteY24" fmla="*/ 1446 h 10000"/>
                <a:gd name="connsiteX25" fmla="*/ 9173 w 10000"/>
                <a:gd name="connsiteY25" fmla="*/ 1032 h 10000"/>
                <a:gd name="connsiteX26" fmla="*/ 9098 w 10000"/>
                <a:gd name="connsiteY26" fmla="*/ 516 h 10000"/>
                <a:gd name="connsiteX27" fmla="*/ 8873 w 10000"/>
                <a:gd name="connsiteY27" fmla="*/ 362 h 10000"/>
                <a:gd name="connsiteX28" fmla="*/ 8497 w 10000"/>
                <a:gd name="connsiteY28" fmla="*/ 155 h 10000"/>
                <a:gd name="connsiteX29" fmla="*/ 8272 w 10000"/>
                <a:gd name="connsiteY29" fmla="*/ 0 h 10000"/>
                <a:gd name="connsiteX30" fmla="*/ 7821 w 10000"/>
                <a:gd name="connsiteY30" fmla="*/ 206 h 10000"/>
                <a:gd name="connsiteX31" fmla="*/ 7370 w 10000"/>
                <a:gd name="connsiteY31" fmla="*/ 516 h 10000"/>
                <a:gd name="connsiteX32" fmla="*/ 6769 w 10000"/>
                <a:gd name="connsiteY32" fmla="*/ 516 h 10000"/>
                <a:gd name="connsiteX33" fmla="*/ 5717 w 10000"/>
                <a:gd name="connsiteY33" fmla="*/ 516 h 10000"/>
                <a:gd name="connsiteX34" fmla="*/ 5717 w 10000"/>
                <a:gd name="connsiteY34" fmla="*/ 465 h 10000"/>
                <a:gd name="connsiteX35" fmla="*/ 5643 w 10000"/>
                <a:gd name="connsiteY35" fmla="*/ 516 h 10000"/>
                <a:gd name="connsiteX36" fmla="*/ 1961 w 10000"/>
                <a:gd name="connsiteY36" fmla="*/ 516 h 10000"/>
                <a:gd name="connsiteX37" fmla="*/ 1961 w 10000"/>
                <a:gd name="connsiteY37" fmla="*/ 1600 h 10000"/>
                <a:gd name="connsiteX38" fmla="*/ 1285 w 10000"/>
                <a:gd name="connsiteY38" fmla="*/ 1600 h 10000"/>
                <a:gd name="connsiteX39" fmla="*/ 1285 w 10000"/>
                <a:gd name="connsiteY39" fmla="*/ 1807 h 10000"/>
                <a:gd name="connsiteX40" fmla="*/ 1285 w 10000"/>
                <a:gd name="connsiteY40" fmla="*/ 3664 h 10000"/>
                <a:gd name="connsiteX41" fmla="*/ 1135 w 10000"/>
                <a:gd name="connsiteY41" fmla="*/ 3767 h 10000"/>
                <a:gd name="connsiteX42" fmla="*/ 684 w 10000"/>
                <a:gd name="connsiteY42" fmla="*/ 3975 h 10000"/>
                <a:gd name="connsiteX43" fmla="*/ 609 w 10000"/>
                <a:gd name="connsiteY43" fmla="*/ 4233 h 10000"/>
                <a:gd name="connsiteX44" fmla="*/ 384 w 10000"/>
                <a:gd name="connsiteY44" fmla="*/ 4491 h 10000"/>
                <a:gd name="connsiteX45" fmla="*/ 234 w 10000"/>
                <a:gd name="connsiteY45" fmla="*/ 4904 h 10000"/>
                <a:gd name="connsiteX46" fmla="*/ 8 w 10000"/>
                <a:gd name="connsiteY46" fmla="*/ 5369 h 10000"/>
                <a:gd name="connsiteX47" fmla="*/ 384 w 10000"/>
                <a:gd name="connsiteY47" fmla="*/ 5420 h 10000"/>
                <a:gd name="connsiteX48" fmla="*/ 458 w 10000"/>
                <a:gd name="connsiteY48" fmla="*/ 5832 h 10000"/>
                <a:gd name="connsiteX49" fmla="*/ 684 w 10000"/>
                <a:gd name="connsiteY49" fmla="*/ 6246 h 10000"/>
                <a:gd name="connsiteX50" fmla="*/ 1059 w 10000"/>
                <a:gd name="connsiteY50" fmla="*/ 7072 h 10000"/>
                <a:gd name="connsiteX0" fmla="*/ 6769 w 10000"/>
                <a:gd name="connsiteY0" fmla="*/ 9756 h 9859"/>
                <a:gd name="connsiteX1" fmla="*/ 6919 w 10000"/>
                <a:gd name="connsiteY1" fmla="*/ 9859 h 9859"/>
                <a:gd name="connsiteX2" fmla="*/ 7220 w 10000"/>
                <a:gd name="connsiteY2" fmla="*/ 9601 h 9859"/>
                <a:gd name="connsiteX3" fmla="*/ 7671 w 10000"/>
                <a:gd name="connsiteY3" fmla="*/ 9292 h 9859"/>
                <a:gd name="connsiteX4" fmla="*/ 8197 w 10000"/>
                <a:gd name="connsiteY4" fmla="*/ 9292 h 9859"/>
                <a:gd name="connsiteX5" fmla="*/ 8422 w 10000"/>
                <a:gd name="connsiteY5" fmla="*/ 9446 h 9859"/>
                <a:gd name="connsiteX6" fmla="*/ 8272 w 10000"/>
                <a:gd name="connsiteY6" fmla="*/ 9034 h 9859"/>
                <a:gd name="connsiteX7" fmla="*/ 7821 w 10000"/>
                <a:gd name="connsiteY7" fmla="*/ 8568 h 9859"/>
                <a:gd name="connsiteX8" fmla="*/ 7370 w 10000"/>
                <a:gd name="connsiteY8" fmla="*/ 8104 h 9859"/>
                <a:gd name="connsiteX9" fmla="*/ 6769 w 10000"/>
                <a:gd name="connsiteY9" fmla="*/ 7691 h 9859"/>
                <a:gd name="connsiteX10" fmla="*/ 7145 w 10000"/>
                <a:gd name="connsiteY10" fmla="*/ 7537 h 9859"/>
                <a:gd name="connsiteX11" fmla="*/ 7446 w 10000"/>
                <a:gd name="connsiteY11" fmla="*/ 6710 h 9859"/>
                <a:gd name="connsiteX12" fmla="*/ 7446 w 10000"/>
                <a:gd name="connsiteY12" fmla="*/ 6350 h 9859"/>
                <a:gd name="connsiteX13" fmla="*/ 7821 w 10000"/>
                <a:gd name="connsiteY13" fmla="*/ 6350 h 9859"/>
                <a:gd name="connsiteX14" fmla="*/ 8047 w 10000"/>
                <a:gd name="connsiteY14" fmla="*/ 5678 h 9859"/>
                <a:gd name="connsiteX15" fmla="*/ 8648 w 10000"/>
                <a:gd name="connsiteY15" fmla="*/ 5265 h 9859"/>
                <a:gd name="connsiteX16" fmla="*/ 8873 w 10000"/>
                <a:gd name="connsiteY16" fmla="*/ 4491 h 9859"/>
                <a:gd name="connsiteX17" fmla="*/ 8722 w 10000"/>
                <a:gd name="connsiteY17" fmla="*/ 4079 h 9859"/>
                <a:gd name="connsiteX18" fmla="*/ 9098 w 10000"/>
                <a:gd name="connsiteY18" fmla="*/ 3200 h 9859"/>
                <a:gd name="connsiteX19" fmla="*/ 9399 w 10000"/>
                <a:gd name="connsiteY19" fmla="*/ 2942 h 9859"/>
                <a:gd name="connsiteX20" fmla="*/ 10000 w 10000"/>
                <a:gd name="connsiteY20" fmla="*/ 2530 h 9859"/>
                <a:gd name="connsiteX21" fmla="*/ 9774 w 10000"/>
                <a:gd name="connsiteY21" fmla="*/ 2477 h 9859"/>
                <a:gd name="connsiteX22" fmla="*/ 9399 w 10000"/>
                <a:gd name="connsiteY22" fmla="*/ 2220 h 9859"/>
                <a:gd name="connsiteX23" fmla="*/ 9173 w 10000"/>
                <a:gd name="connsiteY23" fmla="*/ 1446 h 9859"/>
                <a:gd name="connsiteX24" fmla="*/ 9173 w 10000"/>
                <a:gd name="connsiteY24" fmla="*/ 1032 h 9859"/>
                <a:gd name="connsiteX25" fmla="*/ 9098 w 10000"/>
                <a:gd name="connsiteY25" fmla="*/ 516 h 9859"/>
                <a:gd name="connsiteX26" fmla="*/ 8873 w 10000"/>
                <a:gd name="connsiteY26" fmla="*/ 362 h 9859"/>
                <a:gd name="connsiteX27" fmla="*/ 8497 w 10000"/>
                <a:gd name="connsiteY27" fmla="*/ 155 h 9859"/>
                <a:gd name="connsiteX28" fmla="*/ 8272 w 10000"/>
                <a:gd name="connsiteY28" fmla="*/ 0 h 9859"/>
                <a:gd name="connsiteX29" fmla="*/ 7821 w 10000"/>
                <a:gd name="connsiteY29" fmla="*/ 206 h 9859"/>
                <a:gd name="connsiteX30" fmla="*/ 7370 w 10000"/>
                <a:gd name="connsiteY30" fmla="*/ 516 h 9859"/>
                <a:gd name="connsiteX31" fmla="*/ 6769 w 10000"/>
                <a:gd name="connsiteY31" fmla="*/ 516 h 9859"/>
                <a:gd name="connsiteX32" fmla="*/ 5717 w 10000"/>
                <a:gd name="connsiteY32" fmla="*/ 516 h 9859"/>
                <a:gd name="connsiteX33" fmla="*/ 5717 w 10000"/>
                <a:gd name="connsiteY33" fmla="*/ 465 h 9859"/>
                <a:gd name="connsiteX34" fmla="*/ 5643 w 10000"/>
                <a:gd name="connsiteY34" fmla="*/ 516 h 9859"/>
                <a:gd name="connsiteX35" fmla="*/ 1961 w 10000"/>
                <a:gd name="connsiteY35" fmla="*/ 516 h 9859"/>
                <a:gd name="connsiteX36" fmla="*/ 1961 w 10000"/>
                <a:gd name="connsiteY36" fmla="*/ 1600 h 9859"/>
                <a:gd name="connsiteX37" fmla="*/ 1285 w 10000"/>
                <a:gd name="connsiteY37" fmla="*/ 1600 h 9859"/>
                <a:gd name="connsiteX38" fmla="*/ 1285 w 10000"/>
                <a:gd name="connsiteY38" fmla="*/ 1807 h 9859"/>
                <a:gd name="connsiteX39" fmla="*/ 1285 w 10000"/>
                <a:gd name="connsiteY39" fmla="*/ 3664 h 9859"/>
                <a:gd name="connsiteX40" fmla="*/ 1135 w 10000"/>
                <a:gd name="connsiteY40" fmla="*/ 3767 h 9859"/>
                <a:gd name="connsiteX41" fmla="*/ 684 w 10000"/>
                <a:gd name="connsiteY41" fmla="*/ 3975 h 9859"/>
                <a:gd name="connsiteX42" fmla="*/ 609 w 10000"/>
                <a:gd name="connsiteY42" fmla="*/ 4233 h 9859"/>
                <a:gd name="connsiteX43" fmla="*/ 384 w 10000"/>
                <a:gd name="connsiteY43" fmla="*/ 4491 h 9859"/>
                <a:gd name="connsiteX44" fmla="*/ 234 w 10000"/>
                <a:gd name="connsiteY44" fmla="*/ 4904 h 9859"/>
                <a:gd name="connsiteX45" fmla="*/ 8 w 10000"/>
                <a:gd name="connsiteY45" fmla="*/ 5369 h 9859"/>
                <a:gd name="connsiteX46" fmla="*/ 384 w 10000"/>
                <a:gd name="connsiteY46" fmla="*/ 5420 h 9859"/>
                <a:gd name="connsiteX47" fmla="*/ 458 w 10000"/>
                <a:gd name="connsiteY47" fmla="*/ 5832 h 9859"/>
                <a:gd name="connsiteX48" fmla="*/ 684 w 10000"/>
                <a:gd name="connsiteY48" fmla="*/ 6246 h 9859"/>
                <a:gd name="connsiteX49" fmla="*/ 1059 w 10000"/>
                <a:gd name="connsiteY49" fmla="*/ 7072 h 9859"/>
                <a:gd name="connsiteX0" fmla="*/ 6919 w 10000"/>
                <a:gd name="connsiteY0" fmla="*/ 10000 h 10000"/>
                <a:gd name="connsiteX1" fmla="*/ 7220 w 10000"/>
                <a:gd name="connsiteY1" fmla="*/ 9738 h 10000"/>
                <a:gd name="connsiteX2" fmla="*/ 7671 w 10000"/>
                <a:gd name="connsiteY2" fmla="*/ 9425 h 10000"/>
                <a:gd name="connsiteX3" fmla="*/ 8197 w 10000"/>
                <a:gd name="connsiteY3" fmla="*/ 9425 h 10000"/>
                <a:gd name="connsiteX4" fmla="*/ 8422 w 10000"/>
                <a:gd name="connsiteY4" fmla="*/ 9581 h 10000"/>
                <a:gd name="connsiteX5" fmla="*/ 8272 w 10000"/>
                <a:gd name="connsiteY5" fmla="*/ 9163 h 10000"/>
                <a:gd name="connsiteX6" fmla="*/ 7821 w 10000"/>
                <a:gd name="connsiteY6" fmla="*/ 8691 h 10000"/>
                <a:gd name="connsiteX7" fmla="*/ 7370 w 10000"/>
                <a:gd name="connsiteY7" fmla="*/ 8220 h 10000"/>
                <a:gd name="connsiteX8" fmla="*/ 6769 w 10000"/>
                <a:gd name="connsiteY8" fmla="*/ 7801 h 10000"/>
                <a:gd name="connsiteX9" fmla="*/ 7145 w 10000"/>
                <a:gd name="connsiteY9" fmla="*/ 7645 h 10000"/>
                <a:gd name="connsiteX10" fmla="*/ 7446 w 10000"/>
                <a:gd name="connsiteY10" fmla="*/ 6806 h 10000"/>
                <a:gd name="connsiteX11" fmla="*/ 7446 w 10000"/>
                <a:gd name="connsiteY11" fmla="*/ 6441 h 10000"/>
                <a:gd name="connsiteX12" fmla="*/ 7821 w 10000"/>
                <a:gd name="connsiteY12" fmla="*/ 6441 h 10000"/>
                <a:gd name="connsiteX13" fmla="*/ 8047 w 10000"/>
                <a:gd name="connsiteY13" fmla="*/ 5759 h 10000"/>
                <a:gd name="connsiteX14" fmla="*/ 8648 w 10000"/>
                <a:gd name="connsiteY14" fmla="*/ 5340 h 10000"/>
                <a:gd name="connsiteX15" fmla="*/ 8873 w 10000"/>
                <a:gd name="connsiteY15" fmla="*/ 4555 h 10000"/>
                <a:gd name="connsiteX16" fmla="*/ 8722 w 10000"/>
                <a:gd name="connsiteY16" fmla="*/ 4137 h 10000"/>
                <a:gd name="connsiteX17" fmla="*/ 9098 w 10000"/>
                <a:gd name="connsiteY17" fmla="*/ 3246 h 10000"/>
                <a:gd name="connsiteX18" fmla="*/ 9399 w 10000"/>
                <a:gd name="connsiteY18" fmla="*/ 2984 h 10000"/>
                <a:gd name="connsiteX19" fmla="*/ 10000 w 10000"/>
                <a:gd name="connsiteY19" fmla="*/ 2566 h 10000"/>
                <a:gd name="connsiteX20" fmla="*/ 9774 w 10000"/>
                <a:gd name="connsiteY20" fmla="*/ 2512 h 10000"/>
                <a:gd name="connsiteX21" fmla="*/ 9399 w 10000"/>
                <a:gd name="connsiteY21" fmla="*/ 2252 h 10000"/>
                <a:gd name="connsiteX22" fmla="*/ 9173 w 10000"/>
                <a:gd name="connsiteY22" fmla="*/ 1467 h 10000"/>
                <a:gd name="connsiteX23" fmla="*/ 9173 w 10000"/>
                <a:gd name="connsiteY23" fmla="*/ 1047 h 10000"/>
                <a:gd name="connsiteX24" fmla="*/ 9098 w 10000"/>
                <a:gd name="connsiteY24" fmla="*/ 523 h 10000"/>
                <a:gd name="connsiteX25" fmla="*/ 8873 w 10000"/>
                <a:gd name="connsiteY25" fmla="*/ 367 h 10000"/>
                <a:gd name="connsiteX26" fmla="*/ 8497 w 10000"/>
                <a:gd name="connsiteY26" fmla="*/ 157 h 10000"/>
                <a:gd name="connsiteX27" fmla="*/ 8272 w 10000"/>
                <a:gd name="connsiteY27" fmla="*/ 0 h 10000"/>
                <a:gd name="connsiteX28" fmla="*/ 7821 w 10000"/>
                <a:gd name="connsiteY28" fmla="*/ 209 h 10000"/>
                <a:gd name="connsiteX29" fmla="*/ 7370 w 10000"/>
                <a:gd name="connsiteY29" fmla="*/ 523 h 10000"/>
                <a:gd name="connsiteX30" fmla="*/ 6769 w 10000"/>
                <a:gd name="connsiteY30" fmla="*/ 523 h 10000"/>
                <a:gd name="connsiteX31" fmla="*/ 5717 w 10000"/>
                <a:gd name="connsiteY31" fmla="*/ 523 h 10000"/>
                <a:gd name="connsiteX32" fmla="*/ 5717 w 10000"/>
                <a:gd name="connsiteY32" fmla="*/ 472 h 10000"/>
                <a:gd name="connsiteX33" fmla="*/ 5643 w 10000"/>
                <a:gd name="connsiteY33" fmla="*/ 523 h 10000"/>
                <a:gd name="connsiteX34" fmla="*/ 1961 w 10000"/>
                <a:gd name="connsiteY34" fmla="*/ 523 h 10000"/>
                <a:gd name="connsiteX35" fmla="*/ 1961 w 10000"/>
                <a:gd name="connsiteY35" fmla="*/ 1623 h 10000"/>
                <a:gd name="connsiteX36" fmla="*/ 1285 w 10000"/>
                <a:gd name="connsiteY36" fmla="*/ 1623 h 10000"/>
                <a:gd name="connsiteX37" fmla="*/ 1285 w 10000"/>
                <a:gd name="connsiteY37" fmla="*/ 1833 h 10000"/>
                <a:gd name="connsiteX38" fmla="*/ 1285 w 10000"/>
                <a:gd name="connsiteY38" fmla="*/ 3716 h 10000"/>
                <a:gd name="connsiteX39" fmla="*/ 1135 w 10000"/>
                <a:gd name="connsiteY39" fmla="*/ 3821 h 10000"/>
                <a:gd name="connsiteX40" fmla="*/ 684 w 10000"/>
                <a:gd name="connsiteY40" fmla="*/ 4032 h 10000"/>
                <a:gd name="connsiteX41" fmla="*/ 609 w 10000"/>
                <a:gd name="connsiteY41" fmla="*/ 4294 h 10000"/>
                <a:gd name="connsiteX42" fmla="*/ 384 w 10000"/>
                <a:gd name="connsiteY42" fmla="*/ 4555 h 10000"/>
                <a:gd name="connsiteX43" fmla="*/ 234 w 10000"/>
                <a:gd name="connsiteY43" fmla="*/ 4974 h 10000"/>
                <a:gd name="connsiteX44" fmla="*/ 8 w 10000"/>
                <a:gd name="connsiteY44" fmla="*/ 5446 h 10000"/>
                <a:gd name="connsiteX45" fmla="*/ 384 w 10000"/>
                <a:gd name="connsiteY45" fmla="*/ 5498 h 10000"/>
                <a:gd name="connsiteX46" fmla="*/ 458 w 10000"/>
                <a:gd name="connsiteY46" fmla="*/ 5915 h 10000"/>
                <a:gd name="connsiteX47" fmla="*/ 684 w 10000"/>
                <a:gd name="connsiteY47" fmla="*/ 6335 h 10000"/>
                <a:gd name="connsiteX48" fmla="*/ 1059 w 10000"/>
                <a:gd name="connsiteY48" fmla="*/ 7173 h 10000"/>
                <a:gd name="connsiteX0" fmla="*/ 7220 w 10000"/>
                <a:gd name="connsiteY0" fmla="*/ 9738 h 9738"/>
                <a:gd name="connsiteX1" fmla="*/ 7671 w 10000"/>
                <a:gd name="connsiteY1" fmla="*/ 9425 h 9738"/>
                <a:gd name="connsiteX2" fmla="*/ 8197 w 10000"/>
                <a:gd name="connsiteY2" fmla="*/ 9425 h 9738"/>
                <a:gd name="connsiteX3" fmla="*/ 8422 w 10000"/>
                <a:gd name="connsiteY3" fmla="*/ 9581 h 9738"/>
                <a:gd name="connsiteX4" fmla="*/ 8272 w 10000"/>
                <a:gd name="connsiteY4" fmla="*/ 9163 h 9738"/>
                <a:gd name="connsiteX5" fmla="*/ 7821 w 10000"/>
                <a:gd name="connsiteY5" fmla="*/ 8691 h 9738"/>
                <a:gd name="connsiteX6" fmla="*/ 7370 w 10000"/>
                <a:gd name="connsiteY6" fmla="*/ 8220 h 9738"/>
                <a:gd name="connsiteX7" fmla="*/ 6769 w 10000"/>
                <a:gd name="connsiteY7" fmla="*/ 7801 h 9738"/>
                <a:gd name="connsiteX8" fmla="*/ 7145 w 10000"/>
                <a:gd name="connsiteY8" fmla="*/ 7645 h 9738"/>
                <a:gd name="connsiteX9" fmla="*/ 7446 w 10000"/>
                <a:gd name="connsiteY9" fmla="*/ 6806 h 9738"/>
                <a:gd name="connsiteX10" fmla="*/ 7446 w 10000"/>
                <a:gd name="connsiteY10" fmla="*/ 6441 h 9738"/>
                <a:gd name="connsiteX11" fmla="*/ 7821 w 10000"/>
                <a:gd name="connsiteY11" fmla="*/ 6441 h 9738"/>
                <a:gd name="connsiteX12" fmla="*/ 8047 w 10000"/>
                <a:gd name="connsiteY12" fmla="*/ 5759 h 9738"/>
                <a:gd name="connsiteX13" fmla="*/ 8648 w 10000"/>
                <a:gd name="connsiteY13" fmla="*/ 5340 h 9738"/>
                <a:gd name="connsiteX14" fmla="*/ 8873 w 10000"/>
                <a:gd name="connsiteY14" fmla="*/ 4555 h 9738"/>
                <a:gd name="connsiteX15" fmla="*/ 8722 w 10000"/>
                <a:gd name="connsiteY15" fmla="*/ 4137 h 9738"/>
                <a:gd name="connsiteX16" fmla="*/ 9098 w 10000"/>
                <a:gd name="connsiteY16" fmla="*/ 3246 h 9738"/>
                <a:gd name="connsiteX17" fmla="*/ 9399 w 10000"/>
                <a:gd name="connsiteY17" fmla="*/ 2984 h 9738"/>
                <a:gd name="connsiteX18" fmla="*/ 10000 w 10000"/>
                <a:gd name="connsiteY18" fmla="*/ 2566 h 9738"/>
                <a:gd name="connsiteX19" fmla="*/ 9774 w 10000"/>
                <a:gd name="connsiteY19" fmla="*/ 2512 h 9738"/>
                <a:gd name="connsiteX20" fmla="*/ 9399 w 10000"/>
                <a:gd name="connsiteY20" fmla="*/ 2252 h 9738"/>
                <a:gd name="connsiteX21" fmla="*/ 9173 w 10000"/>
                <a:gd name="connsiteY21" fmla="*/ 1467 h 9738"/>
                <a:gd name="connsiteX22" fmla="*/ 9173 w 10000"/>
                <a:gd name="connsiteY22" fmla="*/ 1047 h 9738"/>
                <a:gd name="connsiteX23" fmla="*/ 9098 w 10000"/>
                <a:gd name="connsiteY23" fmla="*/ 523 h 9738"/>
                <a:gd name="connsiteX24" fmla="*/ 8873 w 10000"/>
                <a:gd name="connsiteY24" fmla="*/ 367 h 9738"/>
                <a:gd name="connsiteX25" fmla="*/ 8497 w 10000"/>
                <a:gd name="connsiteY25" fmla="*/ 157 h 9738"/>
                <a:gd name="connsiteX26" fmla="*/ 8272 w 10000"/>
                <a:gd name="connsiteY26" fmla="*/ 0 h 9738"/>
                <a:gd name="connsiteX27" fmla="*/ 7821 w 10000"/>
                <a:gd name="connsiteY27" fmla="*/ 209 h 9738"/>
                <a:gd name="connsiteX28" fmla="*/ 7370 w 10000"/>
                <a:gd name="connsiteY28" fmla="*/ 523 h 9738"/>
                <a:gd name="connsiteX29" fmla="*/ 6769 w 10000"/>
                <a:gd name="connsiteY29" fmla="*/ 523 h 9738"/>
                <a:gd name="connsiteX30" fmla="*/ 5717 w 10000"/>
                <a:gd name="connsiteY30" fmla="*/ 523 h 9738"/>
                <a:gd name="connsiteX31" fmla="*/ 5717 w 10000"/>
                <a:gd name="connsiteY31" fmla="*/ 472 h 9738"/>
                <a:gd name="connsiteX32" fmla="*/ 5643 w 10000"/>
                <a:gd name="connsiteY32" fmla="*/ 523 h 9738"/>
                <a:gd name="connsiteX33" fmla="*/ 1961 w 10000"/>
                <a:gd name="connsiteY33" fmla="*/ 523 h 9738"/>
                <a:gd name="connsiteX34" fmla="*/ 1961 w 10000"/>
                <a:gd name="connsiteY34" fmla="*/ 1623 h 9738"/>
                <a:gd name="connsiteX35" fmla="*/ 1285 w 10000"/>
                <a:gd name="connsiteY35" fmla="*/ 1623 h 9738"/>
                <a:gd name="connsiteX36" fmla="*/ 1285 w 10000"/>
                <a:gd name="connsiteY36" fmla="*/ 1833 h 9738"/>
                <a:gd name="connsiteX37" fmla="*/ 1285 w 10000"/>
                <a:gd name="connsiteY37" fmla="*/ 3716 h 9738"/>
                <a:gd name="connsiteX38" fmla="*/ 1135 w 10000"/>
                <a:gd name="connsiteY38" fmla="*/ 3821 h 9738"/>
                <a:gd name="connsiteX39" fmla="*/ 684 w 10000"/>
                <a:gd name="connsiteY39" fmla="*/ 4032 h 9738"/>
                <a:gd name="connsiteX40" fmla="*/ 609 w 10000"/>
                <a:gd name="connsiteY40" fmla="*/ 4294 h 9738"/>
                <a:gd name="connsiteX41" fmla="*/ 384 w 10000"/>
                <a:gd name="connsiteY41" fmla="*/ 4555 h 9738"/>
                <a:gd name="connsiteX42" fmla="*/ 234 w 10000"/>
                <a:gd name="connsiteY42" fmla="*/ 4974 h 9738"/>
                <a:gd name="connsiteX43" fmla="*/ 8 w 10000"/>
                <a:gd name="connsiteY43" fmla="*/ 5446 h 9738"/>
                <a:gd name="connsiteX44" fmla="*/ 384 w 10000"/>
                <a:gd name="connsiteY44" fmla="*/ 5498 h 9738"/>
                <a:gd name="connsiteX45" fmla="*/ 458 w 10000"/>
                <a:gd name="connsiteY45" fmla="*/ 5915 h 9738"/>
                <a:gd name="connsiteX46" fmla="*/ 684 w 10000"/>
                <a:gd name="connsiteY46" fmla="*/ 6335 h 9738"/>
                <a:gd name="connsiteX47" fmla="*/ 1059 w 10000"/>
                <a:gd name="connsiteY47" fmla="*/ 7173 h 9738"/>
                <a:gd name="connsiteX0" fmla="*/ 7671 w 10000"/>
                <a:gd name="connsiteY0" fmla="*/ 9679 h 9839"/>
                <a:gd name="connsiteX1" fmla="*/ 8197 w 10000"/>
                <a:gd name="connsiteY1" fmla="*/ 9679 h 9839"/>
                <a:gd name="connsiteX2" fmla="*/ 8422 w 10000"/>
                <a:gd name="connsiteY2" fmla="*/ 9839 h 9839"/>
                <a:gd name="connsiteX3" fmla="*/ 8272 w 10000"/>
                <a:gd name="connsiteY3" fmla="*/ 9410 h 9839"/>
                <a:gd name="connsiteX4" fmla="*/ 7821 w 10000"/>
                <a:gd name="connsiteY4" fmla="*/ 8925 h 9839"/>
                <a:gd name="connsiteX5" fmla="*/ 7370 w 10000"/>
                <a:gd name="connsiteY5" fmla="*/ 8441 h 9839"/>
                <a:gd name="connsiteX6" fmla="*/ 6769 w 10000"/>
                <a:gd name="connsiteY6" fmla="*/ 8011 h 9839"/>
                <a:gd name="connsiteX7" fmla="*/ 7145 w 10000"/>
                <a:gd name="connsiteY7" fmla="*/ 7851 h 9839"/>
                <a:gd name="connsiteX8" fmla="*/ 7446 w 10000"/>
                <a:gd name="connsiteY8" fmla="*/ 6989 h 9839"/>
                <a:gd name="connsiteX9" fmla="*/ 7446 w 10000"/>
                <a:gd name="connsiteY9" fmla="*/ 6614 h 9839"/>
                <a:gd name="connsiteX10" fmla="*/ 7821 w 10000"/>
                <a:gd name="connsiteY10" fmla="*/ 6614 h 9839"/>
                <a:gd name="connsiteX11" fmla="*/ 8047 w 10000"/>
                <a:gd name="connsiteY11" fmla="*/ 5914 h 9839"/>
                <a:gd name="connsiteX12" fmla="*/ 8648 w 10000"/>
                <a:gd name="connsiteY12" fmla="*/ 5484 h 9839"/>
                <a:gd name="connsiteX13" fmla="*/ 8873 w 10000"/>
                <a:gd name="connsiteY13" fmla="*/ 4678 h 9839"/>
                <a:gd name="connsiteX14" fmla="*/ 8722 w 10000"/>
                <a:gd name="connsiteY14" fmla="*/ 4248 h 9839"/>
                <a:gd name="connsiteX15" fmla="*/ 9098 w 10000"/>
                <a:gd name="connsiteY15" fmla="*/ 3333 h 9839"/>
                <a:gd name="connsiteX16" fmla="*/ 9399 w 10000"/>
                <a:gd name="connsiteY16" fmla="*/ 3064 h 9839"/>
                <a:gd name="connsiteX17" fmla="*/ 10000 w 10000"/>
                <a:gd name="connsiteY17" fmla="*/ 2635 h 9839"/>
                <a:gd name="connsiteX18" fmla="*/ 9774 w 10000"/>
                <a:gd name="connsiteY18" fmla="*/ 2580 h 9839"/>
                <a:gd name="connsiteX19" fmla="*/ 9399 w 10000"/>
                <a:gd name="connsiteY19" fmla="*/ 2313 h 9839"/>
                <a:gd name="connsiteX20" fmla="*/ 9173 w 10000"/>
                <a:gd name="connsiteY20" fmla="*/ 1506 h 9839"/>
                <a:gd name="connsiteX21" fmla="*/ 9173 w 10000"/>
                <a:gd name="connsiteY21" fmla="*/ 1075 h 9839"/>
                <a:gd name="connsiteX22" fmla="*/ 9098 w 10000"/>
                <a:gd name="connsiteY22" fmla="*/ 537 h 9839"/>
                <a:gd name="connsiteX23" fmla="*/ 8873 w 10000"/>
                <a:gd name="connsiteY23" fmla="*/ 377 h 9839"/>
                <a:gd name="connsiteX24" fmla="*/ 8497 w 10000"/>
                <a:gd name="connsiteY24" fmla="*/ 161 h 9839"/>
                <a:gd name="connsiteX25" fmla="*/ 8272 w 10000"/>
                <a:gd name="connsiteY25" fmla="*/ 0 h 9839"/>
                <a:gd name="connsiteX26" fmla="*/ 7821 w 10000"/>
                <a:gd name="connsiteY26" fmla="*/ 215 h 9839"/>
                <a:gd name="connsiteX27" fmla="*/ 7370 w 10000"/>
                <a:gd name="connsiteY27" fmla="*/ 537 h 9839"/>
                <a:gd name="connsiteX28" fmla="*/ 6769 w 10000"/>
                <a:gd name="connsiteY28" fmla="*/ 537 h 9839"/>
                <a:gd name="connsiteX29" fmla="*/ 5717 w 10000"/>
                <a:gd name="connsiteY29" fmla="*/ 537 h 9839"/>
                <a:gd name="connsiteX30" fmla="*/ 5717 w 10000"/>
                <a:gd name="connsiteY30" fmla="*/ 485 h 9839"/>
                <a:gd name="connsiteX31" fmla="*/ 5643 w 10000"/>
                <a:gd name="connsiteY31" fmla="*/ 537 h 9839"/>
                <a:gd name="connsiteX32" fmla="*/ 1961 w 10000"/>
                <a:gd name="connsiteY32" fmla="*/ 537 h 9839"/>
                <a:gd name="connsiteX33" fmla="*/ 1961 w 10000"/>
                <a:gd name="connsiteY33" fmla="*/ 1667 h 9839"/>
                <a:gd name="connsiteX34" fmla="*/ 1285 w 10000"/>
                <a:gd name="connsiteY34" fmla="*/ 1667 h 9839"/>
                <a:gd name="connsiteX35" fmla="*/ 1285 w 10000"/>
                <a:gd name="connsiteY35" fmla="*/ 1882 h 9839"/>
                <a:gd name="connsiteX36" fmla="*/ 1285 w 10000"/>
                <a:gd name="connsiteY36" fmla="*/ 3816 h 9839"/>
                <a:gd name="connsiteX37" fmla="*/ 1135 w 10000"/>
                <a:gd name="connsiteY37" fmla="*/ 3924 h 9839"/>
                <a:gd name="connsiteX38" fmla="*/ 684 w 10000"/>
                <a:gd name="connsiteY38" fmla="*/ 4140 h 9839"/>
                <a:gd name="connsiteX39" fmla="*/ 609 w 10000"/>
                <a:gd name="connsiteY39" fmla="*/ 4410 h 9839"/>
                <a:gd name="connsiteX40" fmla="*/ 384 w 10000"/>
                <a:gd name="connsiteY40" fmla="*/ 4678 h 9839"/>
                <a:gd name="connsiteX41" fmla="*/ 234 w 10000"/>
                <a:gd name="connsiteY41" fmla="*/ 5108 h 9839"/>
                <a:gd name="connsiteX42" fmla="*/ 8 w 10000"/>
                <a:gd name="connsiteY42" fmla="*/ 5593 h 9839"/>
                <a:gd name="connsiteX43" fmla="*/ 384 w 10000"/>
                <a:gd name="connsiteY43" fmla="*/ 5646 h 9839"/>
                <a:gd name="connsiteX44" fmla="*/ 458 w 10000"/>
                <a:gd name="connsiteY44" fmla="*/ 6074 h 9839"/>
                <a:gd name="connsiteX45" fmla="*/ 684 w 10000"/>
                <a:gd name="connsiteY45" fmla="*/ 6505 h 9839"/>
                <a:gd name="connsiteX46" fmla="*/ 1059 w 10000"/>
                <a:gd name="connsiteY46" fmla="*/ 7366 h 9839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145 w 10000"/>
                <a:gd name="connsiteY6" fmla="*/ 7979 h 10000"/>
                <a:gd name="connsiteX7" fmla="*/ 7446 w 10000"/>
                <a:gd name="connsiteY7" fmla="*/ 7103 h 10000"/>
                <a:gd name="connsiteX8" fmla="*/ 7446 w 10000"/>
                <a:gd name="connsiteY8" fmla="*/ 6722 h 10000"/>
                <a:gd name="connsiteX9" fmla="*/ 7821 w 10000"/>
                <a:gd name="connsiteY9" fmla="*/ 6722 h 10000"/>
                <a:gd name="connsiteX10" fmla="*/ 8047 w 10000"/>
                <a:gd name="connsiteY10" fmla="*/ 6011 h 10000"/>
                <a:gd name="connsiteX11" fmla="*/ 8648 w 10000"/>
                <a:gd name="connsiteY11" fmla="*/ 5574 h 10000"/>
                <a:gd name="connsiteX12" fmla="*/ 8873 w 10000"/>
                <a:gd name="connsiteY12" fmla="*/ 4755 h 10000"/>
                <a:gd name="connsiteX13" fmla="*/ 8722 w 10000"/>
                <a:gd name="connsiteY13" fmla="*/ 4318 h 10000"/>
                <a:gd name="connsiteX14" fmla="*/ 9098 w 10000"/>
                <a:gd name="connsiteY14" fmla="*/ 3388 h 10000"/>
                <a:gd name="connsiteX15" fmla="*/ 9399 w 10000"/>
                <a:gd name="connsiteY15" fmla="*/ 3114 h 10000"/>
                <a:gd name="connsiteX16" fmla="*/ 10000 w 10000"/>
                <a:gd name="connsiteY16" fmla="*/ 2678 h 10000"/>
                <a:gd name="connsiteX17" fmla="*/ 9774 w 10000"/>
                <a:gd name="connsiteY17" fmla="*/ 2622 h 10000"/>
                <a:gd name="connsiteX18" fmla="*/ 9399 w 10000"/>
                <a:gd name="connsiteY18" fmla="*/ 2351 h 10000"/>
                <a:gd name="connsiteX19" fmla="*/ 9173 w 10000"/>
                <a:gd name="connsiteY19" fmla="*/ 1531 h 10000"/>
                <a:gd name="connsiteX20" fmla="*/ 9173 w 10000"/>
                <a:gd name="connsiteY20" fmla="*/ 1093 h 10000"/>
                <a:gd name="connsiteX21" fmla="*/ 9098 w 10000"/>
                <a:gd name="connsiteY21" fmla="*/ 546 h 10000"/>
                <a:gd name="connsiteX22" fmla="*/ 8873 w 10000"/>
                <a:gd name="connsiteY22" fmla="*/ 383 h 10000"/>
                <a:gd name="connsiteX23" fmla="*/ 8497 w 10000"/>
                <a:gd name="connsiteY23" fmla="*/ 164 h 10000"/>
                <a:gd name="connsiteX24" fmla="*/ 8272 w 10000"/>
                <a:gd name="connsiteY24" fmla="*/ 0 h 10000"/>
                <a:gd name="connsiteX25" fmla="*/ 7821 w 10000"/>
                <a:gd name="connsiteY25" fmla="*/ 219 h 10000"/>
                <a:gd name="connsiteX26" fmla="*/ 7370 w 10000"/>
                <a:gd name="connsiteY26" fmla="*/ 546 h 10000"/>
                <a:gd name="connsiteX27" fmla="*/ 6769 w 10000"/>
                <a:gd name="connsiteY27" fmla="*/ 546 h 10000"/>
                <a:gd name="connsiteX28" fmla="*/ 5717 w 10000"/>
                <a:gd name="connsiteY28" fmla="*/ 546 h 10000"/>
                <a:gd name="connsiteX29" fmla="*/ 5717 w 10000"/>
                <a:gd name="connsiteY29" fmla="*/ 493 h 10000"/>
                <a:gd name="connsiteX30" fmla="*/ 5643 w 10000"/>
                <a:gd name="connsiteY30" fmla="*/ 546 h 10000"/>
                <a:gd name="connsiteX31" fmla="*/ 1961 w 10000"/>
                <a:gd name="connsiteY31" fmla="*/ 546 h 10000"/>
                <a:gd name="connsiteX32" fmla="*/ 1961 w 10000"/>
                <a:gd name="connsiteY32" fmla="*/ 1694 h 10000"/>
                <a:gd name="connsiteX33" fmla="*/ 1285 w 10000"/>
                <a:gd name="connsiteY33" fmla="*/ 1694 h 10000"/>
                <a:gd name="connsiteX34" fmla="*/ 1285 w 10000"/>
                <a:gd name="connsiteY34" fmla="*/ 1913 h 10000"/>
                <a:gd name="connsiteX35" fmla="*/ 1285 w 10000"/>
                <a:gd name="connsiteY35" fmla="*/ 3878 h 10000"/>
                <a:gd name="connsiteX36" fmla="*/ 1135 w 10000"/>
                <a:gd name="connsiteY36" fmla="*/ 3988 h 10000"/>
                <a:gd name="connsiteX37" fmla="*/ 684 w 10000"/>
                <a:gd name="connsiteY37" fmla="*/ 4208 h 10000"/>
                <a:gd name="connsiteX38" fmla="*/ 609 w 10000"/>
                <a:gd name="connsiteY38" fmla="*/ 4482 h 10000"/>
                <a:gd name="connsiteX39" fmla="*/ 384 w 10000"/>
                <a:gd name="connsiteY39" fmla="*/ 4755 h 10000"/>
                <a:gd name="connsiteX40" fmla="*/ 234 w 10000"/>
                <a:gd name="connsiteY40" fmla="*/ 5192 h 10000"/>
                <a:gd name="connsiteX41" fmla="*/ 8 w 10000"/>
                <a:gd name="connsiteY41" fmla="*/ 5685 h 10000"/>
                <a:gd name="connsiteX42" fmla="*/ 384 w 10000"/>
                <a:gd name="connsiteY42" fmla="*/ 5738 h 10000"/>
                <a:gd name="connsiteX43" fmla="*/ 458 w 10000"/>
                <a:gd name="connsiteY43" fmla="*/ 6173 h 10000"/>
                <a:gd name="connsiteX44" fmla="*/ 684 w 10000"/>
                <a:gd name="connsiteY44" fmla="*/ 6611 h 10000"/>
                <a:gd name="connsiteX45" fmla="*/ 1059 w 10000"/>
                <a:gd name="connsiteY45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6769 w 10000"/>
                <a:gd name="connsiteY5" fmla="*/ 8142 h 10000"/>
                <a:gd name="connsiteX6" fmla="*/ 7446 w 10000"/>
                <a:gd name="connsiteY6" fmla="*/ 7103 h 10000"/>
                <a:gd name="connsiteX7" fmla="*/ 7446 w 10000"/>
                <a:gd name="connsiteY7" fmla="*/ 6722 h 10000"/>
                <a:gd name="connsiteX8" fmla="*/ 7821 w 10000"/>
                <a:gd name="connsiteY8" fmla="*/ 6722 h 10000"/>
                <a:gd name="connsiteX9" fmla="*/ 8047 w 10000"/>
                <a:gd name="connsiteY9" fmla="*/ 6011 h 10000"/>
                <a:gd name="connsiteX10" fmla="*/ 8648 w 10000"/>
                <a:gd name="connsiteY10" fmla="*/ 5574 h 10000"/>
                <a:gd name="connsiteX11" fmla="*/ 8873 w 10000"/>
                <a:gd name="connsiteY11" fmla="*/ 4755 h 10000"/>
                <a:gd name="connsiteX12" fmla="*/ 8722 w 10000"/>
                <a:gd name="connsiteY12" fmla="*/ 4318 h 10000"/>
                <a:gd name="connsiteX13" fmla="*/ 9098 w 10000"/>
                <a:gd name="connsiteY13" fmla="*/ 3388 h 10000"/>
                <a:gd name="connsiteX14" fmla="*/ 9399 w 10000"/>
                <a:gd name="connsiteY14" fmla="*/ 3114 h 10000"/>
                <a:gd name="connsiteX15" fmla="*/ 10000 w 10000"/>
                <a:gd name="connsiteY15" fmla="*/ 2678 h 10000"/>
                <a:gd name="connsiteX16" fmla="*/ 9774 w 10000"/>
                <a:gd name="connsiteY16" fmla="*/ 2622 h 10000"/>
                <a:gd name="connsiteX17" fmla="*/ 9399 w 10000"/>
                <a:gd name="connsiteY17" fmla="*/ 2351 h 10000"/>
                <a:gd name="connsiteX18" fmla="*/ 9173 w 10000"/>
                <a:gd name="connsiteY18" fmla="*/ 1531 h 10000"/>
                <a:gd name="connsiteX19" fmla="*/ 9173 w 10000"/>
                <a:gd name="connsiteY19" fmla="*/ 1093 h 10000"/>
                <a:gd name="connsiteX20" fmla="*/ 9098 w 10000"/>
                <a:gd name="connsiteY20" fmla="*/ 546 h 10000"/>
                <a:gd name="connsiteX21" fmla="*/ 8873 w 10000"/>
                <a:gd name="connsiteY21" fmla="*/ 383 h 10000"/>
                <a:gd name="connsiteX22" fmla="*/ 8497 w 10000"/>
                <a:gd name="connsiteY22" fmla="*/ 164 h 10000"/>
                <a:gd name="connsiteX23" fmla="*/ 8272 w 10000"/>
                <a:gd name="connsiteY23" fmla="*/ 0 h 10000"/>
                <a:gd name="connsiteX24" fmla="*/ 7821 w 10000"/>
                <a:gd name="connsiteY24" fmla="*/ 219 h 10000"/>
                <a:gd name="connsiteX25" fmla="*/ 7370 w 10000"/>
                <a:gd name="connsiteY25" fmla="*/ 546 h 10000"/>
                <a:gd name="connsiteX26" fmla="*/ 6769 w 10000"/>
                <a:gd name="connsiteY26" fmla="*/ 546 h 10000"/>
                <a:gd name="connsiteX27" fmla="*/ 5717 w 10000"/>
                <a:gd name="connsiteY27" fmla="*/ 546 h 10000"/>
                <a:gd name="connsiteX28" fmla="*/ 5717 w 10000"/>
                <a:gd name="connsiteY28" fmla="*/ 493 h 10000"/>
                <a:gd name="connsiteX29" fmla="*/ 5643 w 10000"/>
                <a:gd name="connsiteY29" fmla="*/ 546 h 10000"/>
                <a:gd name="connsiteX30" fmla="*/ 1961 w 10000"/>
                <a:gd name="connsiteY30" fmla="*/ 546 h 10000"/>
                <a:gd name="connsiteX31" fmla="*/ 1961 w 10000"/>
                <a:gd name="connsiteY31" fmla="*/ 1694 h 10000"/>
                <a:gd name="connsiteX32" fmla="*/ 1285 w 10000"/>
                <a:gd name="connsiteY32" fmla="*/ 1694 h 10000"/>
                <a:gd name="connsiteX33" fmla="*/ 1285 w 10000"/>
                <a:gd name="connsiteY33" fmla="*/ 1913 h 10000"/>
                <a:gd name="connsiteX34" fmla="*/ 1285 w 10000"/>
                <a:gd name="connsiteY34" fmla="*/ 3878 h 10000"/>
                <a:gd name="connsiteX35" fmla="*/ 1135 w 10000"/>
                <a:gd name="connsiteY35" fmla="*/ 3988 h 10000"/>
                <a:gd name="connsiteX36" fmla="*/ 684 w 10000"/>
                <a:gd name="connsiteY36" fmla="*/ 4208 h 10000"/>
                <a:gd name="connsiteX37" fmla="*/ 609 w 10000"/>
                <a:gd name="connsiteY37" fmla="*/ 4482 h 10000"/>
                <a:gd name="connsiteX38" fmla="*/ 384 w 10000"/>
                <a:gd name="connsiteY38" fmla="*/ 4755 h 10000"/>
                <a:gd name="connsiteX39" fmla="*/ 234 w 10000"/>
                <a:gd name="connsiteY39" fmla="*/ 5192 h 10000"/>
                <a:gd name="connsiteX40" fmla="*/ 8 w 10000"/>
                <a:gd name="connsiteY40" fmla="*/ 5685 h 10000"/>
                <a:gd name="connsiteX41" fmla="*/ 384 w 10000"/>
                <a:gd name="connsiteY41" fmla="*/ 5738 h 10000"/>
                <a:gd name="connsiteX42" fmla="*/ 458 w 10000"/>
                <a:gd name="connsiteY42" fmla="*/ 6173 h 10000"/>
                <a:gd name="connsiteX43" fmla="*/ 684 w 10000"/>
                <a:gd name="connsiteY43" fmla="*/ 6611 h 10000"/>
                <a:gd name="connsiteX44" fmla="*/ 1059 w 10000"/>
                <a:gd name="connsiteY44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370 w 10000"/>
                <a:gd name="connsiteY4" fmla="*/ 8579 h 10000"/>
                <a:gd name="connsiteX5" fmla="*/ 7446 w 10000"/>
                <a:gd name="connsiteY5" fmla="*/ 7103 h 10000"/>
                <a:gd name="connsiteX6" fmla="*/ 7446 w 10000"/>
                <a:gd name="connsiteY6" fmla="*/ 6722 h 10000"/>
                <a:gd name="connsiteX7" fmla="*/ 7821 w 10000"/>
                <a:gd name="connsiteY7" fmla="*/ 6722 h 10000"/>
                <a:gd name="connsiteX8" fmla="*/ 8047 w 10000"/>
                <a:gd name="connsiteY8" fmla="*/ 6011 h 10000"/>
                <a:gd name="connsiteX9" fmla="*/ 8648 w 10000"/>
                <a:gd name="connsiteY9" fmla="*/ 5574 h 10000"/>
                <a:gd name="connsiteX10" fmla="*/ 8873 w 10000"/>
                <a:gd name="connsiteY10" fmla="*/ 4755 h 10000"/>
                <a:gd name="connsiteX11" fmla="*/ 8722 w 10000"/>
                <a:gd name="connsiteY11" fmla="*/ 4318 h 10000"/>
                <a:gd name="connsiteX12" fmla="*/ 9098 w 10000"/>
                <a:gd name="connsiteY12" fmla="*/ 3388 h 10000"/>
                <a:gd name="connsiteX13" fmla="*/ 9399 w 10000"/>
                <a:gd name="connsiteY13" fmla="*/ 3114 h 10000"/>
                <a:gd name="connsiteX14" fmla="*/ 10000 w 10000"/>
                <a:gd name="connsiteY14" fmla="*/ 2678 h 10000"/>
                <a:gd name="connsiteX15" fmla="*/ 9774 w 10000"/>
                <a:gd name="connsiteY15" fmla="*/ 2622 h 10000"/>
                <a:gd name="connsiteX16" fmla="*/ 9399 w 10000"/>
                <a:gd name="connsiteY16" fmla="*/ 2351 h 10000"/>
                <a:gd name="connsiteX17" fmla="*/ 9173 w 10000"/>
                <a:gd name="connsiteY17" fmla="*/ 1531 h 10000"/>
                <a:gd name="connsiteX18" fmla="*/ 9173 w 10000"/>
                <a:gd name="connsiteY18" fmla="*/ 1093 h 10000"/>
                <a:gd name="connsiteX19" fmla="*/ 9098 w 10000"/>
                <a:gd name="connsiteY19" fmla="*/ 546 h 10000"/>
                <a:gd name="connsiteX20" fmla="*/ 8873 w 10000"/>
                <a:gd name="connsiteY20" fmla="*/ 383 h 10000"/>
                <a:gd name="connsiteX21" fmla="*/ 8497 w 10000"/>
                <a:gd name="connsiteY21" fmla="*/ 164 h 10000"/>
                <a:gd name="connsiteX22" fmla="*/ 8272 w 10000"/>
                <a:gd name="connsiteY22" fmla="*/ 0 h 10000"/>
                <a:gd name="connsiteX23" fmla="*/ 7821 w 10000"/>
                <a:gd name="connsiteY23" fmla="*/ 219 h 10000"/>
                <a:gd name="connsiteX24" fmla="*/ 7370 w 10000"/>
                <a:gd name="connsiteY24" fmla="*/ 546 h 10000"/>
                <a:gd name="connsiteX25" fmla="*/ 6769 w 10000"/>
                <a:gd name="connsiteY25" fmla="*/ 546 h 10000"/>
                <a:gd name="connsiteX26" fmla="*/ 5717 w 10000"/>
                <a:gd name="connsiteY26" fmla="*/ 546 h 10000"/>
                <a:gd name="connsiteX27" fmla="*/ 5717 w 10000"/>
                <a:gd name="connsiteY27" fmla="*/ 493 h 10000"/>
                <a:gd name="connsiteX28" fmla="*/ 5643 w 10000"/>
                <a:gd name="connsiteY28" fmla="*/ 546 h 10000"/>
                <a:gd name="connsiteX29" fmla="*/ 1961 w 10000"/>
                <a:gd name="connsiteY29" fmla="*/ 546 h 10000"/>
                <a:gd name="connsiteX30" fmla="*/ 1961 w 10000"/>
                <a:gd name="connsiteY30" fmla="*/ 1694 h 10000"/>
                <a:gd name="connsiteX31" fmla="*/ 1285 w 10000"/>
                <a:gd name="connsiteY31" fmla="*/ 1694 h 10000"/>
                <a:gd name="connsiteX32" fmla="*/ 1285 w 10000"/>
                <a:gd name="connsiteY32" fmla="*/ 1913 h 10000"/>
                <a:gd name="connsiteX33" fmla="*/ 1285 w 10000"/>
                <a:gd name="connsiteY33" fmla="*/ 3878 h 10000"/>
                <a:gd name="connsiteX34" fmla="*/ 1135 w 10000"/>
                <a:gd name="connsiteY34" fmla="*/ 3988 h 10000"/>
                <a:gd name="connsiteX35" fmla="*/ 684 w 10000"/>
                <a:gd name="connsiteY35" fmla="*/ 4208 h 10000"/>
                <a:gd name="connsiteX36" fmla="*/ 609 w 10000"/>
                <a:gd name="connsiteY36" fmla="*/ 4482 h 10000"/>
                <a:gd name="connsiteX37" fmla="*/ 384 w 10000"/>
                <a:gd name="connsiteY37" fmla="*/ 4755 h 10000"/>
                <a:gd name="connsiteX38" fmla="*/ 234 w 10000"/>
                <a:gd name="connsiteY38" fmla="*/ 5192 h 10000"/>
                <a:gd name="connsiteX39" fmla="*/ 8 w 10000"/>
                <a:gd name="connsiteY39" fmla="*/ 5685 h 10000"/>
                <a:gd name="connsiteX40" fmla="*/ 384 w 10000"/>
                <a:gd name="connsiteY40" fmla="*/ 5738 h 10000"/>
                <a:gd name="connsiteX41" fmla="*/ 458 w 10000"/>
                <a:gd name="connsiteY41" fmla="*/ 6173 h 10000"/>
                <a:gd name="connsiteX42" fmla="*/ 684 w 10000"/>
                <a:gd name="connsiteY42" fmla="*/ 6611 h 10000"/>
                <a:gd name="connsiteX43" fmla="*/ 1059 w 10000"/>
                <a:gd name="connsiteY43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821 w 10000"/>
                <a:gd name="connsiteY3" fmla="*/ 9071 h 10000"/>
                <a:gd name="connsiteX4" fmla="*/ 7446 w 10000"/>
                <a:gd name="connsiteY4" fmla="*/ 7103 h 10000"/>
                <a:gd name="connsiteX5" fmla="*/ 7446 w 10000"/>
                <a:gd name="connsiteY5" fmla="*/ 6722 h 10000"/>
                <a:gd name="connsiteX6" fmla="*/ 7821 w 10000"/>
                <a:gd name="connsiteY6" fmla="*/ 6722 h 10000"/>
                <a:gd name="connsiteX7" fmla="*/ 8047 w 10000"/>
                <a:gd name="connsiteY7" fmla="*/ 6011 h 10000"/>
                <a:gd name="connsiteX8" fmla="*/ 8648 w 10000"/>
                <a:gd name="connsiteY8" fmla="*/ 5574 h 10000"/>
                <a:gd name="connsiteX9" fmla="*/ 8873 w 10000"/>
                <a:gd name="connsiteY9" fmla="*/ 4755 h 10000"/>
                <a:gd name="connsiteX10" fmla="*/ 8722 w 10000"/>
                <a:gd name="connsiteY10" fmla="*/ 4318 h 10000"/>
                <a:gd name="connsiteX11" fmla="*/ 9098 w 10000"/>
                <a:gd name="connsiteY11" fmla="*/ 3388 h 10000"/>
                <a:gd name="connsiteX12" fmla="*/ 9399 w 10000"/>
                <a:gd name="connsiteY12" fmla="*/ 3114 h 10000"/>
                <a:gd name="connsiteX13" fmla="*/ 10000 w 10000"/>
                <a:gd name="connsiteY13" fmla="*/ 2678 h 10000"/>
                <a:gd name="connsiteX14" fmla="*/ 9774 w 10000"/>
                <a:gd name="connsiteY14" fmla="*/ 2622 h 10000"/>
                <a:gd name="connsiteX15" fmla="*/ 9399 w 10000"/>
                <a:gd name="connsiteY15" fmla="*/ 2351 h 10000"/>
                <a:gd name="connsiteX16" fmla="*/ 9173 w 10000"/>
                <a:gd name="connsiteY16" fmla="*/ 1531 h 10000"/>
                <a:gd name="connsiteX17" fmla="*/ 9173 w 10000"/>
                <a:gd name="connsiteY17" fmla="*/ 1093 h 10000"/>
                <a:gd name="connsiteX18" fmla="*/ 9098 w 10000"/>
                <a:gd name="connsiteY18" fmla="*/ 546 h 10000"/>
                <a:gd name="connsiteX19" fmla="*/ 8873 w 10000"/>
                <a:gd name="connsiteY19" fmla="*/ 383 h 10000"/>
                <a:gd name="connsiteX20" fmla="*/ 8497 w 10000"/>
                <a:gd name="connsiteY20" fmla="*/ 164 h 10000"/>
                <a:gd name="connsiteX21" fmla="*/ 8272 w 10000"/>
                <a:gd name="connsiteY21" fmla="*/ 0 h 10000"/>
                <a:gd name="connsiteX22" fmla="*/ 7821 w 10000"/>
                <a:gd name="connsiteY22" fmla="*/ 219 h 10000"/>
                <a:gd name="connsiteX23" fmla="*/ 7370 w 10000"/>
                <a:gd name="connsiteY23" fmla="*/ 546 h 10000"/>
                <a:gd name="connsiteX24" fmla="*/ 6769 w 10000"/>
                <a:gd name="connsiteY24" fmla="*/ 546 h 10000"/>
                <a:gd name="connsiteX25" fmla="*/ 5717 w 10000"/>
                <a:gd name="connsiteY25" fmla="*/ 546 h 10000"/>
                <a:gd name="connsiteX26" fmla="*/ 5717 w 10000"/>
                <a:gd name="connsiteY26" fmla="*/ 493 h 10000"/>
                <a:gd name="connsiteX27" fmla="*/ 5643 w 10000"/>
                <a:gd name="connsiteY27" fmla="*/ 546 h 10000"/>
                <a:gd name="connsiteX28" fmla="*/ 1961 w 10000"/>
                <a:gd name="connsiteY28" fmla="*/ 546 h 10000"/>
                <a:gd name="connsiteX29" fmla="*/ 1961 w 10000"/>
                <a:gd name="connsiteY29" fmla="*/ 1694 h 10000"/>
                <a:gd name="connsiteX30" fmla="*/ 1285 w 10000"/>
                <a:gd name="connsiteY30" fmla="*/ 1694 h 10000"/>
                <a:gd name="connsiteX31" fmla="*/ 1285 w 10000"/>
                <a:gd name="connsiteY31" fmla="*/ 1913 h 10000"/>
                <a:gd name="connsiteX32" fmla="*/ 1285 w 10000"/>
                <a:gd name="connsiteY32" fmla="*/ 3878 h 10000"/>
                <a:gd name="connsiteX33" fmla="*/ 1135 w 10000"/>
                <a:gd name="connsiteY33" fmla="*/ 3988 h 10000"/>
                <a:gd name="connsiteX34" fmla="*/ 684 w 10000"/>
                <a:gd name="connsiteY34" fmla="*/ 4208 h 10000"/>
                <a:gd name="connsiteX35" fmla="*/ 609 w 10000"/>
                <a:gd name="connsiteY35" fmla="*/ 4482 h 10000"/>
                <a:gd name="connsiteX36" fmla="*/ 384 w 10000"/>
                <a:gd name="connsiteY36" fmla="*/ 4755 h 10000"/>
                <a:gd name="connsiteX37" fmla="*/ 234 w 10000"/>
                <a:gd name="connsiteY37" fmla="*/ 5192 h 10000"/>
                <a:gd name="connsiteX38" fmla="*/ 8 w 10000"/>
                <a:gd name="connsiteY38" fmla="*/ 5685 h 10000"/>
                <a:gd name="connsiteX39" fmla="*/ 384 w 10000"/>
                <a:gd name="connsiteY39" fmla="*/ 5738 h 10000"/>
                <a:gd name="connsiteX40" fmla="*/ 458 w 10000"/>
                <a:gd name="connsiteY40" fmla="*/ 6173 h 10000"/>
                <a:gd name="connsiteX41" fmla="*/ 684 w 10000"/>
                <a:gd name="connsiteY41" fmla="*/ 6611 h 10000"/>
                <a:gd name="connsiteX42" fmla="*/ 1059 w 10000"/>
                <a:gd name="connsiteY42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8272 w 10000"/>
                <a:gd name="connsiteY2" fmla="*/ 9564 h 10000"/>
                <a:gd name="connsiteX3" fmla="*/ 7446 w 10000"/>
                <a:gd name="connsiteY3" fmla="*/ 7103 h 10000"/>
                <a:gd name="connsiteX4" fmla="*/ 7446 w 10000"/>
                <a:gd name="connsiteY4" fmla="*/ 6722 h 10000"/>
                <a:gd name="connsiteX5" fmla="*/ 7821 w 10000"/>
                <a:gd name="connsiteY5" fmla="*/ 6722 h 10000"/>
                <a:gd name="connsiteX6" fmla="*/ 8047 w 10000"/>
                <a:gd name="connsiteY6" fmla="*/ 6011 h 10000"/>
                <a:gd name="connsiteX7" fmla="*/ 8648 w 10000"/>
                <a:gd name="connsiteY7" fmla="*/ 5574 h 10000"/>
                <a:gd name="connsiteX8" fmla="*/ 8873 w 10000"/>
                <a:gd name="connsiteY8" fmla="*/ 4755 h 10000"/>
                <a:gd name="connsiteX9" fmla="*/ 8722 w 10000"/>
                <a:gd name="connsiteY9" fmla="*/ 4318 h 10000"/>
                <a:gd name="connsiteX10" fmla="*/ 9098 w 10000"/>
                <a:gd name="connsiteY10" fmla="*/ 3388 h 10000"/>
                <a:gd name="connsiteX11" fmla="*/ 9399 w 10000"/>
                <a:gd name="connsiteY11" fmla="*/ 3114 h 10000"/>
                <a:gd name="connsiteX12" fmla="*/ 10000 w 10000"/>
                <a:gd name="connsiteY12" fmla="*/ 2678 h 10000"/>
                <a:gd name="connsiteX13" fmla="*/ 9774 w 10000"/>
                <a:gd name="connsiteY13" fmla="*/ 2622 h 10000"/>
                <a:gd name="connsiteX14" fmla="*/ 9399 w 10000"/>
                <a:gd name="connsiteY14" fmla="*/ 2351 h 10000"/>
                <a:gd name="connsiteX15" fmla="*/ 9173 w 10000"/>
                <a:gd name="connsiteY15" fmla="*/ 1531 h 10000"/>
                <a:gd name="connsiteX16" fmla="*/ 9173 w 10000"/>
                <a:gd name="connsiteY16" fmla="*/ 1093 h 10000"/>
                <a:gd name="connsiteX17" fmla="*/ 9098 w 10000"/>
                <a:gd name="connsiteY17" fmla="*/ 546 h 10000"/>
                <a:gd name="connsiteX18" fmla="*/ 8873 w 10000"/>
                <a:gd name="connsiteY18" fmla="*/ 383 h 10000"/>
                <a:gd name="connsiteX19" fmla="*/ 8497 w 10000"/>
                <a:gd name="connsiteY19" fmla="*/ 164 h 10000"/>
                <a:gd name="connsiteX20" fmla="*/ 8272 w 10000"/>
                <a:gd name="connsiteY20" fmla="*/ 0 h 10000"/>
                <a:gd name="connsiteX21" fmla="*/ 7821 w 10000"/>
                <a:gd name="connsiteY21" fmla="*/ 219 h 10000"/>
                <a:gd name="connsiteX22" fmla="*/ 7370 w 10000"/>
                <a:gd name="connsiteY22" fmla="*/ 546 h 10000"/>
                <a:gd name="connsiteX23" fmla="*/ 6769 w 10000"/>
                <a:gd name="connsiteY23" fmla="*/ 546 h 10000"/>
                <a:gd name="connsiteX24" fmla="*/ 5717 w 10000"/>
                <a:gd name="connsiteY24" fmla="*/ 546 h 10000"/>
                <a:gd name="connsiteX25" fmla="*/ 5717 w 10000"/>
                <a:gd name="connsiteY25" fmla="*/ 493 h 10000"/>
                <a:gd name="connsiteX26" fmla="*/ 5643 w 10000"/>
                <a:gd name="connsiteY26" fmla="*/ 546 h 10000"/>
                <a:gd name="connsiteX27" fmla="*/ 1961 w 10000"/>
                <a:gd name="connsiteY27" fmla="*/ 546 h 10000"/>
                <a:gd name="connsiteX28" fmla="*/ 1961 w 10000"/>
                <a:gd name="connsiteY28" fmla="*/ 1694 h 10000"/>
                <a:gd name="connsiteX29" fmla="*/ 1285 w 10000"/>
                <a:gd name="connsiteY29" fmla="*/ 1694 h 10000"/>
                <a:gd name="connsiteX30" fmla="*/ 1285 w 10000"/>
                <a:gd name="connsiteY30" fmla="*/ 1913 h 10000"/>
                <a:gd name="connsiteX31" fmla="*/ 1285 w 10000"/>
                <a:gd name="connsiteY31" fmla="*/ 3878 h 10000"/>
                <a:gd name="connsiteX32" fmla="*/ 1135 w 10000"/>
                <a:gd name="connsiteY32" fmla="*/ 3988 h 10000"/>
                <a:gd name="connsiteX33" fmla="*/ 684 w 10000"/>
                <a:gd name="connsiteY33" fmla="*/ 4208 h 10000"/>
                <a:gd name="connsiteX34" fmla="*/ 609 w 10000"/>
                <a:gd name="connsiteY34" fmla="*/ 4482 h 10000"/>
                <a:gd name="connsiteX35" fmla="*/ 384 w 10000"/>
                <a:gd name="connsiteY35" fmla="*/ 4755 h 10000"/>
                <a:gd name="connsiteX36" fmla="*/ 234 w 10000"/>
                <a:gd name="connsiteY36" fmla="*/ 5192 h 10000"/>
                <a:gd name="connsiteX37" fmla="*/ 8 w 10000"/>
                <a:gd name="connsiteY37" fmla="*/ 5685 h 10000"/>
                <a:gd name="connsiteX38" fmla="*/ 384 w 10000"/>
                <a:gd name="connsiteY38" fmla="*/ 5738 h 10000"/>
                <a:gd name="connsiteX39" fmla="*/ 458 w 10000"/>
                <a:gd name="connsiteY39" fmla="*/ 6173 h 10000"/>
                <a:gd name="connsiteX40" fmla="*/ 684 w 10000"/>
                <a:gd name="connsiteY40" fmla="*/ 6611 h 10000"/>
                <a:gd name="connsiteX41" fmla="*/ 1059 w 10000"/>
                <a:gd name="connsiteY41" fmla="*/ 7487 h 10000"/>
                <a:gd name="connsiteX0" fmla="*/ 8197 w 10000"/>
                <a:gd name="connsiteY0" fmla="*/ 9837 h 10000"/>
                <a:gd name="connsiteX1" fmla="*/ 8422 w 10000"/>
                <a:gd name="connsiteY1" fmla="*/ 10000 h 10000"/>
                <a:gd name="connsiteX2" fmla="*/ 7446 w 10000"/>
                <a:gd name="connsiteY2" fmla="*/ 7103 h 10000"/>
                <a:gd name="connsiteX3" fmla="*/ 7446 w 10000"/>
                <a:gd name="connsiteY3" fmla="*/ 6722 h 10000"/>
                <a:gd name="connsiteX4" fmla="*/ 7821 w 10000"/>
                <a:gd name="connsiteY4" fmla="*/ 6722 h 10000"/>
                <a:gd name="connsiteX5" fmla="*/ 8047 w 10000"/>
                <a:gd name="connsiteY5" fmla="*/ 6011 h 10000"/>
                <a:gd name="connsiteX6" fmla="*/ 8648 w 10000"/>
                <a:gd name="connsiteY6" fmla="*/ 5574 h 10000"/>
                <a:gd name="connsiteX7" fmla="*/ 8873 w 10000"/>
                <a:gd name="connsiteY7" fmla="*/ 4755 h 10000"/>
                <a:gd name="connsiteX8" fmla="*/ 8722 w 10000"/>
                <a:gd name="connsiteY8" fmla="*/ 4318 h 10000"/>
                <a:gd name="connsiteX9" fmla="*/ 9098 w 10000"/>
                <a:gd name="connsiteY9" fmla="*/ 3388 h 10000"/>
                <a:gd name="connsiteX10" fmla="*/ 9399 w 10000"/>
                <a:gd name="connsiteY10" fmla="*/ 3114 h 10000"/>
                <a:gd name="connsiteX11" fmla="*/ 10000 w 10000"/>
                <a:gd name="connsiteY11" fmla="*/ 2678 h 10000"/>
                <a:gd name="connsiteX12" fmla="*/ 9774 w 10000"/>
                <a:gd name="connsiteY12" fmla="*/ 2622 h 10000"/>
                <a:gd name="connsiteX13" fmla="*/ 9399 w 10000"/>
                <a:gd name="connsiteY13" fmla="*/ 2351 h 10000"/>
                <a:gd name="connsiteX14" fmla="*/ 9173 w 10000"/>
                <a:gd name="connsiteY14" fmla="*/ 1531 h 10000"/>
                <a:gd name="connsiteX15" fmla="*/ 9173 w 10000"/>
                <a:gd name="connsiteY15" fmla="*/ 1093 h 10000"/>
                <a:gd name="connsiteX16" fmla="*/ 9098 w 10000"/>
                <a:gd name="connsiteY16" fmla="*/ 546 h 10000"/>
                <a:gd name="connsiteX17" fmla="*/ 8873 w 10000"/>
                <a:gd name="connsiteY17" fmla="*/ 383 h 10000"/>
                <a:gd name="connsiteX18" fmla="*/ 8497 w 10000"/>
                <a:gd name="connsiteY18" fmla="*/ 164 h 10000"/>
                <a:gd name="connsiteX19" fmla="*/ 8272 w 10000"/>
                <a:gd name="connsiteY19" fmla="*/ 0 h 10000"/>
                <a:gd name="connsiteX20" fmla="*/ 7821 w 10000"/>
                <a:gd name="connsiteY20" fmla="*/ 219 h 10000"/>
                <a:gd name="connsiteX21" fmla="*/ 7370 w 10000"/>
                <a:gd name="connsiteY21" fmla="*/ 546 h 10000"/>
                <a:gd name="connsiteX22" fmla="*/ 6769 w 10000"/>
                <a:gd name="connsiteY22" fmla="*/ 546 h 10000"/>
                <a:gd name="connsiteX23" fmla="*/ 5717 w 10000"/>
                <a:gd name="connsiteY23" fmla="*/ 546 h 10000"/>
                <a:gd name="connsiteX24" fmla="*/ 5717 w 10000"/>
                <a:gd name="connsiteY24" fmla="*/ 493 h 10000"/>
                <a:gd name="connsiteX25" fmla="*/ 5643 w 10000"/>
                <a:gd name="connsiteY25" fmla="*/ 546 h 10000"/>
                <a:gd name="connsiteX26" fmla="*/ 1961 w 10000"/>
                <a:gd name="connsiteY26" fmla="*/ 546 h 10000"/>
                <a:gd name="connsiteX27" fmla="*/ 1961 w 10000"/>
                <a:gd name="connsiteY27" fmla="*/ 1694 h 10000"/>
                <a:gd name="connsiteX28" fmla="*/ 1285 w 10000"/>
                <a:gd name="connsiteY28" fmla="*/ 1694 h 10000"/>
                <a:gd name="connsiteX29" fmla="*/ 1285 w 10000"/>
                <a:gd name="connsiteY29" fmla="*/ 1913 h 10000"/>
                <a:gd name="connsiteX30" fmla="*/ 1285 w 10000"/>
                <a:gd name="connsiteY30" fmla="*/ 3878 h 10000"/>
                <a:gd name="connsiteX31" fmla="*/ 1135 w 10000"/>
                <a:gd name="connsiteY31" fmla="*/ 3988 h 10000"/>
                <a:gd name="connsiteX32" fmla="*/ 684 w 10000"/>
                <a:gd name="connsiteY32" fmla="*/ 4208 h 10000"/>
                <a:gd name="connsiteX33" fmla="*/ 609 w 10000"/>
                <a:gd name="connsiteY33" fmla="*/ 4482 h 10000"/>
                <a:gd name="connsiteX34" fmla="*/ 384 w 10000"/>
                <a:gd name="connsiteY34" fmla="*/ 4755 h 10000"/>
                <a:gd name="connsiteX35" fmla="*/ 234 w 10000"/>
                <a:gd name="connsiteY35" fmla="*/ 5192 h 10000"/>
                <a:gd name="connsiteX36" fmla="*/ 8 w 10000"/>
                <a:gd name="connsiteY36" fmla="*/ 5685 h 10000"/>
                <a:gd name="connsiteX37" fmla="*/ 384 w 10000"/>
                <a:gd name="connsiteY37" fmla="*/ 5738 h 10000"/>
                <a:gd name="connsiteX38" fmla="*/ 458 w 10000"/>
                <a:gd name="connsiteY38" fmla="*/ 6173 h 10000"/>
                <a:gd name="connsiteX39" fmla="*/ 684 w 10000"/>
                <a:gd name="connsiteY39" fmla="*/ 6611 h 10000"/>
                <a:gd name="connsiteX40" fmla="*/ 1059 w 10000"/>
                <a:gd name="connsiteY40" fmla="*/ 7487 h 10000"/>
                <a:gd name="connsiteX0" fmla="*/ 8197 w 10000"/>
                <a:gd name="connsiteY0" fmla="*/ 9837 h 9837"/>
                <a:gd name="connsiteX1" fmla="*/ 7446 w 10000"/>
                <a:gd name="connsiteY1" fmla="*/ 7103 h 9837"/>
                <a:gd name="connsiteX2" fmla="*/ 7446 w 10000"/>
                <a:gd name="connsiteY2" fmla="*/ 6722 h 9837"/>
                <a:gd name="connsiteX3" fmla="*/ 7821 w 10000"/>
                <a:gd name="connsiteY3" fmla="*/ 6722 h 9837"/>
                <a:gd name="connsiteX4" fmla="*/ 8047 w 10000"/>
                <a:gd name="connsiteY4" fmla="*/ 6011 h 9837"/>
                <a:gd name="connsiteX5" fmla="*/ 8648 w 10000"/>
                <a:gd name="connsiteY5" fmla="*/ 5574 h 9837"/>
                <a:gd name="connsiteX6" fmla="*/ 8873 w 10000"/>
                <a:gd name="connsiteY6" fmla="*/ 4755 h 9837"/>
                <a:gd name="connsiteX7" fmla="*/ 8722 w 10000"/>
                <a:gd name="connsiteY7" fmla="*/ 4318 h 9837"/>
                <a:gd name="connsiteX8" fmla="*/ 9098 w 10000"/>
                <a:gd name="connsiteY8" fmla="*/ 3388 h 9837"/>
                <a:gd name="connsiteX9" fmla="*/ 9399 w 10000"/>
                <a:gd name="connsiteY9" fmla="*/ 3114 h 9837"/>
                <a:gd name="connsiteX10" fmla="*/ 10000 w 10000"/>
                <a:gd name="connsiteY10" fmla="*/ 2678 h 9837"/>
                <a:gd name="connsiteX11" fmla="*/ 9774 w 10000"/>
                <a:gd name="connsiteY11" fmla="*/ 2622 h 9837"/>
                <a:gd name="connsiteX12" fmla="*/ 9399 w 10000"/>
                <a:gd name="connsiteY12" fmla="*/ 2351 h 9837"/>
                <a:gd name="connsiteX13" fmla="*/ 9173 w 10000"/>
                <a:gd name="connsiteY13" fmla="*/ 1531 h 9837"/>
                <a:gd name="connsiteX14" fmla="*/ 9173 w 10000"/>
                <a:gd name="connsiteY14" fmla="*/ 1093 h 9837"/>
                <a:gd name="connsiteX15" fmla="*/ 9098 w 10000"/>
                <a:gd name="connsiteY15" fmla="*/ 546 h 9837"/>
                <a:gd name="connsiteX16" fmla="*/ 8873 w 10000"/>
                <a:gd name="connsiteY16" fmla="*/ 383 h 9837"/>
                <a:gd name="connsiteX17" fmla="*/ 8497 w 10000"/>
                <a:gd name="connsiteY17" fmla="*/ 164 h 9837"/>
                <a:gd name="connsiteX18" fmla="*/ 8272 w 10000"/>
                <a:gd name="connsiteY18" fmla="*/ 0 h 9837"/>
                <a:gd name="connsiteX19" fmla="*/ 7821 w 10000"/>
                <a:gd name="connsiteY19" fmla="*/ 219 h 9837"/>
                <a:gd name="connsiteX20" fmla="*/ 7370 w 10000"/>
                <a:gd name="connsiteY20" fmla="*/ 546 h 9837"/>
                <a:gd name="connsiteX21" fmla="*/ 6769 w 10000"/>
                <a:gd name="connsiteY21" fmla="*/ 546 h 9837"/>
                <a:gd name="connsiteX22" fmla="*/ 5717 w 10000"/>
                <a:gd name="connsiteY22" fmla="*/ 546 h 9837"/>
                <a:gd name="connsiteX23" fmla="*/ 5717 w 10000"/>
                <a:gd name="connsiteY23" fmla="*/ 493 h 9837"/>
                <a:gd name="connsiteX24" fmla="*/ 5643 w 10000"/>
                <a:gd name="connsiteY24" fmla="*/ 546 h 9837"/>
                <a:gd name="connsiteX25" fmla="*/ 1961 w 10000"/>
                <a:gd name="connsiteY25" fmla="*/ 546 h 9837"/>
                <a:gd name="connsiteX26" fmla="*/ 1961 w 10000"/>
                <a:gd name="connsiteY26" fmla="*/ 1694 h 9837"/>
                <a:gd name="connsiteX27" fmla="*/ 1285 w 10000"/>
                <a:gd name="connsiteY27" fmla="*/ 1694 h 9837"/>
                <a:gd name="connsiteX28" fmla="*/ 1285 w 10000"/>
                <a:gd name="connsiteY28" fmla="*/ 1913 h 9837"/>
                <a:gd name="connsiteX29" fmla="*/ 1285 w 10000"/>
                <a:gd name="connsiteY29" fmla="*/ 3878 h 9837"/>
                <a:gd name="connsiteX30" fmla="*/ 1135 w 10000"/>
                <a:gd name="connsiteY30" fmla="*/ 3988 h 9837"/>
                <a:gd name="connsiteX31" fmla="*/ 684 w 10000"/>
                <a:gd name="connsiteY31" fmla="*/ 4208 h 9837"/>
                <a:gd name="connsiteX32" fmla="*/ 609 w 10000"/>
                <a:gd name="connsiteY32" fmla="*/ 4482 h 9837"/>
                <a:gd name="connsiteX33" fmla="*/ 384 w 10000"/>
                <a:gd name="connsiteY33" fmla="*/ 4755 h 9837"/>
                <a:gd name="connsiteX34" fmla="*/ 234 w 10000"/>
                <a:gd name="connsiteY34" fmla="*/ 5192 h 9837"/>
                <a:gd name="connsiteX35" fmla="*/ 8 w 10000"/>
                <a:gd name="connsiteY35" fmla="*/ 5685 h 9837"/>
                <a:gd name="connsiteX36" fmla="*/ 384 w 10000"/>
                <a:gd name="connsiteY36" fmla="*/ 5738 h 9837"/>
                <a:gd name="connsiteX37" fmla="*/ 458 w 10000"/>
                <a:gd name="connsiteY37" fmla="*/ 6173 h 9837"/>
                <a:gd name="connsiteX38" fmla="*/ 684 w 10000"/>
                <a:gd name="connsiteY38" fmla="*/ 6611 h 9837"/>
                <a:gd name="connsiteX39" fmla="*/ 1059 w 10000"/>
                <a:gd name="connsiteY39" fmla="*/ 7487 h 9837"/>
                <a:gd name="connsiteX0" fmla="*/ 7446 w 10000"/>
                <a:gd name="connsiteY0" fmla="*/ 7221 h 7611"/>
                <a:gd name="connsiteX1" fmla="*/ 7446 w 10000"/>
                <a:gd name="connsiteY1" fmla="*/ 6833 h 7611"/>
                <a:gd name="connsiteX2" fmla="*/ 7821 w 10000"/>
                <a:gd name="connsiteY2" fmla="*/ 6833 h 7611"/>
                <a:gd name="connsiteX3" fmla="*/ 8047 w 10000"/>
                <a:gd name="connsiteY3" fmla="*/ 6111 h 7611"/>
                <a:gd name="connsiteX4" fmla="*/ 8648 w 10000"/>
                <a:gd name="connsiteY4" fmla="*/ 5666 h 7611"/>
                <a:gd name="connsiteX5" fmla="*/ 8873 w 10000"/>
                <a:gd name="connsiteY5" fmla="*/ 4834 h 7611"/>
                <a:gd name="connsiteX6" fmla="*/ 8722 w 10000"/>
                <a:gd name="connsiteY6" fmla="*/ 4390 h 7611"/>
                <a:gd name="connsiteX7" fmla="*/ 9098 w 10000"/>
                <a:gd name="connsiteY7" fmla="*/ 3444 h 7611"/>
                <a:gd name="connsiteX8" fmla="*/ 9399 w 10000"/>
                <a:gd name="connsiteY8" fmla="*/ 3166 h 7611"/>
                <a:gd name="connsiteX9" fmla="*/ 10000 w 10000"/>
                <a:gd name="connsiteY9" fmla="*/ 2722 h 7611"/>
                <a:gd name="connsiteX10" fmla="*/ 9774 w 10000"/>
                <a:gd name="connsiteY10" fmla="*/ 2665 h 7611"/>
                <a:gd name="connsiteX11" fmla="*/ 9399 w 10000"/>
                <a:gd name="connsiteY11" fmla="*/ 2390 h 7611"/>
                <a:gd name="connsiteX12" fmla="*/ 9173 w 10000"/>
                <a:gd name="connsiteY12" fmla="*/ 1556 h 7611"/>
                <a:gd name="connsiteX13" fmla="*/ 9173 w 10000"/>
                <a:gd name="connsiteY13" fmla="*/ 1111 h 7611"/>
                <a:gd name="connsiteX14" fmla="*/ 9098 w 10000"/>
                <a:gd name="connsiteY14" fmla="*/ 555 h 7611"/>
                <a:gd name="connsiteX15" fmla="*/ 8873 w 10000"/>
                <a:gd name="connsiteY15" fmla="*/ 389 h 7611"/>
                <a:gd name="connsiteX16" fmla="*/ 8497 w 10000"/>
                <a:gd name="connsiteY16" fmla="*/ 167 h 7611"/>
                <a:gd name="connsiteX17" fmla="*/ 8272 w 10000"/>
                <a:gd name="connsiteY17" fmla="*/ 0 h 7611"/>
                <a:gd name="connsiteX18" fmla="*/ 7821 w 10000"/>
                <a:gd name="connsiteY18" fmla="*/ 223 h 7611"/>
                <a:gd name="connsiteX19" fmla="*/ 7370 w 10000"/>
                <a:gd name="connsiteY19" fmla="*/ 555 h 7611"/>
                <a:gd name="connsiteX20" fmla="*/ 6769 w 10000"/>
                <a:gd name="connsiteY20" fmla="*/ 555 h 7611"/>
                <a:gd name="connsiteX21" fmla="*/ 5717 w 10000"/>
                <a:gd name="connsiteY21" fmla="*/ 555 h 7611"/>
                <a:gd name="connsiteX22" fmla="*/ 5717 w 10000"/>
                <a:gd name="connsiteY22" fmla="*/ 501 h 7611"/>
                <a:gd name="connsiteX23" fmla="*/ 5643 w 10000"/>
                <a:gd name="connsiteY23" fmla="*/ 555 h 7611"/>
                <a:gd name="connsiteX24" fmla="*/ 1961 w 10000"/>
                <a:gd name="connsiteY24" fmla="*/ 555 h 7611"/>
                <a:gd name="connsiteX25" fmla="*/ 1961 w 10000"/>
                <a:gd name="connsiteY25" fmla="*/ 1722 h 7611"/>
                <a:gd name="connsiteX26" fmla="*/ 1285 w 10000"/>
                <a:gd name="connsiteY26" fmla="*/ 1722 h 7611"/>
                <a:gd name="connsiteX27" fmla="*/ 1285 w 10000"/>
                <a:gd name="connsiteY27" fmla="*/ 1945 h 7611"/>
                <a:gd name="connsiteX28" fmla="*/ 1285 w 10000"/>
                <a:gd name="connsiteY28" fmla="*/ 3942 h 7611"/>
                <a:gd name="connsiteX29" fmla="*/ 1135 w 10000"/>
                <a:gd name="connsiteY29" fmla="*/ 4054 h 7611"/>
                <a:gd name="connsiteX30" fmla="*/ 684 w 10000"/>
                <a:gd name="connsiteY30" fmla="*/ 4278 h 7611"/>
                <a:gd name="connsiteX31" fmla="*/ 609 w 10000"/>
                <a:gd name="connsiteY31" fmla="*/ 4556 h 7611"/>
                <a:gd name="connsiteX32" fmla="*/ 384 w 10000"/>
                <a:gd name="connsiteY32" fmla="*/ 4834 h 7611"/>
                <a:gd name="connsiteX33" fmla="*/ 234 w 10000"/>
                <a:gd name="connsiteY33" fmla="*/ 5278 h 7611"/>
                <a:gd name="connsiteX34" fmla="*/ 8 w 10000"/>
                <a:gd name="connsiteY34" fmla="*/ 5779 h 7611"/>
                <a:gd name="connsiteX35" fmla="*/ 384 w 10000"/>
                <a:gd name="connsiteY35" fmla="*/ 5833 h 7611"/>
                <a:gd name="connsiteX36" fmla="*/ 458 w 10000"/>
                <a:gd name="connsiteY36" fmla="*/ 6275 h 7611"/>
                <a:gd name="connsiteX37" fmla="*/ 684 w 10000"/>
                <a:gd name="connsiteY37" fmla="*/ 6721 h 7611"/>
                <a:gd name="connsiteX38" fmla="*/ 1059 w 10000"/>
                <a:gd name="connsiteY38" fmla="*/ 7611 h 7611"/>
                <a:gd name="connsiteX0" fmla="*/ 7446 w 10000"/>
                <a:gd name="connsiteY0" fmla="*/ 9488 h 10068"/>
                <a:gd name="connsiteX1" fmla="*/ 7446 w 10000"/>
                <a:gd name="connsiteY1" fmla="*/ 8978 h 10068"/>
                <a:gd name="connsiteX2" fmla="*/ 7821 w 10000"/>
                <a:gd name="connsiteY2" fmla="*/ 8978 h 10068"/>
                <a:gd name="connsiteX3" fmla="*/ 8047 w 10000"/>
                <a:gd name="connsiteY3" fmla="*/ 8029 h 10068"/>
                <a:gd name="connsiteX4" fmla="*/ 8648 w 10000"/>
                <a:gd name="connsiteY4" fmla="*/ 7444 h 10068"/>
                <a:gd name="connsiteX5" fmla="*/ 8873 w 10000"/>
                <a:gd name="connsiteY5" fmla="*/ 6351 h 10068"/>
                <a:gd name="connsiteX6" fmla="*/ 8722 w 10000"/>
                <a:gd name="connsiteY6" fmla="*/ 5768 h 10068"/>
                <a:gd name="connsiteX7" fmla="*/ 9098 w 10000"/>
                <a:gd name="connsiteY7" fmla="*/ 4525 h 10068"/>
                <a:gd name="connsiteX8" fmla="*/ 9399 w 10000"/>
                <a:gd name="connsiteY8" fmla="*/ 4160 h 10068"/>
                <a:gd name="connsiteX9" fmla="*/ 10000 w 10000"/>
                <a:gd name="connsiteY9" fmla="*/ 3576 h 10068"/>
                <a:gd name="connsiteX10" fmla="*/ 9774 w 10000"/>
                <a:gd name="connsiteY10" fmla="*/ 3502 h 10068"/>
                <a:gd name="connsiteX11" fmla="*/ 9399 w 10000"/>
                <a:gd name="connsiteY11" fmla="*/ 3140 h 10068"/>
                <a:gd name="connsiteX12" fmla="*/ 9173 w 10000"/>
                <a:gd name="connsiteY12" fmla="*/ 2044 h 10068"/>
                <a:gd name="connsiteX13" fmla="*/ 9173 w 10000"/>
                <a:gd name="connsiteY13" fmla="*/ 1460 h 10068"/>
                <a:gd name="connsiteX14" fmla="*/ 9098 w 10000"/>
                <a:gd name="connsiteY14" fmla="*/ 729 h 10068"/>
                <a:gd name="connsiteX15" fmla="*/ 8873 w 10000"/>
                <a:gd name="connsiteY15" fmla="*/ 511 h 10068"/>
                <a:gd name="connsiteX16" fmla="*/ 8497 w 10000"/>
                <a:gd name="connsiteY16" fmla="*/ 219 h 10068"/>
                <a:gd name="connsiteX17" fmla="*/ 8272 w 10000"/>
                <a:gd name="connsiteY17" fmla="*/ 0 h 10068"/>
                <a:gd name="connsiteX18" fmla="*/ 7821 w 10000"/>
                <a:gd name="connsiteY18" fmla="*/ 293 h 10068"/>
                <a:gd name="connsiteX19" fmla="*/ 7370 w 10000"/>
                <a:gd name="connsiteY19" fmla="*/ 729 h 10068"/>
                <a:gd name="connsiteX20" fmla="*/ 6769 w 10000"/>
                <a:gd name="connsiteY20" fmla="*/ 729 h 10068"/>
                <a:gd name="connsiteX21" fmla="*/ 5717 w 10000"/>
                <a:gd name="connsiteY21" fmla="*/ 729 h 10068"/>
                <a:gd name="connsiteX22" fmla="*/ 5717 w 10000"/>
                <a:gd name="connsiteY22" fmla="*/ 658 h 10068"/>
                <a:gd name="connsiteX23" fmla="*/ 5643 w 10000"/>
                <a:gd name="connsiteY23" fmla="*/ 729 h 10068"/>
                <a:gd name="connsiteX24" fmla="*/ 1961 w 10000"/>
                <a:gd name="connsiteY24" fmla="*/ 729 h 10068"/>
                <a:gd name="connsiteX25" fmla="*/ 1961 w 10000"/>
                <a:gd name="connsiteY25" fmla="*/ 2263 h 10068"/>
                <a:gd name="connsiteX26" fmla="*/ 1285 w 10000"/>
                <a:gd name="connsiteY26" fmla="*/ 2263 h 10068"/>
                <a:gd name="connsiteX27" fmla="*/ 1285 w 10000"/>
                <a:gd name="connsiteY27" fmla="*/ 2556 h 10068"/>
                <a:gd name="connsiteX28" fmla="*/ 1285 w 10000"/>
                <a:gd name="connsiteY28" fmla="*/ 5179 h 10068"/>
                <a:gd name="connsiteX29" fmla="*/ 1135 w 10000"/>
                <a:gd name="connsiteY29" fmla="*/ 5327 h 10068"/>
                <a:gd name="connsiteX30" fmla="*/ 684 w 10000"/>
                <a:gd name="connsiteY30" fmla="*/ 5621 h 10068"/>
                <a:gd name="connsiteX31" fmla="*/ 609 w 10000"/>
                <a:gd name="connsiteY31" fmla="*/ 5986 h 10068"/>
                <a:gd name="connsiteX32" fmla="*/ 384 w 10000"/>
                <a:gd name="connsiteY32" fmla="*/ 6351 h 10068"/>
                <a:gd name="connsiteX33" fmla="*/ 234 w 10000"/>
                <a:gd name="connsiteY33" fmla="*/ 6935 h 10068"/>
                <a:gd name="connsiteX34" fmla="*/ 8 w 10000"/>
                <a:gd name="connsiteY34" fmla="*/ 7593 h 10068"/>
                <a:gd name="connsiteX35" fmla="*/ 384 w 10000"/>
                <a:gd name="connsiteY35" fmla="*/ 7664 h 10068"/>
                <a:gd name="connsiteX36" fmla="*/ 458 w 10000"/>
                <a:gd name="connsiteY36" fmla="*/ 8245 h 10068"/>
                <a:gd name="connsiteX37" fmla="*/ 684 w 10000"/>
                <a:gd name="connsiteY37" fmla="*/ 8831 h 10068"/>
                <a:gd name="connsiteX38" fmla="*/ 1059 w 10000"/>
                <a:gd name="connsiteY38" fmla="*/ 10000 h 10068"/>
                <a:gd name="connsiteX39" fmla="*/ 1058 w 10000"/>
                <a:gd name="connsiteY39" fmla="*/ 9928 h 10068"/>
                <a:gd name="connsiteX0" fmla="*/ 7446 w 10000"/>
                <a:gd name="connsiteY0" fmla="*/ 9488 h 10035"/>
                <a:gd name="connsiteX1" fmla="*/ 7446 w 10000"/>
                <a:gd name="connsiteY1" fmla="*/ 8978 h 10035"/>
                <a:gd name="connsiteX2" fmla="*/ 7821 w 10000"/>
                <a:gd name="connsiteY2" fmla="*/ 8978 h 10035"/>
                <a:gd name="connsiteX3" fmla="*/ 8047 w 10000"/>
                <a:gd name="connsiteY3" fmla="*/ 8029 h 10035"/>
                <a:gd name="connsiteX4" fmla="*/ 8648 w 10000"/>
                <a:gd name="connsiteY4" fmla="*/ 7444 h 10035"/>
                <a:gd name="connsiteX5" fmla="*/ 8873 w 10000"/>
                <a:gd name="connsiteY5" fmla="*/ 6351 h 10035"/>
                <a:gd name="connsiteX6" fmla="*/ 8722 w 10000"/>
                <a:gd name="connsiteY6" fmla="*/ 5768 h 10035"/>
                <a:gd name="connsiteX7" fmla="*/ 9098 w 10000"/>
                <a:gd name="connsiteY7" fmla="*/ 4525 h 10035"/>
                <a:gd name="connsiteX8" fmla="*/ 9399 w 10000"/>
                <a:gd name="connsiteY8" fmla="*/ 4160 h 10035"/>
                <a:gd name="connsiteX9" fmla="*/ 10000 w 10000"/>
                <a:gd name="connsiteY9" fmla="*/ 3576 h 10035"/>
                <a:gd name="connsiteX10" fmla="*/ 9774 w 10000"/>
                <a:gd name="connsiteY10" fmla="*/ 3502 h 10035"/>
                <a:gd name="connsiteX11" fmla="*/ 9399 w 10000"/>
                <a:gd name="connsiteY11" fmla="*/ 3140 h 10035"/>
                <a:gd name="connsiteX12" fmla="*/ 9173 w 10000"/>
                <a:gd name="connsiteY12" fmla="*/ 2044 h 10035"/>
                <a:gd name="connsiteX13" fmla="*/ 9173 w 10000"/>
                <a:gd name="connsiteY13" fmla="*/ 1460 h 10035"/>
                <a:gd name="connsiteX14" fmla="*/ 9098 w 10000"/>
                <a:gd name="connsiteY14" fmla="*/ 729 h 10035"/>
                <a:gd name="connsiteX15" fmla="*/ 8873 w 10000"/>
                <a:gd name="connsiteY15" fmla="*/ 511 h 10035"/>
                <a:gd name="connsiteX16" fmla="*/ 8497 w 10000"/>
                <a:gd name="connsiteY16" fmla="*/ 219 h 10035"/>
                <a:gd name="connsiteX17" fmla="*/ 8272 w 10000"/>
                <a:gd name="connsiteY17" fmla="*/ 0 h 10035"/>
                <a:gd name="connsiteX18" fmla="*/ 7821 w 10000"/>
                <a:gd name="connsiteY18" fmla="*/ 293 h 10035"/>
                <a:gd name="connsiteX19" fmla="*/ 7370 w 10000"/>
                <a:gd name="connsiteY19" fmla="*/ 729 h 10035"/>
                <a:gd name="connsiteX20" fmla="*/ 6769 w 10000"/>
                <a:gd name="connsiteY20" fmla="*/ 729 h 10035"/>
                <a:gd name="connsiteX21" fmla="*/ 5717 w 10000"/>
                <a:gd name="connsiteY21" fmla="*/ 729 h 10035"/>
                <a:gd name="connsiteX22" fmla="*/ 5717 w 10000"/>
                <a:gd name="connsiteY22" fmla="*/ 658 h 10035"/>
                <a:gd name="connsiteX23" fmla="*/ 5643 w 10000"/>
                <a:gd name="connsiteY23" fmla="*/ 729 h 10035"/>
                <a:gd name="connsiteX24" fmla="*/ 1961 w 10000"/>
                <a:gd name="connsiteY24" fmla="*/ 729 h 10035"/>
                <a:gd name="connsiteX25" fmla="*/ 1961 w 10000"/>
                <a:gd name="connsiteY25" fmla="*/ 2263 h 10035"/>
                <a:gd name="connsiteX26" fmla="*/ 1285 w 10000"/>
                <a:gd name="connsiteY26" fmla="*/ 2263 h 10035"/>
                <a:gd name="connsiteX27" fmla="*/ 1285 w 10000"/>
                <a:gd name="connsiteY27" fmla="*/ 2556 h 10035"/>
                <a:gd name="connsiteX28" fmla="*/ 1285 w 10000"/>
                <a:gd name="connsiteY28" fmla="*/ 5179 h 10035"/>
                <a:gd name="connsiteX29" fmla="*/ 1135 w 10000"/>
                <a:gd name="connsiteY29" fmla="*/ 5327 h 10035"/>
                <a:gd name="connsiteX30" fmla="*/ 684 w 10000"/>
                <a:gd name="connsiteY30" fmla="*/ 5621 h 10035"/>
                <a:gd name="connsiteX31" fmla="*/ 609 w 10000"/>
                <a:gd name="connsiteY31" fmla="*/ 5986 h 10035"/>
                <a:gd name="connsiteX32" fmla="*/ 384 w 10000"/>
                <a:gd name="connsiteY32" fmla="*/ 6351 h 10035"/>
                <a:gd name="connsiteX33" fmla="*/ 234 w 10000"/>
                <a:gd name="connsiteY33" fmla="*/ 6935 h 10035"/>
                <a:gd name="connsiteX34" fmla="*/ 8 w 10000"/>
                <a:gd name="connsiteY34" fmla="*/ 7593 h 10035"/>
                <a:gd name="connsiteX35" fmla="*/ 384 w 10000"/>
                <a:gd name="connsiteY35" fmla="*/ 7664 h 10035"/>
                <a:gd name="connsiteX36" fmla="*/ 458 w 10000"/>
                <a:gd name="connsiteY36" fmla="*/ 8245 h 10035"/>
                <a:gd name="connsiteX37" fmla="*/ 684 w 10000"/>
                <a:gd name="connsiteY37" fmla="*/ 8831 h 10035"/>
                <a:gd name="connsiteX38" fmla="*/ 1059 w 10000"/>
                <a:gd name="connsiteY38" fmla="*/ 10000 h 10035"/>
                <a:gd name="connsiteX39" fmla="*/ 1750 w 10000"/>
                <a:gd name="connsiteY39" fmla="*/ 9592 h 10035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0" fmla="*/ 7446 w 10000"/>
                <a:gd name="connsiteY0" fmla="*/ 9488 h 10127"/>
                <a:gd name="connsiteX1" fmla="*/ 7446 w 10000"/>
                <a:gd name="connsiteY1" fmla="*/ 8978 h 10127"/>
                <a:gd name="connsiteX2" fmla="*/ 7821 w 10000"/>
                <a:gd name="connsiteY2" fmla="*/ 8978 h 10127"/>
                <a:gd name="connsiteX3" fmla="*/ 8047 w 10000"/>
                <a:gd name="connsiteY3" fmla="*/ 8029 h 10127"/>
                <a:gd name="connsiteX4" fmla="*/ 8648 w 10000"/>
                <a:gd name="connsiteY4" fmla="*/ 7444 h 10127"/>
                <a:gd name="connsiteX5" fmla="*/ 8873 w 10000"/>
                <a:gd name="connsiteY5" fmla="*/ 6351 h 10127"/>
                <a:gd name="connsiteX6" fmla="*/ 8722 w 10000"/>
                <a:gd name="connsiteY6" fmla="*/ 5768 h 10127"/>
                <a:gd name="connsiteX7" fmla="*/ 9098 w 10000"/>
                <a:gd name="connsiteY7" fmla="*/ 4525 h 10127"/>
                <a:gd name="connsiteX8" fmla="*/ 9399 w 10000"/>
                <a:gd name="connsiteY8" fmla="*/ 4160 h 10127"/>
                <a:gd name="connsiteX9" fmla="*/ 10000 w 10000"/>
                <a:gd name="connsiteY9" fmla="*/ 3576 h 10127"/>
                <a:gd name="connsiteX10" fmla="*/ 9774 w 10000"/>
                <a:gd name="connsiteY10" fmla="*/ 3502 h 10127"/>
                <a:gd name="connsiteX11" fmla="*/ 9399 w 10000"/>
                <a:gd name="connsiteY11" fmla="*/ 3140 h 10127"/>
                <a:gd name="connsiteX12" fmla="*/ 9173 w 10000"/>
                <a:gd name="connsiteY12" fmla="*/ 2044 h 10127"/>
                <a:gd name="connsiteX13" fmla="*/ 9173 w 10000"/>
                <a:gd name="connsiteY13" fmla="*/ 1460 h 10127"/>
                <a:gd name="connsiteX14" fmla="*/ 9098 w 10000"/>
                <a:gd name="connsiteY14" fmla="*/ 729 h 10127"/>
                <a:gd name="connsiteX15" fmla="*/ 8873 w 10000"/>
                <a:gd name="connsiteY15" fmla="*/ 511 h 10127"/>
                <a:gd name="connsiteX16" fmla="*/ 8497 w 10000"/>
                <a:gd name="connsiteY16" fmla="*/ 219 h 10127"/>
                <a:gd name="connsiteX17" fmla="*/ 8272 w 10000"/>
                <a:gd name="connsiteY17" fmla="*/ 0 h 10127"/>
                <a:gd name="connsiteX18" fmla="*/ 7821 w 10000"/>
                <a:gd name="connsiteY18" fmla="*/ 293 h 10127"/>
                <a:gd name="connsiteX19" fmla="*/ 7370 w 10000"/>
                <a:gd name="connsiteY19" fmla="*/ 729 h 10127"/>
                <a:gd name="connsiteX20" fmla="*/ 6769 w 10000"/>
                <a:gd name="connsiteY20" fmla="*/ 729 h 10127"/>
                <a:gd name="connsiteX21" fmla="*/ 5717 w 10000"/>
                <a:gd name="connsiteY21" fmla="*/ 729 h 10127"/>
                <a:gd name="connsiteX22" fmla="*/ 5717 w 10000"/>
                <a:gd name="connsiteY22" fmla="*/ 658 h 10127"/>
                <a:gd name="connsiteX23" fmla="*/ 5643 w 10000"/>
                <a:gd name="connsiteY23" fmla="*/ 729 h 10127"/>
                <a:gd name="connsiteX24" fmla="*/ 1961 w 10000"/>
                <a:gd name="connsiteY24" fmla="*/ 729 h 10127"/>
                <a:gd name="connsiteX25" fmla="*/ 1961 w 10000"/>
                <a:gd name="connsiteY25" fmla="*/ 2263 h 10127"/>
                <a:gd name="connsiteX26" fmla="*/ 1285 w 10000"/>
                <a:gd name="connsiteY26" fmla="*/ 2263 h 10127"/>
                <a:gd name="connsiteX27" fmla="*/ 1285 w 10000"/>
                <a:gd name="connsiteY27" fmla="*/ 2556 h 10127"/>
                <a:gd name="connsiteX28" fmla="*/ 1285 w 10000"/>
                <a:gd name="connsiteY28" fmla="*/ 5179 h 10127"/>
                <a:gd name="connsiteX29" fmla="*/ 1135 w 10000"/>
                <a:gd name="connsiteY29" fmla="*/ 5327 h 10127"/>
                <a:gd name="connsiteX30" fmla="*/ 684 w 10000"/>
                <a:gd name="connsiteY30" fmla="*/ 5621 h 10127"/>
                <a:gd name="connsiteX31" fmla="*/ 609 w 10000"/>
                <a:gd name="connsiteY31" fmla="*/ 5986 h 10127"/>
                <a:gd name="connsiteX32" fmla="*/ 384 w 10000"/>
                <a:gd name="connsiteY32" fmla="*/ 6351 h 10127"/>
                <a:gd name="connsiteX33" fmla="*/ 234 w 10000"/>
                <a:gd name="connsiteY33" fmla="*/ 6935 h 10127"/>
                <a:gd name="connsiteX34" fmla="*/ 8 w 10000"/>
                <a:gd name="connsiteY34" fmla="*/ 7593 h 10127"/>
                <a:gd name="connsiteX35" fmla="*/ 384 w 10000"/>
                <a:gd name="connsiteY35" fmla="*/ 7664 h 10127"/>
                <a:gd name="connsiteX36" fmla="*/ 458 w 10000"/>
                <a:gd name="connsiteY36" fmla="*/ 8245 h 10127"/>
                <a:gd name="connsiteX37" fmla="*/ 684 w 10000"/>
                <a:gd name="connsiteY37" fmla="*/ 8831 h 10127"/>
                <a:gd name="connsiteX38" fmla="*/ 1059 w 10000"/>
                <a:gd name="connsiteY38" fmla="*/ 10000 h 10127"/>
                <a:gd name="connsiteX39" fmla="*/ 1840 w 10000"/>
                <a:gd name="connsiteY39" fmla="*/ 10103 h 10127"/>
                <a:gd name="connsiteX40" fmla="*/ 1827 w 10000"/>
                <a:gd name="connsiteY40" fmla="*/ 10127 h 10127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2544 w 10000"/>
                <a:gd name="connsiteY40" fmla="*/ 10002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2518 w 10000"/>
                <a:gd name="connsiteY41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3453 w 10000"/>
                <a:gd name="connsiteY41" fmla="*/ 9915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4414 w 10000"/>
                <a:gd name="connsiteY43" fmla="*/ 9791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515 w 10000"/>
                <a:gd name="connsiteY44" fmla="*/ 9654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411 w 10000"/>
                <a:gd name="connsiteY44" fmla="*/ 9517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5988 w 10000"/>
                <a:gd name="connsiteY44" fmla="*/ 921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5541 w 10000"/>
                <a:gd name="connsiteY43" fmla="*/ 9679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56 w 10000"/>
                <a:gd name="connsiteY44" fmla="*/ 9193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881 w 10000"/>
                <a:gd name="connsiteY44" fmla="*/ 9296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93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2518 w 10000"/>
                <a:gd name="connsiteY42" fmla="*/ 10002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4529 w 10000"/>
                <a:gd name="connsiteY41" fmla="*/ 9803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69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40 w 10000"/>
                <a:gd name="connsiteY41" fmla="*/ 7935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15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18 w 10000"/>
                <a:gd name="connsiteY42" fmla="*/ 8060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524 w 10000"/>
                <a:gd name="connsiteY42" fmla="*/ 8107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401 w 10000"/>
                <a:gd name="connsiteY41" fmla="*/ 7898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3466 w 10000"/>
                <a:gd name="connsiteY40" fmla="*/ 9927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5521 w 10000"/>
                <a:gd name="connsiteY40" fmla="*/ 8508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47 w 10000"/>
                <a:gd name="connsiteY42" fmla="*/ 8144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11 w 10000"/>
                <a:gd name="connsiteY40" fmla="*/ 8349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24 w 10000"/>
                <a:gd name="connsiteY41" fmla="*/ 7954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126"/>
                <a:gd name="connsiteX1" fmla="*/ 7446 w 10000"/>
                <a:gd name="connsiteY1" fmla="*/ 8978 h 10126"/>
                <a:gd name="connsiteX2" fmla="*/ 7821 w 10000"/>
                <a:gd name="connsiteY2" fmla="*/ 8978 h 10126"/>
                <a:gd name="connsiteX3" fmla="*/ 8047 w 10000"/>
                <a:gd name="connsiteY3" fmla="*/ 8029 h 10126"/>
                <a:gd name="connsiteX4" fmla="*/ 8648 w 10000"/>
                <a:gd name="connsiteY4" fmla="*/ 7444 h 10126"/>
                <a:gd name="connsiteX5" fmla="*/ 8873 w 10000"/>
                <a:gd name="connsiteY5" fmla="*/ 6351 h 10126"/>
                <a:gd name="connsiteX6" fmla="*/ 8722 w 10000"/>
                <a:gd name="connsiteY6" fmla="*/ 5768 h 10126"/>
                <a:gd name="connsiteX7" fmla="*/ 9098 w 10000"/>
                <a:gd name="connsiteY7" fmla="*/ 4525 h 10126"/>
                <a:gd name="connsiteX8" fmla="*/ 9399 w 10000"/>
                <a:gd name="connsiteY8" fmla="*/ 4160 h 10126"/>
                <a:gd name="connsiteX9" fmla="*/ 10000 w 10000"/>
                <a:gd name="connsiteY9" fmla="*/ 3576 h 10126"/>
                <a:gd name="connsiteX10" fmla="*/ 9774 w 10000"/>
                <a:gd name="connsiteY10" fmla="*/ 3502 h 10126"/>
                <a:gd name="connsiteX11" fmla="*/ 9399 w 10000"/>
                <a:gd name="connsiteY11" fmla="*/ 3140 h 10126"/>
                <a:gd name="connsiteX12" fmla="*/ 9173 w 10000"/>
                <a:gd name="connsiteY12" fmla="*/ 2044 h 10126"/>
                <a:gd name="connsiteX13" fmla="*/ 9173 w 10000"/>
                <a:gd name="connsiteY13" fmla="*/ 1460 h 10126"/>
                <a:gd name="connsiteX14" fmla="*/ 9098 w 10000"/>
                <a:gd name="connsiteY14" fmla="*/ 729 h 10126"/>
                <a:gd name="connsiteX15" fmla="*/ 8873 w 10000"/>
                <a:gd name="connsiteY15" fmla="*/ 511 h 10126"/>
                <a:gd name="connsiteX16" fmla="*/ 8497 w 10000"/>
                <a:gd name="connsiteY16" fmla="*/ 219 h 10126"/>
                <a:gd name="connsiteX17" fmla="*/ 8272 w 10000"/>
                <a:gd name="connsiteY17" fmla="*/ 0 h 10126"/>
                <a:gd name="connsiteX18" fmla="*/ 7821 w 10000"/>
                <a:gd name="connsiteY18" fmla="*/ 293 h 10126"/>
                <a:gd name="connsiteX19" fmla="*/ 7370 w 10000"/>
                <a:gd name="connsiteY19" fmla="*/ 729 h 10126"/>
                <a:gd name="connsiteX20" fmla="*/ 6769 w 10000"/>
                <a:gd name="connsiteY20" fmla="*/ 729 h 10126"/>
                <a:gd name="connsiteX21" fmla="*/ 5717 w 10000"/>
                <a:gd name="connsiteY21" fmla="*/ 729 h 10126"/>
                <a:gd name="connsiteX22" fmla="*/ 5717 w 10000"/>
                <a:gd name="connsiteY22" fmla="*/ 658 h 10126"/>
                <a:gd name="connsiteX23" fmla="*/ 5643 w 10000"/>
                <a:gd name="connsiteY23" fmla="*/ 729 h 10126"/>
                <a:gd name="connsiteX24" fmla="*/ 1961 w 10000"/>
                <a:gd name="connsiteY24" fmla="*/ 729 h 10126"/>
                <a:gd name="connsiteX25" fmla="*/ 1961 w 10000"/>
                <a:gd name="connsiteY25" fmla="*/ 2263 h 10126"/>
                <a:gd name="connsiteX26" fmla="*/ 1285 w 10000"/>
                <a:gd name="connsiteY26" fmla="*/ 2263 h 10126"/>
                <a:gd name="connsiteX27" fmla="*/ 1285 w 10000"/>
                <a:gd name="connsiteY27" fmla="*/ 2556 h 10126"/>
                <a:gd name="connsiteX28" fmla="*/ 1285 w 10000"/>
                <a:gd name="connsiteY28" fmla="*/ 5179 h 10126"/>
                <a:gd name="connsiteX29" fmla="*/ 1135 w 10000"/>
                <a:gd name="connsiteY29" fmla="*/ 5327 h 10126"/>
                <a:gd name="connsiteX30" fmla="*/ 684 w 10000"/>
                <a:gd name="connsiteY30" fmla="*/ 5621 h 10126"/>
                <a:gd name="connsiteX31" fmla="*/ 609 w 10000"/>
                <a:gd name="connsiteY31" fmla="*/ 5986 h 10126"/>
                <a:gd name="connsiteX32" fmla="*/ 384 w 10000"/>
                <a:gd name="connsiteY32" fmla="*/ 6351 h 10126"/>
                <a:gd name="connsiteX33" fmla="*/ 234 w 10000"/>
                <a:gd name="connsiteY33" fmla="*/ 6935 h 10126"/>
                <a:gd name="connsiteX34" fmla="*/ 8 w 10000"/>
                <a:gd name="connsiteY34" fmla="*/ 7593 h 10126"/>
                <a:gd name="connsiteX35" fmla="*/ 384 w 10000"/>
                <a:gd name="connsiteY35" fmla="*/ 7664 h 10126"/>
                <a:gd name="connsiteX36" fmla="*/ 458 w 10000"/>
                <a:gd name="connsiteY36" fmla="*/ 8245 h 10126"/>
                <a:gd name="connsiteX37" fmla="*/ 684 w 10000"/>
                <a:gd name="connsiteY37" fmla="*/ 8831 h 10126"/>
                <a:gd name="connsiteX38" fmla="*/ 1059 w 10000"/>
                <a:gd name="connsiteY38" fmla="*/ 10000 h 10126"/>
                <a:gd name="connsiteX39" fmla="*/ 1840 w 10000"/>
                <a:gd name="connsiteY39" fmla="*/ 10103 h 10126"/>
                <a:gd name="connsiteX40" fmla="*/ 6040 w 10000"/>
                <a:gd name="connsiteY40" fmla="*/ 8368 h 10126"/>
                <a:gd name="connsiteX41" fmla="*/ 6382 w 10000"/>
                <a:gd name="connsiteY41" fmla="*/ 7982 h 10126"/>
                <a:gd name="connsiteX42" fmla="*/ 6428 w 10000"/>
                <a:gd name="connsiteY42" fmla="*/ 8181 h 10126"/>
                <a:gd name="connsiteX43" fmla="*/ 6444 w 10000"/>
                <a:gd name="connsiteY43" fmla="*/ 8428 h 10126"/>
                <a:gd name="connsiteX44" fmla="*/ 6766 w 10000"/>
                <a:gd name="connsiteY44" fmla="*/ 9268 h 10126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5807 w 10000"/>
                <a:gd name="connsiteY39" fmla="*/ 8693 h 10015"/>
                <a:gd name="connsiteX40" fmla="*/ 6040 w 10000"/>
                <a:gd name="connsiteY40" fmla="*/ 8368 h 10015"/>
                <a:gd name="connsiteX41" fmla="*/ 6382 w 10000"/>
                <a:gd name="connsiteY41" fmla="*/ 7982 h 10015"/>
                <a:gd name="connsiteX42" fmla="*/ 6428 w 10000"/>
                <a:gd name="connsiteY42" fmla="*/ 8181 h 10015"/>
                <a:gd name="connsiteX43" fmla="*/ 6444 w 10000"/>
                <a:gd name="connsiteY43" fmla="*/ 8428 h 10015"/>
                <a:gd name="connsiteX44" fmla="*/ 6766 w 10000"/>
                <a:gd name="connsiteY44" fmla="*/ 9268 h 10015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07 w 10000"/>
                <a:gd name="connsiteY39" fmla="*/ 8693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5865 w 10000"/>
                <a:gd name="connsiteY39" fmla="*/ 8712 h 10018"/>
                <a:gd name="connsiteX40" fmla="*/ 6040 w 10000"/>
                <a:gd name="connsiteY40" fmla="*/ 8368 h 10018"/>
                <a:gd name="connsiteX41" fmla="*/ 6382 w 10000"/>
                <a:gd name="connsiteY41" fmla="*/ 7982 h 10018"/>
                <a:gd name="connsiteX42" fmla="*/ 6428 w 10000"/>
                <a:gd name="connsiteY42" fmla="*/ 8181 h 10018"/>
                <a:gd name="connsiteX43" fmla="*/ 6444 w 10000"/>
                <a:gd name="connsiteY43" fmla="*/ 8428 h 10018"/>
                <a:gd name="connsiteX44" fmla="*/ 6766 w 10000"/>
                <a:gd name="connsiteY44" fmla="*/ 9268 h 10018"/>
                <a:gd name="connsiteX0" fmla="*/ 7446 w 10000"/>
                <a:gd name="connsiteY0" fmla="*/ 9488 h 10160"/>
                <a:gd name="connsiteX1" fmla="*/ 7446 w 10000"/>
                <a:gd name="connsiteY1" fmla="*/ 8978 h 10160"/>
                <a:gd name="connsiteX2" fmla="*/ 7821 w 10000"/>
                <a:gd name="connsiteY2" fmla="*/ 8978 h 10160"/>
                <a:gd name="connsiteX3" fmla="*/ 8047 w 10000"/>
                <a:gd name="connsiteY3" fmla="*/ 8029 h 10160"/>
                <a:gd name="connsiteX4" fmla="*/ 8648 w 10000"/>
                <a:gd name="connsiteY4" fmla="*/ 7444 h 10160"/>
                <a:gd name="connsiteX5" fmla="*/ 8873 w 10000"/>
                <a:gd name="connsiteY5" fmla="*/ 6351 h 10160"/>
                <a:gd name="connsiteX6" fmla="*/ 8722 w 10000"/>
                <a:gd name="connsiteY6" fmla="*/ 5768 h 10160"/>
                <a:gd name="connsiteX7" fmla="*/ 9098 w 10000"/>
                <a:gd name="connsiteY7" fmla="*/ 4525 h 10160"/>
                <a:gd name="connsiteX8" fmla="*/ 9399 w 10000"/>
                <a:gd name="connsiteY8" fmla="*/ 4160 h 10160"/>
                <a:gd name="connsiteX9" fmla="*/ 10000 w 10000"/>
                <a:gd name="connsiteY9" fmla="*/ 3576 h 10160"/>
                <a:gd name="connsiteX10" fmla="*/ 9774 w 10000"/>
                <a:gd name="connsiteY10" fmla="*/ 3502 h 10160"/>
                <a:gd name="connsiteX11" fmla="*/ 9399 w 10000"/>
                <a:gd name="connsiteY11" fmla="*/ 3140 h 10160"/>
                <a:gd name="connsiteX12" fmla="*/ 9173 w 10000"/>
                <a:gd name="connsiteY12" fmla="*/ 2044 h 10160"/>
                <a:gd name="connsiteX13" fmla="*/ 9173 w 10000"/>
                <a:gd name="connsiteY13" fmla="*/ 1460 h 10160"/>
                <a:gd name="connsiteX14" fmla="*/ 9098 w 10000"/>
                <a:gd name="connsiteY14" fmla="*/ 729 h 10160"/>
                <a:gd name="connsiteX15" fmla="*/ 8873 w 10000"/>
                <a:gd name="connsiteY15" fmla="*/ 511 h 10160"/>
                <a:gd name="connsiteX16" fmla="*/ 8497 w 10000"/>
                <a:gd name="connsiteY16" fmla="*/ 219 h 10160"/>
                <a:gd name="connsiteX17" fmla="*/ 8272 w 10000"/>
                <a:gd name="connsiteY17" fmla="*/ 0 h 10160"/>
                <a:gd name="connsiteX18" fmla="*/ 7821 w 10000"/>
                <a:gd name="connsiteY18" fmla="*/ 293 h 10160"/>
                <a:gd name="connsiteX19" fmla="*/ 7370 w 10000"/>
                <a:gd name="connsiteY19" fmla="*/ 729 h 10160"/>
                <a:gd name="connsiteX20" fmla="*/ 6769 w 10000"/>
                <a:gd name="connsiteY20" fmla="*/ 729 h 10160"/>
                <a:gd name="connsiteX21" fmla="*/ 5717 w 10000"/>
                <a:gd name="connsiteY21" fmla="*/ 729 h 10160"/>
                <a:gd name="connsiteX22" fmla="*/ 5717 w 10000"/>
                <a:gd name="connsiteY22" fmla="*/ 658 h 10160"/>
                <a:gd name="connsiteX23" fmla="*/ 5643 w 10000"/>
                <a:gd name="connsiteY23" fmla="*/ 729 h 10160"/>
                <a:gd name="connsiteX24" fmla="*/ 1961 w 10000"/>
                <a:gd name="connsiteY24" fmla="*/ 729 h 10160"/>
                <a:gd name="connsiteX25" fmla="*/ 1961 w 10000"/>
                <a:gd name="connsiteY25" fmla="*/ 2263 h 10160"/>
                <a:gd name="connsiteX26" fmla="*/ 1285 w 10000"/>
                <a:gd name="connsiteY26" fmla="*/ 2263 h 10160"/>
                <a:gd name="connsiteX27" fmla="*/ 1285 w 10000"/>
                <a:gd name="connsiteY27" fmla="*/ 2556 h 10160"/>
                <a:gd name="connsiteX28" fmla="*/ 1285 w 10000"/>
                <a:gd name="connsiteY28" fmla="*/ 5179 h 10160"/>
                <a:gd name="connsiteX29" fmla="*/ 1135 w 10000"/>
                <a:gd name="connsiteY29" fmla="*/ 5327 h 10160"/>
                <a:gd name="connsiteX30" fmla="*/ 684 w 10000"/>
                <a:gd name="connsiteY30" fmla="*/ 5621 h 10160"/>
                <a:gd name="connsiteX31" fmla="*/ 609 w 10000"/>
                <a:gd name="connsiteY31" fmla="*/ 5986 h 10160"/>
                <a:gd name="connsiteX32" fmla="*/ 384 w 10000"/>
                <a:gd name="connsiteY32" fmla="*/ 6351 h 10160"/>
                <a:gd name="connsiteX33" fmla="*/ 234 w 10000"/>
                <a:gd name="connsiteY33" fmla="*/ 6935 h 10160"/>
                <a:gd name="connsiteX34" fmla="*/ 8 w 10000"/>
                <a:gd name="connsiteY34" fmla="*/ 7593 h 10160"/>
                <a:gd name="connsiteX35" fmla="*/ 384 w 10000"/>
                <a:gd name="connsiteY35" fmla="*/ 7664 h 10160"/>
                <a:gd name="connsiteX36" fmla="*/ 458 w 10000"/>
                <a:gd name="connsiteY36" fmla="*/ 8245 h 10160"/>
                <a:gd name="connsiteX37" fmla="*/ 684 w 10000"/>
                <a:gd name="connsiteY37" fmla="*/ 8831 h 10160"/>
                <a:gd name="connsiteX38" fmla="*/ 1059 w 10000"/>
                <a:gd name="connsiteY38" fmla="*/ 10000 h 10160"/>
                <a:gd name="connsiteX39" fmla="*/ 1058 w 10000"/>
                <a:gd name="connsiteY39" fmla="*/ 10012 h 10160"/>
                <a:gd name="connsiteX40" fmla="*/ 5865 w 10000"/>
                <a:gd name="connsiteY40" fmla="*/ 8712 h 10160"/>
                <a:gd name="connsiteX41" fmla="*/ 6040 w 10000"/>
                <a:gd name="connsiteY41" fmla="*/ 8368 h 10160"/>
                <a:gd name="connsiteX42" fmla="*/ 6382 w 10000"/>
                <a:gd name="connsiteY42" fmla="*/ 7982 h 10160"/>
                <a:gd name="connsiteX43" fmla="*/ 6428 w 10000"/>
                <a:gd name="connsiteY43" fmla="*/ 8181 h 10160"/>
                <a:gd name="connsiteX44" fmla="*/ 6444 w 10000"/>
                <a:gd name="connsiteY44" fmla="*/ 8428 h 10160"/>
                <a:gd name="connsiteX45" fmla="*/ 6766 w 10000"/>
                <a:gd name="connsiteY45" fmla="*/ 9268 h 10160"/>
                <a:gd name="connsiteX0" fmla="*/ 7446 w 10000"/>
                <a:gd name="connsiteY0" fmla="*/ 9488 h 10258"/>
                <a:gd name="connsiteX1" fmla="*/ 7446 w 10000"/>
                <a:gd name="connsiteY1" fmla="*/ 8978 h 10258"/>
                <a:gd name="connsiteX2" fmla="*/ 7821 w 10000"/>
                <a:gd name="connsiteY2" fmla="*/ 8978 h 10258"/>
                <a:gd name="connsiteX3" fmla="*/ 8047 w 10000"/>
                <a:gd name="connsiteY3" fmla="*/ 8029 h 10258"/>
                <a:gd name="connsiteX4" fmla="*/ 8648 w 10000"/>
                <a:gd name="connsiteY4" fmla="*/ 7444 h 10258"/>
                <a:gd name="connsiteX5" fmla="*/ 8873 w 10000"/>
                <a:gd name="connsiteY5" fmla="*/ 6351 h 10258"/>
                <a:gd name="connsiteX6" fmla="*/ 8722 w 10000"/>
                <a:gd name="connsiteY6" fmla="*/ 5768 h 10258"/>
                <a:gd name="connsiteX7" fmla="*/ 9098 w 10000"/>
                <a:gd name="connsiteY7" fmla="*/ 4525 h 10258"/>
                <a:gd name="connsiteX8" fmla="*/ 9399 w 10000"/>
                <a:gd name="connsiteY8" fmla="*/ 4160 h 10258"/>
                <a:gd name="connsiteX9" fmla="*/ 10000 w 10000"/>
                <a:gd name="connsiteY9" fmla="*/ 3576 h 10258"/>
                <a:gd name="connsiteX10" fmla="*/ 9774 w 10000"/>
                <a:gd name="connsiteY10" fmla="*/ 3502 h 10258"/>
                <a:gd name="connsiteX11" fmla="*/ 9399 w 10000"/>
                <a:gd name="connsiteY11" fmla="*/ 3140 h 10258"/>
                <a:gd name="connsiteX12" fmla="*/ 9173 w 10000"/>
                <a:gd name="connsiteY12" fmla="*/ 2044 h 10258"/>
                <a:gd name="connsiteX13" fmla="*/ 9173 w 10000"/>
                <a:gd name="connsiteY13" fmla="*/ 1460 h 10258"/>
                <a:gd name="connsiteX14" fmla="*/ 9098 w 10000"/>
                <a:gd name="connsiteY14" fmla="*/ 729 h 10258"/>
                <a:gd name="connsiteX15" fmla="*/ 8873 w 10000"/>
                <a:gd name="connsiteY15" fmla="*/ 511 h 10258"/>
                <a:gd name="connsiteX16" fmla="*/ 8497 w 10000"/>
                <a:gd name="connsiteY16" fmla="*/ 219 h 10258"/>
                <a:gd name="connsiteX17" fmla="*/ 8272 w 10000"/>
                <a:gd name="connsiteY17" fmla="*/ 0 h 10258"/>
                <a:gd name="connsiteX18" fmla="*/ 7821 w 10000"/>
                <a:gd name="connsiteY18" fmla="*/ 293 h 10258"/>
                <a:gd name="connsiteX19" fmla="*/ 7370 w 10000"/>
                <a:gd name="connsiteY19" fmla="*/ 729 h 10258"/>
                <a:gd name="connsiteX20" fmla="*/ 6769 w 10000"/>
                <a:gd name="connsiteY20" fmla="*/ 729 h 10258"/>
                <a:gd name="connsiteX21" fmla="*/ 5717 w 10000"/>
                <a:gd name="connsiteY21" fmla="*/ 729 h 10258"/>
                <a:gd name="connsiteX22" fmla="*/ 5717 w 10000"/>
                <a:gd name="connsiteY22" fmla="*/ 658 h 10258"/>
                <a:gd name="connsiteX23" fmla="*/ 5643 w 10000"/>
                <a:gd name="connsiteY23" fmla="*/ 729 h 10258"/>
                <a:gd name="connsiteX24" fmla="*/ 1961 w 10000"/>
                <a:gd name="connsiteY24" fmla="*/ 729 h 10258"/>
                <a:gd name="connsiteX25" fmla="*/ 1961 w 10000"/>
                <a:gd name="connsiteY25" fmla="*/ 2263 h 10258"/>
                <a:gd name="connsiteX26" fmla="*/ 1285 w 10000"/>
                <a:gd name="connsiteY26" fmla="*/ 2263 h 10258"/>
                <a:gd name="connsiteX27" fmla="*/ 1285 w 10000"/>
                <a:gd name="connsiteY27" fmla="*/ 2556 h 10258"/>
                <a:gd name="connsiteX28" fmla="*/ 1285 w 10000"/>
                <a:gd name="connsiteY28" fmla="*/ 5179 h 10258"/>
                <a:gd name="connsiteX29" fmla="*/ 1135 w 10000"/>
                <a:gd name="connsiteY29" fmla="*/ 5327 h 10258"/>
                <a:gd name="connsiteX30" fmla="*/ 684 w 10000"/>
                <a:gd name="connsiteY30" fmla="*/ 5621 h 10258"/>
                <a:gd name="connsiteX31" fmla="*/ 609 w 10000"/>
                <a:gd name="connsiteY31" fmla="*/ 5986 h 10258"/>
                <a:gd name="connsiteX32" fmla="*/ 384 w 10000"/>
                <a:gd name="connsiteY32" fmla="*/ 6351 h 10258"/>
                <a:gd name="connsiteX33" fmla="*/ 234 w 10000"/>
                <a:gd name="connsiteY33" fmla="*/ 6935 h 10258"/>
                <a:gd name="connsiteX34" fmla="*/ 8 w 10000"/>
                <a:gd name="connsiteY34" fmla="*/ 7593 h 10258"/>
                <a:gd name="connsiteX35" fmla="*/ 384 w 10000"/>
                <a:gd name="connsiteY35" fmla="*/ 7664 h 10258"/>
                <a:gd name="connsiteX36" fmla="*/ 458 w 10000"/>
                <a:gd name="connsiteY36" fmla="*/ 8245 h 10258"/>
                <a:gd name="connsiteX37" fmla="*/ 684 w 10000"/>
                <a:gd name="connsiteY37" fmla="*/ 8831 h 10258"/>
                <a:gd name="connsiteX38" fmla="*/ 1059 w 10000"/>
                <a:gd name="connsiteY38" fmla="*/ 10000 h 10258"/>
                <a:gd name="connsiteX39" fmla="*/ 1903 w 10000"/>
                <a:gd name="connsiteY39" fmla="*/ 10161 h 10258"/>
                <a:gd name="connsiteX40" fmla="*/ 5865 w 10000"/>
                <a:gd name="connsiteY40" fmla="*/ 8712 h 10258"/>
                <a:gd name="connsiteX41" fmla="*/ 6040 w 10000"/>
                <a:gd name="connsiteY41" fmla="*/ 8368 h 10258"/>
                <a:gd name="connsiteX42" fmla="*/ 6382 w 10000"/>
                <a:gd name="connsiteY42" fmla="*/ 7982 h 10258"/>
                <a:gd name="connsiteX43" fmla="*/ 6428 w 10000"/>
                <a:gd name="connsiteY43" fmla="*/ 8181 h 10258"/>
                <a:gd name="connsiteX44" fmla="*/ 6444 w 10000"/>
                <a:gd name="connsiteY44" fmla="*/ 8428 h 10258"/>
                <a:gd name="connsiteX45" fmla="*/ 6766 w 10000"/>
                <a:gd name="connsiteY45" fmla="*/ 9268 h 10258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2335 w 10000"/>
                <a:gd name="connsiteY39" fmla="*/ 9619 h 10056"/>
                <a:gd name="connsiteX40" fmla="*/ 5865 w 10000"/>
                <a:gd name="connsiteY40" fmla="*/ 8712 h 10056"/>
                <a:gd name="connsiteX41" fmla="*/ 6040 w 10000"/>
                <a:gd name="connsiteY41" fmla="*/ 8368 h 10056"/>
                <a:gd name="connsiteX42" fmla="*/ 6382 w 10000"/>
                <a:gd name="connsiteY42" fmla="*/ 7982 h 10056"/>
                <a:gd name="connsiteX43" fmla="*/ 6428 w 10000"/>
                <a:gd name="connsiteY43" fmla="*/ 8181 h 10056"/>
                <a:gd name="connsiteX44" fmla="*/ 6444 w 10000"/>
                <a:gd name="connsiteY44" fmla="*/ 8428 h 10056"/>
                <a:gd name="connsiteX45" fmla="*/ 6766 w 10000"/>
                <a:gd name="connsiteY45" fmla="*/ 9268 h 1005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6"/>
                <a:gd name="connsiteX1" fmla="*/ 7446 w 10000"/>
                <a:gd name="connsiteY1" fmla="*/ 8978 h 10026"/>
                <a:gd name="connsiteX2" fmla="*/ 7821 w 10000"/>
                <a:gd name="connsiteY2" fmla="*/ 8978 h 10026"/>
                <a:gd name="connsiteX3" fmla="*/ 8047 w 10000"/>
                <a:gd name="connsiteY3" fmla="*/ 8029 h 10026"/>
                <a:gd name="connsiteX4" fmla="*/ 8648 w 10000"/>
                <a:gd name="connsiteY4" fmla="*/ 7444 h 10026"/>
                <a:gd name="connsiteX5" fmla="*/ 8873 w 10000"/>
                <a:gd name="connsiteY5" fmla="*/ 6351 h 10026"/>
                <a:gd name="connsiteX6" fmla="*/ 8722 w 10000"/>
                <a:gd name="connsiteY6" fmla="*/ 5768 h 10026"/>
                <a:gd name="connsiteX7" fmla="*/ 9098 w 10000"/>
                <a:gd name="connsiteY7" fmla="*/ 4525 h 10026"/>
                <a:gd name="connsiteX8" fmla="*/ 9399 w 10000"/>
                <a:gd name="connsiteY8" fmla="*/ 4160 h 10026"/>
                <a:gd name="connsiteX9" fmla="*/ 10000 w 10000"/>
                <a:gd name="connsiteY9" fmla="*/ 3576 h 10026"/>
                <a:gd name="connsiteX10" fmla="*/ 9774 w 10000"/>
                <a:gd name="connsiteY10" fmla="*/ 3502 h 10026"/>
                <a:gd name="connsiteX11" fmla="*/ 9399 w 10000"/>
                <a:gd name="connsiteY11" fmla="*/ 3140 h 10026"/>
                <a:gd name="connsiteX12" fmla="*/ 9173 w 10000"/>
                <a:gd name="connsiteY12" fmla="*/ 2044 h 10026"/>
                <a:gd name="connsiteX13" fmla="*/ 9173 w 10000"/>
                <a:gd name="connsiteY13" fmla="*/ 1460 h 10026"/>
                <a:gd name="connsiteX14" fmla="*/ 9098 w 10000"/>
                <a:gd name="connsiteY14" fmla="*/ 729 h 10026"/>
                <a:gd name="connsiteX15" fmla="*/ 8873 w 10000"/>
                <a:gd name="connsiteY15" fmla="*/ 511 h 10026"/>
                <a:gd name="connsiteX16" fmla="*/ 8497 w 10000"/>
                <a:gd name="connsiteY16" fmla="*/ 219 h 10026"/>
                <a:gd name="connsiteX17" fmla="*/ 8272 w 10000"/>
                <a:gd name="connsiteY17" fmla="*/ 0 h 10026"/>
                <a:gd name="connsiteX18" fmla="*/ 7821 w 10000"/>
                <a:gd name="connsiteY18" fmla="*/ 293 h 10026"/>
                <a:gd name="connsiteX19" fmla="*/ 7370 w 10000"/>
                <a:gd name="connsiteY19" fmla="*/ 729 h 10026"/>
                <a:gd name="connsiteX20" fmla="*/ 6769 w 10000"/>
                <a:gd name="connsiteY20" fmla="*/ 729 h 10026"/>
                <a:gd name="connsiteX21" fmla="*/ 5717 w 10000"/>
                <a:gd name="connsiteY21" fmla="*/ 729 h 10026"/>
                <a:gd name="connsiteX22" fmla="*/ 5717 w 10000"/>
                <a:gd name="connsiteY22" fmla="*/ 658 h 10026"/>
                <a:gd name="connsiteX23" fmla="*/ 5643 w 10000"/>
                <a:gd name="connsiteY23" fmla="*/ 729 h 10026"/>
                <a:gd name="connsiteX24" fmla="*/ 1961 w 10000"/>
                <a:gd name="connsiteY24" fmla="*/ 729 h 10026"/>
                <a:gd name="connsiteX25" fmla="*/ 1961 w 10000"/>
                <a:gd name="connsiteY25" fmla="*/ 2263 h 10026"/>
                <a:gd name="connsiteX26" fmla="*/ 1285 w 10000"/>
                <a:gd name="connsiteY26" fmla="*/ 2263 h 10026"/>
                <a:gd name="connsiteX27" fmla="*/ 1285 w 10000"/>
                <a:gd name="connsiteY27" fmla="*/ 2556 h 10026"/>
                <a:gd name="connsiteX28" fmla="*/ 1285 w 10000"/>
                <a:gd name="connsiteY28" fmla="*/ 5179 h 10026"/>
                <a:gd name="connsiteX29" fmla="*/ 1135 w 10000"/>
                <a:gd name="connsiteY29" fmla="*/ 5327 h 10026"/>
                <a:gd name="connsiteX30" fmla="*/ 684 w 10000"/>
                <a:gd name="connsiteY30" fmla="*/ 5621 h 10026"/>
                <a:gd name="connsiteX31" fmla="*/ 609 w 10000"/>
                <a:gd name="connsiteY31" fmla="*/ 5986 h 10026"/>
                <a:gd name="connsiteX32" fmla="*/ 384 w 10000"/>
                <a:gd name="connsiteY32" fmla="*/ 6351 h 10026"/>
                <a:gd name="connsiteX33" fmla="*/ 234 w 10000"/>
                <a:gd name="connsiteY33" fmla="*/ 6935 h 10026"/>
                <a:gd name="connsiteX34" fmla="*/ 8 w 10000"/>
                <a:gd name="connsiteY34" fmla="*/ 7593 h 10026"/>
                <a:gd name="connsiteX35" fmla="*/ 384 w 10000"/>
                <a:gd name="connsiteY35" fmla="*/ 7664 h 10026"/>
                <a:gd name="connsiteX36" fmla="*/ 458 w 10000"/>
                <a:gd name="connsiteY36" fmla="*/ 8245 h 10026"/>
                <a:gd name="connsiteX37" fmla="*/ 684 w 10000"/>
                <a:gd name="connsiteY37" fmla="*/ 8831 h 10026"/>
                <a:gd name="connsiteX38" fmla="*/ 1059 w 10000"/>
                <a:gd name="connsiteY38" fmla="*/ 10000 h 10026"/>
                <a:gd name="connsiteX39" fmla="*/ 5831 w 10000"/>
                <a:gd name="connsiteY39" fmla="*/ 9031 h 10026"/>
                <a:gd name="connsiteX40" fmla="*/ 5865 w 10000"/>
                <a:gd name="connsiteY40" fmla="*/ 8712 h 10026"/>
                <a:gd name="connsiteX41" fmla="*/ 6040 w 10000"/>
                <a:gd name="connsiteY41" fmla="*/ 8368 h 10026"/>
                <a:gd name="connsiteX42" fmla="*/ 6382 w 10000"/>
                <a:gd name="connsiteY42" fmla="*/ 7982 h 10026"/>
                <a:gd name="connsiteX43" fmla="*/ 6428 w 10000"/>
                <a:gd name="connsiteY43" fmla="*/ 8181 h 10026"/>
                <a:gd name="connsiteX44" fmla="*/ 6444 w 10000"/>
                <a:gd name="connsiteY44" fmla="*/ 8428 h 10026"/>
                <a:gd name="connsiteX45" fmla="*/ 6766 w 10000"/>
                <a:gd name="connsiteY45" fmla="*/ 9268 h 10026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7"/>
                <a:gd name="connsiteX1" fmla="*/ 7446 w 10000"/>
                <a:gd name="connsiteY1" fmla="*/ 8978 h 10027"/>
                <a:gd name="connsiteX2" fmla="*/ 7821 w 10000"/>
                <a:gd name="connsiteY2" fmla="*/ 8978 h 10027"/>
                <a:gd name="connsiteX3" fmla="*/ 8047 w 10000"/>
                <a:gd name="connsiteY3" fmla="*/ 8029 h 10027"/>
                <a:gd name="connsiteX4" fmla="*/ 8648 w 10000"/>
                <a:gd name="connsiteY4" fmla="*/ 7444 h 10027"/>
                <a:gd name="connsiteX5" fmla="*/ 8873 w 10000"/>
                <a:gd name="connsiteY5" fmla="*/ 6351 h 10027"/>
                <a:gd name="connsiteX6" fmla="*/ 8722 w 10000"/>
                <a:gd name="connsiteY6" fmla="*/ 5768 h 10027"/>
                <a:gd name="connsiteX7" fmla="*/ 9098 w 10000"/>
                <a:gd name="connsiteY7" fmla="*/ 4525 h 10027"/>
                <a:gd name="connsiteX8" fmla="*/ 9399 w 10000"/>
                <a:gd name="connsiteY8" fmla="*/ 4160 h 10027"/>
                <a:gd name="connsiteX9" fmla="*/ 10000 w 10000"/>
                <a:gd name="connsiteY9" fmla="*/ 3576 h 10027"/>
                <a:gd name="connsiteX10" fmla="*/ 9774 w 10000"/>
                <a:gd name="connsiteY10" fmla="*/ 3502 h 10027"/>
                <a:gd name="connsiteX11" fmla="*/ 9399 w 10000"/>
                <a:gd name="connsiteY11" fmla="*/ 3140 h 10027"/>
                <a:gd name="connsiteX12" fmla="*/ 9173 w 10000"/>
                <a:gd name="connsiteY12" fmla="*/ 2044 h 10027"/>
                <a:gd name="connsiteX13" fmla="*/ 9173 w 10000"/>
                <a:gd name="connsiteY13" fmla="*/ 1460 h 10027"/>
                <a:gd name="connsiteX14" fmla="*/ 9098 w 10000"/>
                <a:gd name="connsiteY14" fmla="*/ 729 h 10027"/>
                <a:gd name="connsiteX15" fmla="*/ 8873 w 10000"/>
                <a:gd name="connsiteY15" fmla="*/ 511 h 10027"/>
                <a:gd name="connsiteX16" fmla="*/ 8497 w 10000"/>
                <a:gd name="connsiteY16" fmla="*/ 219 h 10027"/>
                <a:gd name="connsiteX17" fmla="*/ 8272 w 10000"/>
                <a:gd name="connsiteY17" fmla="*/ 0 h 10027"/>
                <a:gd name="connsiteX18" fmla="*/ 7821 w 10000"/>
                <a:gd name="connsiteY18" fmla="*/ 293 h 10027"/>
                <a:gd name="connsiteX19" fmla="*/ 7370 w 10000"/>
                <a:gd name="connsiteY19" fmla="*/ 729 h 10027"/>
                <a:gd name="connsiteX20" fmla="*/ 6769 w 10000"/>
                <a:gd name="connsiteY20" fmla="*/ 729 h 10027"/>
                <a:gd name="connsiteX21" fmla="*/ 5717 w 10000"/>
                <a:gd name="connsiteY21" fmla="*/ 729 h 10027"/>
                <a:gd name="connsiteX22" fmla="*/ 5717 w 10000"/>
                <a:gd name="connsiteY22" fmla="*/ 658 h 10027"/>
                <a:gd name="connsiteX23" fmla="*/ 5643 w 10000"/>
                <a:gd name="connsiteY23" fmla="*/ 729 h 10027"/>
                <a:gd name="connsiteX24" fmla="*/ 1961 w 10000"/>
                <a:gd name="connsiteY24" fmla="*/ 729 h 10027"/>
                <a:gd name="connsiteX25" fmla="*/ 1961 w 10000"/>
                <a:gd name="connsiteY25" fmla="*/ 2263 h 10027"/>
                <a:gd name="connsiteX26" fmla="*/ 1285 w 10000"/>
                <a:gd name="connsiteY26" fmla="*/ 2263 h 10027"/>
                <a:gd name="connsiteX27" fmla="*/ 1285 w 10000"/>
                <a:gd name="connsiteY27" fmla="*/ 2556 h 10027"/>
                <a:gd name="connsiteX28" fmla="*/ 1285 w 10000"/>
                <a:gd name="connsiteY28" fmla="*/ 5179 h 10027"/>
                <a:gd name="connsiteX29" fmla="*/ 1135 w 10000"/>
                <a:gd name="connsiteY29" fmla="*/ 5327 h 10027"/>
                <a:gd name="connsiteX30" fmla="*/ 684 w 10000"/>
                <a:gd name="connsiteY30" fmla="*/ 5621 h 10027"/>
                <a:gd name="connsiteX31" fmla="*/ 609 w 10000"/>
                <a:gd name="connsiteY31" fmla="*/ 5986 h 10027"/>
                <a:gd name="connsiteX32" fmla="*/ 384 w 10000"/>
                <a:gd name="connsiteY32" fmla="*/ 6351 h 10027"/>
                <a:gd name="connsiteX33" fmla="*/ 234 w 10000"/>
                <a:gd name="connsiteY33" fmla="*/ 6935 h 10027"/>
                <a:gd name="connsiteX34" fmla="*/ 8 w 10000"/>
                <a:gd name="connsiteY34" fmla="*/ 7593 h 10027"/>
                <a:gd name="connsiteX35" fmla="*/ 384 w 10000"/>
                <a:gd name="connsiteY35" fmla="*/ 7664 h 10027"/>
                <a:gd name="connsiteX36" fmla="*/ 458 w 10000"/>
                <a:gd name="connsiteY36" fmla="*/ 8245 h 10027"/>
                <a:gd name="connsiteX37" fmla="*/ 684 w 10000"/>
                <a:gd name="connsiteY37" fmla="*/ 8831 h 10027"/>
                <a:gd name="connsiteX38" fmla="*/ 1059 w 10000"/>
                <a:gd name="connsiteY38" fmla="*/ 10000 h 10027"/>
                <a:gd name="connsiteX39" fmla="*/ 5649 w 10000"/>
                <a:gd name="connsiteY39" fmla="*/ 9068 h 10027"/>
                <a:gd name="connsiteX40" fmla="*/ 5865 w 10000"/>
                <a:gd name="connsiteY40" fmla="*/ 8712 h 10027"/>
                <a:gd name="connsiteX41" fmla="*/ 6040 w 10000"/>
                <a:gd name="connsiteY41" fmla="*/ 8368 h 10027"/>
                <a:gd name="connsiteX42" fmla="*/ 6382 w 10000"/>
                <a:gd name="connsiteY42" fmla="*/ 7982 h 10027"/>
                <a:gd name="connsiteX43" fmla="*/ 6428 w 10000"/>
                <a:gd name="connsiteY43" fmla="*/ 8181 h 10027"/>
                <a:gd name="connsiteX44" fmla="*/ 6444 w 10000"/>
                <a:gd name="connsiteY44" fmla="*/ 8428 h 10027"/>
                <a:gd name="connsiteX45" fmla="*/ 6766 w 10000"/>
                <a:gd name="connsiteY45" fmla="*/ 9268 h 10027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65 w 10000"/>
                <a:gd name="connsiteY40" fmla="*/ 8712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025"/>
                <a:gd name="connsiteX1" fmla="*/ 7446 w 10000"/>
                <a:gd name="connsiteY1" fmla="*/ 8978 h 10025"/>
                <a:gd name="connsiteX2" fmla="*/ 7821 w 10000"/>
                <a:gd name="connsiteY2" fmla="*/ 8978 h 10025"/>
                <a:gd name="connsiteX3" fmla="*/ 8047 w 10000"/>
                <a:gd name="connsiteY3" fmla="*/ 8029 h 10025"/>
                <a:gd name="connsiteX4" fmla="*/ 8648 w 10000"/>
                <a:gd name="connsiteY4" fmla="*/ 7444 h 10025"/>
                <a:gd name="connsiteX5" fmla="*/ 8873 w 10000"/>
                <a:gd name="connsiteY5" fmla="*/ 6351 h 10025"/>
                <a:gd name="connsiteX6" fmla="*/ 8722 w 10000"/>
                <a:gd name="connsiteY6" fmla="*/ 5768 h 10025"/>
                <a:gd name="connsiteX7" fmla="*/ 9098 w 10000"/>
                <a:gd name="connsiteY7" fmla="*/ 4525 h 10025"/>
                <a:gd name="connsiteX8" fmla="*/ 9399 w 10000"/>
                <a:gd name="connsiteY8" fmla="*/ 4160 h 10025"/>
                <a:gd name="connsiteX9" fmla="*/ 10000 w 10000"/>
                <a:gd name="connsiteY9" fmla="*/ 3576 h 10025"/>
                <a:gd name="connsiteX10" fmla="*/ 9774 w 10000"/>
                <a:gd name="connsiteY10" fmla="*/ 3502 h 10025"/>
                <a:gd name="connsiteX11" fmla="*/ 9399 w 10000"/>
                <a:gd name="connsiteY11" fmla="*/ 3140 h 10025"/>
                <a:gd name="connsiteX12" fmla="*/ 9173 w 10000"/>
                <a:gd name="connsiteY12" fmla="*/ 2044 h 10025"/>
                <a:gd name="connsiteX13" fmla="*/ 9173 w 10000"/>
                <a:gd name="connsiteY13" fmla="*/ 1460 h 10025"/>
                <a:gd name="connsiteX14" fmla="*/ 9098 w 10000"/>
                <a:gd name="connsiteY14" fmla="*/ 729 h 10025"/>
                <a:gd name="connsiteX15" fmla="*/ 8873 w 10000"/>
                <a:gd name="connsiteY15" fmla="*/ 511 h 10025"/>
                <a:gd name="connsiteX16" fmla="*/ 8497 w 10000"/>
                <a:gd name="connsiteY16" fmla="*/ 219 h 10025"/>
                <a:gd name="connsiteX17" fmla="*/ 8272 w 10000"/>
                <a:gd name="connsiteY17" fmla="*/ 0 h 10025"/>
                <a:gd name="connsiteX18" fmla="*/ 7821 w 10000"/>
                <a:gd name="connsiteY18" fmla="*/ 293 h 10025"/>
                <a:gd name="connsiteX19" fmla="*/ 7370 w 10000"/>
                <a:gd name="connsiteY19" fmla="*/ 729 h 10025"/>
                <a:gd name="connsiteX20" fmla="*/ 6769 w 10000"/>
                <a:gd name="connsiteY20" fmla="*/ 729 h 10025"/>
                <a:gd name="connsiteX21" fmla="*/ 5717 w 10000"/>
                <a:gd name="connsiteY21" fmla="*/ 729 h 10025"/>
                <a:gd name="connsiteX22" fmla="*/ 5717 w 10000"/>
                <a:gd name="connsiteY22" fmla="*/ 658 h 10025"/>
                <a:gd name="connsiteX23" fmla="*/ 5643 w 10000"/>
                <a:gd name="connsiteY23" fmla="*/ 729 h 10025"/>
                <a:gd name="connsiteX24" fmla="*/ 1961 w 10000"/>
                <a:gd name="connsiteY24" fmla="*/ 729 h 10025"/>
                <a:gd name="connsiteX25" fmla="*/ 1961 w 10000"/>
                <a:gd name="connsiteY25" fmla="*/ 2263 h 10025"/>
                <a:gd name="connsiteX26" fmla="*/ 1285 w 10000"/>
                <a:gd name="connsiteY26" fmla="*/ 2263 h 10025"/>
                <a:gd name="connsiteX27" fmla="*/ 1285 w 10000"/>
                <a:gd name="connsiteY27" fmla="*/ 2556 h 10025"/>
                <a:gd name="connsiteX28" fmla="*/ 1285 w 10000"/>
                <a:gd name="connsiteY28" fmla="*/ 5179 h 10025"/>
                <a:gd name="connsiteX29" fmla="*/ 1135 w 10000"/>
                <a:gd name="connsiteY29" fmla="*/ 5327 h 10025"/>
                <a:gd name="connsiteX30" fmla="*/ 684 w 10000"/>
                <a:gd name="connsiteY30" fmla="*/ 5621 h 10025"/>
                <a:gd name="connsiteX31" fmla="*/ 609 w 10000"/>
                <a:gd name="connsiteY31" fmla="*/ 5986 h 10025"/>
                <a:gd name="connsiteX32" fmla="*/ 384 w 10000"/>
                <a:gd name="connsiteY32" fmla="*/ 6351 h 10025"/>
                <a:gd name="connsiteX33" fmla="*/ 234 w 10000"/>
                <a:gd name="connsiteY33" fmla="*/ 6935 h 10025"/>
                <a:gd name="connsiteX34" fmla="*/ 8 w 10000"/>
                <a:gd name="connsiteY34" fmla="*/ 7593 h 10025"/>
                <a:gd name="connsiteX35" fmla="*/ 384 w 10000"/>
                <a:gd name="connsiteY35" fmla="*/ 7664 h 10025"/>
                <a:gd name="connsiteX36" fmla="*/ 458 w 10000"/>
                <a:gd name="connsiteY36" fmla="*/ 8245 h 10025"/>
                <a:gd name="connsiteX37" fmla="*/ 684 w 10000"/>
                <a:gd name="connsiteY37" fmla="*/ 8831 h 10025"/>
                <a:gd name="connsiteX38" fmla="*/ 1059 w 10000"/>
                <a:gd name="connsiteY38" fmla="*/ 10000 h 10025"/>
                <a:gd name="connsiteX39" fmla="*/ 5428 w 10000"/>
                <a:gd name="connsiteY39" fmla="*/ 8984 h 10025"/>
                <a:gd name="connsiteX40" fmla="*/ 5884 w 10000"/>
                <a:gd name="connsiteY40" fmla="*/ 8740 h 10025"/>
                <a:gd name="connsiteX41" fmla="*/ 6040 w 10000"/>
                <a:gd name="connsiteY41" fmla="*/ 8368 h 10025"/>
                <a:gd name="connsiteX42" fmla="*/ 6382 w 10000"/>
                <a:gd name="connsiteY42" fmla="*/ 7982 h 10025"/>
                <a:gd name="connsiteX43" fmla="*/ 6428 w 10000"/>
                <a:gd name="connsiteY43" fmla="*/ 8181 h 10025"/>
                <a:gd name="connsiteX44" fmla="*/ 6444 w 10000"/>
                <a:gd name="connsiteY44" fmla="*/ 8428 h 10025"/>
                <a:gd name="connsiteX45" fmla="*/ 6766 w 10000"/>
                <a:gd name="connsiteY45" fmla="*/ 9268 h 10025"/>
                <a:gd name="connsiteX0" fmla="*/ 7446 w 10000"/>
                <a:gd name="connsiteY0" fmla="*/ 9488 h 10143"/>
                <a:gd name="connsiteX1" fmla="*/ 7446 w 10000"/>
                <a:gd name="connsiteY1" fmla="*/ 8978 h 10143"/>
                <a:gd name="connsiteX2" fmla="*/ 7821 w 10000"/>
                <a:gd name="connsiteY2" fmla="*/ 8978 h 10143"/>
                <a:gd name="connsiteX3" fmla="*/ 8047 w 10000"/>
                <a:gd name="connsiteY3" fmla="*/ 8029 h 10143"/>
                <a:gd name="connsiteX4" fmla="*/ 8648 w 10000"/>
                <a:gd name="connsiteY4" fmla="*/ 7444 h 10143"/>
                <a:gd name="connsiteX5" fmla="*/ 8873 w 10000"/>
                <a:gd name="connsiteY5" fmla="*/ 6351 h 10143"/>
                <a:gd name="connsiteX6" fmla="*/ 8722 w 10000"/>
                <a:gd name="connsiteY6" fmla="*/ 5768 h 10143"/>
                <a:gd name="connsiteX7" fmla="*/ 9098 w 10000"/>
                <a:gd name="connsiteY7" fmla="*/ 4525 h 10143"/>
                <a:gd name="connsiteX8" fmla="*/ 9399 w 10000"/>
                <a:gd name="connsiteY8" fmla="*/ 4160 h 10143"/>
                <a:gd name="connsiteX9" fmla="*/ 10000 w 10000"/>
                <a:gd name="connsiteY9" fmla="*/ 3576 h 10143"/>
                <a:gd name="connsiteX10" fmla="*/ 9774 w 10000"/>
                <a:gd name="connsiteY10" fmla="*/ 3502 h 10143"/>
                <a:gd name="connsiteX11" fmla="*/ 9399 w 10000"/>
                <a:gd name="connsiteY11" fmla="*/ 3140 h 10143"/>
                <a:gd name="connsiteX12" fmla="*/ 9173 w 10000"/>
                <a:gd name="connsiteY12" fmla="*/ 2044 h 10143"/>
                <a:gd name="connsiteX13" fmla="*/ 9173 w 10000"/>
                <a:gd name="connsiteY13" fmla="*/ 1460 h 10143"/>
                <a:gd name="connsiteX14" fmla="*/ 9098 w 10000"/>
                <a:gd name="connsiteY14" fmla="*/ 729 h 10143"/>
                <a:gd name="connsiteX15" fmla="*/ 8873 w 10000"/>
                <a:gd name="connsiteY15" fmla="*/ 511 h 10143"/>
                <a:gd name="connsiteX16" fmla="*/ 8497 w 10000"/>
                <a:gd name="connsiteY16" fmla="*/ 219 h 10143"/>
                <a:gd name="connsiteX17" fmla="*/ 8272 w 10000"/>
                <a:gd name="connsiteY17" fmla="*/ 0 h 10143"/>
                <a:gd name="connsiteX18" fmla="*/ 7821 w 10000"/>
                <a:gd name="connsiteY18" fmla="*/ 293 h 10143"/>
                <a:gd name="connsiteX19" fmla="*/ 7370 w 10000"/>
                <a:gd name="connsiteY19" fmla="*/ 729 h 10143"/>
                <a:gd name="connsiteX20" fmla="*/ 6769 w 10000"/>
                <a:gd name="connsiteY20" fmla="*/ 729 h 10143"/>
                <a:gd name="connsiteX21" fmla="*/ 5717 w 10000"/>
                <a:gd name="connsiteY21" fmla="*/ 729 h 10143"/>
                <a:gd name="connsiteX22" fmla="*/ 5717 w 10000"/>
                <a:gd name="connsiteY22" fmla="*/ 658 h 10143"/>
                <a:gd name="connsiteX23" fmla="*/ 5643 w 10000"/>
                <a:gd name="connsiteY23" fmla="*/ 729 h 10143"/>
                <a:gd name="connsiteX24" fmla="*/ 1961 w 10000"/>
                <a:gd name="connsiteY24" fmla="*/ 729 h 10143"/>
                <a:gd name="connsiteX25" fmla="*/ 1961 w 10000"/>
                <a:gd name="connsiteY25" fmla="*/ 2263 h 10143"/>
                <a:gd name="connsiteX26" fmla="*/ 1285 w 10000"/>
                <a:gd name="connsiteY26" fmla="*/ 2263 h 10143"/>
                <a:gd name="connsiteX27" fmla="*/ 1285 w 10000"/>
                <a:gd name="connsiteY27" fmla="*/ 2556 h 10143"/>
                <a:gd name="connsiteX28" fmla="*/ 1285 w 10000"/>
                <a:gd name="connsiteY28" fmla="*/ 5179 h 10143"/>
                <a:gd name="connsiteX29" fmla="*/ 1135 w 10000"/>
                <a:gd name="connsiteY29" fmla="*/ 5327 h 10143"/>
                <a:gd name="connsiteX30" fmla="*/ 684 w 10000"/>
                <a:gd name="connsiteY30" fmla="*/ 5621 h 10143"/>
                <a:gd name="connsiteX31" fmla="*/ 609 w 10000"/>
                <a:gd name="connsiteY31" fmla="*/ 5986 h 10143"/>
                <a:gd name="connsiteX32" fmla="*/ 384 w 10000"/>
                <a:gd name="connsiteY32" fmla="*/ 6351 h 10143"/>
                <a:gd name="connsiteX33" fmla="*/ 234 w 10000"/>
                <a:gd name="connsiteY33" fmla="*/ 6935 h 10143"/>
                <a:gd name="connsiteX34" fmla="*/ 8 w 10000"/>
                <a:gd name="connsiteY34" fmla="*/ 7593 h 10143"/>
                <a:gd name="connsiteX35" fmla="*/ 384 w 10000"/>
                <a:gd name="connsiteY35" fmla="*/ 7664 h 10143"/>
                <a:gd name="connsiteX36" fmla="*/ 458 w 10000"/>
                <a:gd name="connsiteY36" fmla="*/ 8245 h 10143"/>
                <a:gd name="connsiteX37" fmla="*/ 684 w 10000"/>
                <a:gd name="connsiteY37" fmla="*/ 8831 h 10143"/>
                <a:gd name="connsiteX38" fmla="*/ 1059 w 10000"/>
                <a:gd name="connsiteY38" fmla="*/ 10000 h 10143"/>
                <a:gd name="connsiteX39" fmla="*/ 1068 w 10000"/>
                <a:gd name="connsiteY39" fmla="*/ 10012 h 10143"/>
                <a:gd name="connsiteX40" fmla="*/ 5428 w 10000"/>
                <a:gd name="connsiteY40" fmla="*/ 8984 h 10143"/>
                <a:gd name="connsiteX41" fmla="*/ 5884 w 10000"/>
                <a:gd name="connsiteY41" fmla="*/ 8740 h 10143"/>
                <a:gd name="connsiteX42" fmla="*/ 6040 w 10000"/>
                <a:gd name="connsiteY42" fmla="*/ 8368 h 10143"/>
                <a:gd name="connsiteX43" fmla="*/ 6382 w 10000"/>
                <a:gd name="connsiteY43" fmla="*/ 7982 h 10143"/>
                <a:gd name="connsiteX44" fmla="*/ 6428 w 10000"/>
                <a:gd name="connsiteY44" fmla="*/ 8181 h 10143"/>
                <a:gd name="connsiteX45" fmla="*/ 6444 w 10000"/>
                <a:gd name="connsiteY45" fmla="*/ 8428 h 10143"/>
                <a:gd name="connsiteX46" fmla="*/ 6766 w 10000"/>
                <a:gd name="connsiteY46" fmla="*/ 9268 h 10143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115"/>
                <a:gd name="connsiteX1" fmla="*/ 7446 w 10000"/>
                <a:gd name="connsiteY1" fmla="*/ 8978 h 10115"/>
                <a:gd name="connsiteX2" fmla="*/ 7821 w 10000"/>
                <a:gd name="connsiteY2" fmla="*/ 8978 h 10115"/>
                <a:gd name="connsiteX3" fmla="*/ 8047 w 10000"/>
                <a:gd name="connsiteY3" fmla="*/ 8029 h 10115"/>
                <a:gd name="connsiteX4" fmla="*/ 8648 w 10000"/>
                <a:gd name="connsiteY4" fmla="*/ 7444 h 10115"/>
                <a:gd name="connsiteX5" fmla="*/ 8873 w 10000"/>
                <a:gd name="connsiteY5" fmla="*/ 6351 h 10115"/>
                <a:gd name="connsiteX6" fmla="*/ 8722 w 10000"/>
                <a:gd name="connsiteY6" fmla="*/ 5768 h 10115"/>
                <a:gd name="connsiteX7" fmla="*/ 9098 w 10000"/>
                <a:gd name="connsiteY7" fmla="*/ 4525 h 10115"/>
                <a:gd name="connsiteX8" fmla="*/ 9399 w 10000"/>
                <a:gd name="connsiteY8" fmla="*/ 4160 h 10115"/>
                <a:gd name="connsiteX9" fmla="*/ 10000 w 10000"/>
                <a:gd name="connsiteY9" fmla="*/ 3576 h 10115"/>
                <a:gd name="connsiteX10" fmla="*/ 9774 w 10000"/>
                <a:gd name="connsiteY10" fmla="*/ 3502 h 10115"/>
                <a:gd name="connsiteX11" fmla="*/ 9399 w 10000"/>
                <a:gd name="connsiteY11" fmla="*/ 3140 h 10115"/>
                <a:gd name="connsiteX12" fmla="*/ 9173 w 10000"/>
                <a:gd name="connsiteY12" fmla="*/ 2044 h 10115"/>
                <a:gd name="connsiteX13" fmla="*/ 9173 w 10000"/>
                <a:gd name="connsiteY13" fmla="*/ 1460 h 10115"/>
                <a:gd name="connsiteX14" fmla="*/ 9098 w 10000"/>
                <a:gd name="connsiteY14" fmla="*/ 729 h 10115"/>
                <a:gd name="connsiteX15" fmla="*/ 8873 w 10000"/>
                <a:gd name="connsiteY15" fmla="*/ 511 h 10115"/>
                <a:gd name="connsiteX16" fmla="*/ 8497 w 10000"/>
                <a:gd name="connsiteY16" fmla="*/ 219 h 10115"/>
                <a:gd name="connsiteX17" fmla="*/ 8272 w 10000"/>
                <a:gd name="connsiteY17" fmla="*/ 0 h 10115"/>
                <a:gd name="connsiteX18" fmla="*/ 7821 w 10000"/>
                <a:gd name="connsiteY18" fmla="*/ 293 h 10115"/>
                <a:gd name="connsiteX19" fmla="*/ 7370 w 10000"/>
                <a:gd name="connsiteY19" fmla="*/ 729 h 10115"/>
                <a:gd name="connsiteX20" fmla="*/ 6769 w 10000"/>
                <a:gd name="connsiteY20" fmla="*/ 729 h 10115"/>
                <a:gd name="connsiteX21" fmla="*/ 5717 w 10000"/>
                <a:gd name="connsiteY21" fmla="*/ 729 h 10115"/>
                <a:gd name="connsiteX22" fmla="*/ 5717 w 10000"/>
                <a:gd name="connsiteY22" fmla="*/ 658 h 10115"/>
                <a:gd name="connsiteX23" fmla="*/ 5643 w 10000"/>
                <a:gd name="connsiteY23" fmla="*/ 729 h 10115"/>
                <a:gd name="connsiteX24" fmla="*/ 1961 w 10000"/>
                <a:gd name="connsiteY24" fmla="*/ 729 h 10115"/>
                <a:gd name="connsiteX25" fmla="*/ 1961 w 10000"/>
                <a:gd name="connsiteY25" fmla="*/ 2263 h 10115"/>
                <a:gd name="connsiteX26" fmla="*/ 1285 w 10000"/>
                <a:gd name="connsiteY26" fmla="*/ 2263 h 10115"/>
                <a:gd name="connsiteX27" fmla="*/ 1285 w 10000"/>
                <a:gd name="connsiteY27" fmla="*/ 2556 h 10115"/>
                <a:gd name="connsiteX28" fmla="*/ 1285 w 10000"/>
                <a:gd name="connsiteY28" fmla="*/ 5179 h 10115"/>
                <a:gd name="connsiteX29" fmla="*/ 1135 w 10000"/>
                <a:gd name="connsiteY29" fmla="*/ 5327 h 10115"/>
                <a:gd name="connsiteX30" fmla="*/ 684 w 10000"/>
                <a:gd name="connsiteY30" fmla="*/ 5621 h 10115"/>
                <a:gd name="connsiteX31" fmla="*/ 609 w 10000"/>
                <a:gd name="connsiteY31" fmla="*/ 5986 h 10115"/>
                <a:gd name="connsiteX32" fmla="*/ 384 w 10000"/>
                <a:gd name="connsiteY32" fmla="*/ 6351 h 10115"/>
                <a:gd name="connsiteX33" fmla="*/ 234 w 10000"/>
                <a:gd name="connsiteY33" fmla="*/ 6935 h 10115"/>
                <a:gd name="connsiteX34" fmla="*/ 8 w 10000"/>
                <a:gd name="connsiteY34" fmla="*/ 7593 h 10115"/>
                <a:gd name="connsiteX35" fmla="*/ 384 w 10000"/>
                <a:gd name="connsiteY35" fmla="*/ 7664 h 10115"/>
                <a:gd name="connsiteX36" fmla="*/ 458 w 10000"/>
                <a:gd name="connsiteY36" fmla="*/ 8245 h 10115"/>
                <a:gd name="connsiteX37" fmla="*/ 684 w 10000"/>
                <a:gd name="connsiteY37" fmla="*/ 8831 h 10115"/>
                <a:gd name="connsiteX38" fmla="*/ 1059 w 10000"/>
                <a:gd name="connsiteY38" fmla="*/ 10000 h 10115"/>
                <a:gd name="connsiteX39" fmla="*/ 3268 w 10000"/>
                <a:gd name="connsiteY39" fmla="*/ 9947 h 10115"/>
                <a:gd name="connsiteX40" fmla="*/ 5428 w 10000"/>
                <a:gd name="connsiteY40" fmla="*/ 8984 h 10115"/>
                <a:gd name="connsiteX41" fmla="*/ 5884 w 10000"/>
                <a:gd name="connsiteY41" fmla="*/ 8740 h 10115"/>
                <a:gd name="connsiteX42" fmla="*/ 6040 w 10000"/>
                <a:gd name="connsiteY42" fmla="*/ 8368 h 10115"/>
                <a:gd name="connsiteX43" fmla="*/ 6382 w 10000"/>
                <a:gd name="connsiteY43" fmla="*/ 7982 h 10115"/>
                <a:gd name="connsiteX44" fmla="*/ 6428 w 10000"/>
                <a:gd name="connsiteY44" fmla="*/ 8181 h 10115"/>
                <a:gd name="connsiteX45" fmla="*/ 6444 w 10000"/>
                <a:gd name="connsiteY45" fmla="*/ 8428 h 10115"/>
                <a:gd name="connsiteX46" fmla="*/ 6766 w 10000"/>
                <a:gd name="connsiteY46" fmla="*/ 9268 h 10115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28 w 10000"/>
                <a:gd name="connsiteY40" fmla="*/ 8984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409 w 10000"/>
                <a:gd name="connsiteY40" fmla="*/ 8947 h 10039"/>
                <a:gd name="connsiteX41" fmla="*/ 5884 w 10000"/>
                <a:gd name="connsiteY41" fmla="*/ 8740 h 10039"/>
                <a:gd name="connsiteX42" fmla="*/ 6040 w 10000"/>
                <a:gd name="connsiteY42" fmla="*/ 8368 h 10039"/>
                <a:gd name="connsiteX43" fmla="*/ 6382 w 10000"/>
                <a:gd name="connsiteY43" fmla="*/ 7982 h 10039"/>
                <a:gd name="connsiteX44" fmla="*/ 6428 w 10000"/>
                <a:gd name="connsiteY44" fmla="*/ 8181 h 10039"/>
                <a:gd name="connsiteX45" fmla="*/ 6444 w 10000"/>
                <a:gd name="connsiteY45" fmla="*/ 8428 h 10039"/>
                <a:gd name="connsiteX46" fmla="*/ 6766 w 10000"/>
                <a:gd name="connsiteY46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5016 w 10000"/>
                <a:gd name="connsiteY40" fmla="*/ 9302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39"/>
                <a:gd name="connsiteX1" fmla="*/ 7446 w 10000"/>
                <a:gd name="connsiteY1" fmla="*/ 8978 h 10039"/>
                <a:gd name="connsiteX2" fmla="*/ 7821 w 10000"/>
                <a:gd name="connsiteY2" fmla="*/ 8978 h 10039"/>
                <a:gd name="connsiteX3" fmla="*/ 8047 w 10000"/>
                <a:gd name="connsiteY3" fmla="*/ 8029 h 10039"/>
                <a:gd name="connsiteX4" fmla="*/ 8648 w 10000"/>
                <a:gd name="connsiteY4" fmla="*/ 7444 h 10039"/>
                <a:gd name="connsiteX5" fmla="*/ 8873 w 10000"/>
                <a:gd name="connsiteY5" fmla="*/ 6351 h 10039"/>
                <a:gd name="connsiteX6" fmla="*/ 8722 w 10000"/>
                <a:gd name="connsiteY6" fmla="*/ 5768 h 10039"/>
                <a:gd name="connsiteX7" fmla="*/ 9098 w 10000"/>
                <a:gd name="connsiteY7" fmla="*/ 4525 h 10039"/>
                <a:gd name="connsiteX8" fmla="*/ 9399 w 10000"/>
                <a:gd name="connsiteY8" fmla="*/ 4160 h 10039"/>
                <a:gd name="connsiteX9" fmla="*/ 10000 w 10000"/>
                <a:gd name="connsiteY9" fmla="*/ 3576 h 10039"/>
                <a:gd name="connsiteX10" fmla="*/ 9774 w 10000"/>
                <a:gd name="connsiteY10" fmla="*/ 3502 h 10039"/>
                <a:gd name="connsiteX11" fmla="*/ 9399 w 10000"/>
                <a:gd name="connsiteY11" fmla="*/ 3140 h 10039"/>
                <a:gd name="connsiteX12" fmla="*/ 9173 w 10000"/>
                <a:gd name="connsiteY12" fmla="*/ 2044 h 10039"/>
                <a:gd name="connsiteX13" fmla="*/ 9173 w 10000"/>
                <a:gd name="connsiteY13" fmla="*/ 1460 h 10039"/>
                <a:gd name="connsiteX14" fmla="*/ 9098 w 10000"/>
                <a:gd name="connsiteY14" fmla="*/ 729 h 10039"/>
                <a:gd name="connsiteX15" fmla="*/ 8873 w 10000"/>
                <a:gd name="connsiteY15" fmla="*/ 511 h 10039"/>
                <a:gd name="connsiteX16" fmla="*/ 8497 w 10000"/>
                <a:gd name="connsiteY16" fmla="*/ 219 h 10039"/>
                <a:gd name="connsiteX17" fmla="*/ 8272 w 10000"/>
                <a:gd name="connsiteY17" fmla="*/ 0 h 10039"/>
                <a:gd name="connsiteX18" fmla="*/ 7821 w 10000"/>
                <a:gd name="connsiteY18" fmla="*/ 293 h 10039"/>
                <a:gd name="connsiteX19" fmla="*/ 7370 w 10000"/>
                <a:gd name="connsiteY19" fmla="*/ 729 h 10039"/>
                <a:gd name="connsiteX20" fmla="*/ 6769 w 10000"/>
                <a:gd name="connsiteY20" fmla="*/ 729 h 10039"/>
                <a:gd name="connsiteX21" fmla="*/ 5717 w 10000"/>
                <a:gd name="connsiteY21" fmla="*/ 729 h 10039"/>
                <a:gd name="connsiteX22" fmla="*/ 5717 w 10000"/>
                <a:gd name="connsiteY22" fmla="*/ 658 h 10039"/>
                <a:gd name="connsiteX23" fmla="*/ 5643 w 10000"/>
                <a:gd name="connsiteY23" fmla="*/ 729 h 10039"/>
                <a:gd name="connsiteX24" fmla="*/ 1961 w 10000"/>
                <a:gd name="connsiteY24" fmla="*/ 729 h 10039"/>
                <a:gd name="connsiteX25" fmla="*/ 1961 w 10000"/>
                <a:gd name="connsiteY25" fmla="*/ 2263 h 10039"/>
                <a:gd name="connsiteX26" fmla="*/ 1285 w 10000"/>
                <a:gd name="connsiteY26" fmla="*/ 2263 h 10039"/>
                <a:gd name="connsiteX27" fmla="*/ 1285 w 10000"/>
                <a:gd name="connsiteY27" fmla="*/ 2556 h 10039"/>
                <a:gd name="connsiteX28" fmla="*/ 1285 w 10000"/>
                <a:gd name="connsiteY28" fmla="*/ 5179 h 10039"/>
                <a:gd name="connsiteX29" fmla="*/ 1135 w 10000"/>
                <a:gd name="connsiteY29" fmla="*/ 5327 h 10039"/>
                <a:gd name="connsiteX30" fmla="*/ 684 w 10000"/>
                <a:gd name="connsiteY30" fmla="*/ 5621 h 10039"/>
                <a:gd name="connsiteX31" fmla="*/ 609 w 10000"/>
                <a:gd name="connsiteY31" fmla="*/ 5986 h 10039"/>
                <a:gd name="connsiteX32" fmla="*/ 384 w 10000"/>
                <a:gd name="connsiteY32" fmla="*/ 6351 h 10039"/>
                <a:gd name="connsiteX33" fmla="*/ 234 w 10000"/>
                <a:gd name="connsiteY33" fmla="*/ 6935 h 10039"/>
                <a:gd name="connsiteX34" fmla="*/ 8 w 10000"/>
                <a:gd name="connsiteY34" fmla="*/ 7593 h 10039"/>
                <a:gd name="connsiteX35" fmla="*/ 384 w 10000"/>
                <a:gd name="connsiteY35" fmla="*/ 7664 h 10039"/>
                <a:gd name="connsiteX36" fmla="*/ 458 w 10000"/>
                <a:gd name="connsiteY36" fmla="*/ 8245 h 10039"/>
                <a:gd name="connsiteX37" fmla="*/ 684 w 10000"/>
                <a:gd name="connsiteY37" fmla="*/ 8831 h 10039"/>
                <a:gd name="connsiteX38" fmla="*/ 1059 w 10000"/>
                <a:gd name="connsiteY38" fmla="*/ 10000 h 10039"/>
                <a:gd name="connsiteX39" fmla="*/ 4939 w 10000"/>
                <a:gd name="connsiteY39" fmla="*/ 9433 h 10039"/>
                <a:gd name="connsiteX40" fmla="*/ 4958 w 10000"/>
                <a:gd name="connsiteY40" fmla="*/ 9255 h 10039"/>
                <a:gd name="connsiteX41" fmla="*/ 5409 w 10000"/>
                <a:gd name="connsiteY41" fmla="*/ 8947 h 10039"/>
                <a:gd name="connsiteX42" fmla="*/ 5884 w 10000"/>
                <a:gd name="connsiteY42" fmla="*/ 8740 h 10039"/>
                <a:gd name="connsiteX43" fmla="*/ 6040 w 10000"/>
                <a:gd name="connsiteY43" fmla="*/ 8368 h 10039"/>
                <a:gd name="connsiteX44" fmla="*/ 6382 w 10000"/>
                <a:gd name="connsiteY44" fmla="*/ 7982 h 10039"/>
                <a:gd name="connsiteX45" fmla="*/ 6428 w 10000"/>
                <a:gd name="connsiteY45" fmla="*/ 8181 h 10039"/>
                <a:gd name="connsiteX46" fmla="*/ 6444 w 10000"/>
                <a:gd name="connsiteY46" fmla="*/ 8428 h 10039"/>
                <a:gd name="connsiteX47" fmla="*/ 6766 w 10000"/>
                <a:gd name="connsiteY47" fmla="*/ 9268 h 10039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4958 w 10000"/>
                <a:gd name="connsiteY40" fmla="*/ 9255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09 w 10000"/>
                <a:gd name="connsiteY41" fmla="*/ 8947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56"/>
                <a:gd name="connsiteX1" fmla="*/ 7446 w 10000"/>
                <a:gd name="connsiteY1" fmla="*/ 8978 h 10056"/>
                <a:gd name="connsiteX2" fmla="*/ 7821 w 10000"/>
                <a:gd name="connsiteY2" fmla="*/ 8978 h 10056"/>
                <a:gd name="connsiteX3" fmla="*/ 8047 w 10000"/>
                <a:gd name="connsiteY3" fmla="*/ 8029 h 10056"/>
                <a:gd name="connsiteX4" fmla="*/ 8648 w 10000"/>
                <a:gd name="connsiteY4" fmla="*/ 7444 h 10056"/>
                <a:gd name="connsiteX5" fmla="*/ 8873 w 10000"/>
                <a:gd name="connsiteY5" fmla="*/ 6351 h 10056"/>
                <a:gd name="connsiteX6" fmla="*/ 8722 w 10000"/>
                <a:gd name="connsiteY6" fmla="*/ 5768 h 10056"/>
                <a:gd name="connsiteX7" fmla="*/ 9098 w 10000"/>
                <a:gd name="connsiteY7" fmla="*/ 4525 h 10056"/>
                <a:gd name="connsiteX8" fmla="*/ 9399 w 10000"/>
                <a:gd name="connsiteY8" fmla="*/ 4160 h 10056"/>
                <a:gd name="connsiteX9" fmla="*/ 10000 w 10000"/>
                <a:gd name="connsiteY9" fmla="*/ 3576 h 10056"/>
                <a:gd name="connsiteX10" fmla="*/ 9774 w 10000"/>
                <a:gd name="connsiteY10" fmla="*/ 3502 h 10056"/>
                <a:gd name="connsiteX11" fmla="*/ 9399 w 10000"/>
                <a:gd name="connsiteY11" fmla="*/ 3140 h 10056"/>
                <a:gd name="connsiteX12" fmla="*/ 9173 w 10000"/>
                <a:gd name="connsiteY12" fmla="*/ 2044 h 10056"/>
                <a:gd name="connsiteX13" fmla="*/ 9173 w 10000"/>
                <a:gd name="connsiteY13" fmla="*/ 1460 h 10056"/>
                <a:gd name="connsiteX14" fmla="*/ 9098 w 10000"/>
                <a:gd name="connsiteY14" fmla="*/ 729 h 10056"/>
                <a:gd name="connsiteX15" fmla="*/ 8873 w 10000"/>
                <a:gd name="connsiteY15" fmla="*/ 511 h 10056"/>
                <a:gd name="connsiteX16" fmla="*/ 8497 w 10000"/>
                <a:gd name="connsiteY16" fmla="*/ 219 h 10056"/>
                <a:gd name="connsiteX17" fmla="*/ 8272 w 10000"/>
                <a:gd name="connsiteY17" fmla="*/ 0 h 10056"/>
                <a:gd name="connsiteX18" fmla="*/ 7821 w 10000"/>
                <a:gd name="connsiteY18" fmla="*/ 293 h 10056"/>
                <a:gd name="connsiteX19" fmla="*/ 7370 w 10000"/>
                <a:gd name="connsiteY19" fmla="*/ 729 h 10056"/>
                <a:gd name="connsiteX20" fmla="*/ 6769 w 10000"/>
                <a:gd name="connsiteY20" fmla="*/ 729 h 10056"/>
                <a:gd name="connsiteX21" fmla="*/ 5717 w 10000"/>
                <a:gd name="connsiteY21" fmla="*/ 729 h 10056"/>
                <a:gd name="connsiteX22" fmla="*/ 5717 w 10000"/>
                <a:gd name="connsiteY22" fmla="*/ 658 h 10056"/>
                <a:gd name="connsiteX23" fmla="*/ 5643 w 10000"/>
                <a:gd name="connsiteY23" fmla="*/ 729 h 10056"/>
                <a:gd name="connsiteX24" fmla="*/ 1961 w 10000"/>
                <a:gd name="connsiteY24" fmla="*/ 729 h 10056"/>
                <a:gd name="connsiteX25" fmla="*/ 1961 w 10000"/>
                <a:gd name="connsiteY25" fmla="*/ 2263 h 10056"/>
                <a:gd name="connsiteX26" fmla="*/ 1285 w 10000"/>
                <a:gd name="connsiteY26" fmla="*/ 2263 h 10056"/>
                <a:gd name="connsiteX27" fmla="*/ 1285 w 10000"/>
                <a:gd name="connsiteY27" fmla="*/ 2556 h 10056"/>
                <a:gd name="connsiteX28" fmla="*/ 1285 w 10000"/>
                <a:gd name="connsiteY28" fmla="*/ 5179 h 10056"/>
                <a:gd name="connsiteX29" fmla="*/ 1135 w 10000"/>
                <a:gd name="connsiteY29" fmla="*/ 5327 h 10056"/>
                <a:gd name="connsiteX30" fmla="*/ 684 w 10000"/>
                <a:gd name="connsiteY30" fmla="*/ 5621 h 10056"/>
                <a:gd name="connsiteX31" fmla="*/ 609 w 10000"/>
                <a:gd name="connsiteY31" fmla="*/ 5986 h 10056"/>
                <a:gd name="connsiteX32" fmla="*/ 384 w 10000"/>
                <a:gd name="connsiteY32" fmla="*/ 6351 h 10056"/>
                <a:gd name="connsiteX33" fmla="*/ 234 w 10000"/>
                <a:gd name="connsiteY33" fmla="*/ 6935 h 10056"/>
                <a:gd name="connsiteX34" fmla="*/ 8 w 10000"/>
                <a:gd name="connsiteY34" fmla="*/ 7593 h 10056"/>
                <a:gd name="connsiteX35" fmla="*/ 384 w 10000"/>
                <a:gd name="connsiteY35" fmla="*/ 7664 h 10056"/>
                <a:gd name="connsiteX36" fmla="*/ 458 w 10000"/>
                <a:gd name="connsiteY36" fmla="*/ 8245 h 10056"/>
                <a:gd name="connsiteX37" fmla="*/ 684 w 10000"/>
                <a:gd name="connsiteY37" fmla="*/ 8831 h 10056"/>
                <a:gd name="connsiteX38" fmla="*/ 1059 w 10000"/>
                <a:gd name="connsiteY38" fmla="*/ 10000 h 10056"/>
                <a:gd name="connsiteX39" fmla="*/ 4315 w 10000"/>
                <a:gd name="connsiteY39" fmla="*/ 9657 h 10056"/>
                <a:gd name="connsiteX40" fmla="*/ 5064 w 10000"/>
                <a:gd name="connsiteY40" fmla="*/ 9274 h 10056"/>
                <a:gd name="connsiteX41" fmla="*/ 5457 w 10000"/>
                <a:gd name="connsiteY41" fmla="*/ 8984 h 10056"/>
                <a:gd name="connsiteX42" fmla="*/ 5884 w 10000"/>
                <a:gd name="connsiteY42" fmla="*/ 8740 h 10056"/>
                <a:gd name="connsiteX43" fmla="*/ 6040 w 10000"/>
                <a:gd name="connsiteY43" fmla="*/ 8368 h 10056"/>
                <a:gd name="connsiteX44" fmla="*/ 6382 w 10000"/>
                <a:gd name="connsiteY44" fmla="*/ 7982 h 10056"/>
                <a:gd name="connsiteX45" fmla="*/ 6428 w 10000"/>
                <a:gd name="connsiteY45" fmla="*/ 8181 h 10056"/>
                <a:gd name="connsiteX46" fmla="*/ 6444 w 10000"/>
                <a:gd name="connsiteY46" fmla="*/ 8428 h 10056"/>
                <a:gd name="connsiteX47" fmla="*/ 6766 w 10000"/>
                <a:gd name="connsiteY47" fmla="*/ 9268 h 10056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274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4373 w 10000"/>
                <a:gd name="connsiteY39" fmla="*/ 9246 h 10031"/>
                <a:gd name="connsiteX40" fmla="*/ 5064 w 10000"/>
                <a:gd name="connsiteY40" fmla="*/ 9311 h 10031"/>
                <a:gd name="connsiteX41" fmla="*/ 5457 w 10000"/>
                <a:gd name="connsiteY41" fmla="*/ 8984 h 10031"/>
                <a:gd name="connsiteX42" fmla="*/ 5884 w 10000"/>
                <a:gd name="connsiteY42" fmla="*/ 8740 h 10031"/>
                <a:gd name="connsiteX43" fmla="*/ 6040 w 10000"/>
                <a:gd name="connsiteY43" fmla="*/ 8368 h 10031"/>
                <a:gd name="connsiteX44" fmla="*/ 6382 w 10000"/>
                <a:gd name="connsiteY44" fmla="*/ 7982 h 10031"/>
                <a:gd name="connsiteX45" fmla="*/ 6428 w 10000"/>
                <a:gd name="connsiteY45" fmla="*/ 8181 h 10031"/>
                <a:gd name="connsiteX46" fmla="*/ 6444 w 10000"/>
                <a:gd name="connsiteY46" fmla="*/ 8428 h 10031"/>
                <a:gd name="connsiteX47" fmla="*/ 6766 w 10000"/>
                <a:gd name="connsiteY47" fmla="*/ 9268 h 10031"/>
                <a:gd name="connsiteX0" fmla="*/ 7446 w 10000"/>
                <a:gd name="connsiteY0" fmla="*/ 9488 h 10033"/>
                <a:gd name="connsiteX1" fmla="*/ 7446 w 10000"/>
                <a:gd name="connsiteY1" fmla="*/ 8978 h 10033"/>
                <a:gd name="connsiteX2" fmla="*/ 7821 w 10000"/>
                <a:gd name="connsiteY2" fmla="*/ 8978 h 10033"/>
                <a:gd name="connsiteX3" fmla="*/ 8047 w 10000"/>
                <a:gd name="connsiteY3" fmla="*/ 8029 h 10033"/>
                <a:gd name="connsiteX4" fmla="*/ 8648 w 10000"/>
                <a:gd name="connsiteY4" fmla="*/ 7444 h 10033"/>
                <a:gd name="connsiteX5" fmla="*/ 8873 w 10000"/>
                <a:gd name="connsiteY5" fmla="*/ 6351 h 10033"/>
                <a:gd name="connsiteX6" fmla="*/ 8722 w 10000"/>
                <a:gd name="connsiteY6" fmla="*/ 5768 h 10033"/>
                <a:gd name="connsiteX7" fmla="*/ 9098 w 10000"/>
                <a:gd name="connsiteY7" fmla="*/ 4525 h 10033"/>
                <a:gd name="connsiteX8" fmla="*/ 9399 w 10000"/>
                <a:gd name="connsiteY8" fmla="*/ 4160 h 10033"/>
                <a:gd name="connsiteX9" fmla="*/ 10000 w 10000"/>
                <a:gd name="connsiteY9" fmla="*/ 3576 h 10033"/>
                <a:gd name="connsiteX10" fmla="*/ 9774 w 10000"/>
                <a:gd name="connsiteY10" fmla="*/ 3502 h 10033"/>
                <a:gd name="connsiteX11" fmla="*/ 9399 w 10000"/>
                <a:gd name="connsiteY11" fmla="*/ 3140 h 10033"/>
                <a:gd name="connsiteX12" fmla="*/ 9173 w 10000"/>
                <a:gd name="connsiteY12" fmla="*/ 2044 h 10033"/>
                <a:gd name="connsiteX13" fmla="*/ 9173 w 10000"/>
                <a:gd name="connsiteY13" fmla="*/ 1460 h 10033"/>
                <a:gd name="connsiteX14" fmla="*/ 9098 w 10000"/>
                <a:gd name="connsiteY14" fmla="*/ 729 h 10033"/>
                <a:gd name="connsiteX15" fmla="*/ 8873 w 10000"/>
                <a:gd name="connsiteY15" fmla="*/ 511 h 10033"/>
                <a:gd name="connsiteX16" fmla="*/ 8497 w 10000"/>
                <a:gd name="connsiteY16" fmla="*/ 219 h 10033"/>
                <a:gd name="connsiteX17" fmla="*/ 8272 w 10000"/>
                <a:gd name="connsiteY17" fmla="*/ 0 h 10033"/>
                <a:gd name="connsiteX18" fmla="*/ 7821 w 10000"/>
                <a:gd name="connsiteY18" fmla="*/ 293 h 10033"/>
                <a:gd name="connsiteX19" fmla="*/ 7370 w 10000"/>
                <a:gd name="connsiteY19" fmla="*/ 729 h 10033"/>
                <a:gd name="connsiteX20" fmla="*/ 6769 w 10000"/>
                <a:gd name="connsiteY20" fmla="*/ 729 h 10033"/>
                <a:gd name="connsiteX21" fmla="*/ 5717 w 10000"/>
                <a:gd name="connsiteY21" fmla="*/ 729 h 10033"/>
                <a:gd name="connsiteX22" fmla="*/ 5717 w 10000"/>
                <a:gd name="connsiteY22" fmla="*/ 658 h 10033"/>
                <a:gd name="connsiteX23" fmla="*/ 5643 w 10000"/>
                <a:gd name="connsiteY23" fmla="*/ 729 h 10033"/>
                <a:gd name="connsiteX24" fmla="*/ 1961 w 10000"/>
                <a:gd name="connsiteY24" fmla="*/ 729 h 10033"/>
                <a:gd name="connsiteX25" fmla="*/ 1961 w 10000"/>
                <a:gd name="connsiteY25" fmla="*/ 2263 h 10033"/>
                <a:gd name="connsiteX26" fmla="*/ 1285 w 10000"/>
                <a:gd name="connsiteY26" fmla="*/ 2263 h 10033"/>
                <a:gd name="connsiteX27" fmla="*/ 1285 w 10000"/>
                <a:gd name="connsiteY27" fmla="*/ 2556 h 10033"/>
                <a:gd name="connsiteX28" fmla="*/ 1285 w 10000"/>
                <a:gd name="connsiteY28" fmla="*/ 5179 h 10033"/>
                <a:gd name="connsiteX29" fmla="*/ 1135 w 10000"/>
                <a:gd name="connsiteY29" fmla="*/ 5327 h 10033"/>
                <a:gd name="connsiteX30" fmla="*/ 684 w 10000"/>
                <a:gd name="connsiteY30" fmla="*/ 5621 h 10033"/>
                <a:gd name="connsiteX31" fmla="*/ 609 w 10000"/>
                <a:gd name="connsiteY31" fmla="*/ 5986 h 10033"/>
                <a:gd name="connsiteX32" fmla="*/ 384 w 10000"/>
                <a:gd name="connsiteY32" fmla="*/ 6351 h 10033"/>
                <a:gd name="connsiteX33" fmla="*/ 234 w 10000"/>
                <a:gd name="connsiteY33" fmla="*/ 6935 h 10033"/>
                <a:gd name="connsiteX34" fmla="*/ 8 w 10000"/>
                <a:gd name="connsiteY34" fmla="*/ 7593 h 10033"/>
                <a:gd name="connsiteX35" fmla="*/ 384 w 10000"/>
                <a:gd name="connsiteY35" fmla="*/ 7664 h 10033"/>
                <a:gd name="connsiteX36" fmla="*/ 458 w 10000"/>
                <a:gd name="connsiteY36" fmla="*/ 8245 h 10033"/>
                <a:gd name="connsiteX37" fmla="*/ 684 w 10000"/>
                <a:gd name="connsiteY37" fmla="*/ 8831 h 10033"/>
                <a:gd name="connsiteX38" fmla="*/ 1059 w 10000"/>
                <a:gd name="connsiteY38" fmla="*/ 10000 h 10033"/>
                <a:gd name="connsiteX39" fmla="*/ 4373 w 10000"/>
                <a:gd name="connsiteY39" fmla="*/ 9293 h 10033"/>
                <a:gd name="connsiteX40" fmla="*/ 5064 w 10000"/>
                <a:gd name="connsiteY40" fmla="*/ 9311 h 10033"/>
                <a:gd name="connsiteX41" fmla="*/ 5457 w 10000"/>
                <a:gd name="connsiteY41" fmla="*/ 8984 h 10033"/>
                <a:gd name="connsiteX42" fmla="*/ 5884 w 10000"/>
                <a:gd name="connsiteY42" fmla="*/ 8740 h 10033"/>
                <a:gd name="connsiteX43" fmla="*/ 6040 w 10000"/>
                <a:gd name="connsiteY43" fmla="*/ 8368 h 10033"/>
                <a:gd name="connsiteX44" fmla="*/ 6382 w 10000"/>
                <a:gd name="connsiteY44" fmla="*/ 7982 h 10033"/>
                <a:gd name="connsiteX45" fmla="*/ 6428 w 10000"/>
                <a:gd name="connsiteY45" fmla="*/ 8181 h 10033"/>
                <a:gd name="connsiteX46" fmla="*/ 6444 w 10000"/>
                <a:gd name="connsiteY46" fmla="*/ 8428 h 10033"/>
                <a:gd name="connsiteX47" fmla="*/ 6766 w 10000"/>
                <a:gd name="connsiteY47" fmla="*/ 9268 h 10033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3729 w 10000"/>
                <a:gd name="connsiteY39" fmla="*/ 9526 h 10015"/>
                <a:gd name="connsiteX40" fmla="*/ 4373 w 10000"/>
                <a:gd name="connsiteY40" fmla="*/ 9293 h 10015"/>
                <a:gd name="connsiteX41" fmla="*/ 5064 w 10000"/>
                <a:gd name="connsiteY41" fmla="*/ 9311 h 10015"/>
                <a:gd name="connsiteX42" fmla="*/ 5457 w 10000"/>
                <a:gd name="connsiteY42" fmla="*/ 8984 h 10015"/>
                <a:gd name="connsiteX43" fmla="*/ 5884 w 10000"/>
                <a:gd name="connsiteY43" fmla="*/ 8740 h 10015"/>
                <a:gd name="connsiteX44" fmla="*/ 6040 w 10000"/>
                <a:gd name="connsiteY44" fmla="*/ 8368 h 10015"/>
                <a:gd name="connsiteX45" fmla="*/ 6382 w 10000"/>
                <a:gd name="connsiteY45" fmla="*/ 7982 h 10015"/>
                <a:gd name="connsiteX46" fmla="*/ 6428 w 10000"/>
                <a:gd name="connsiteY46" fmla="*/ 8181 h 10015"/>
                <a:gd name="connsiteX47" fmla="*/ 6444 w 10000"/>
                <a:gd name="connsiteY47" fmla="*/ 8428 h 10015"/>
                <a:gd name="connsiteX48" fmla="*/ 6766 w 10000"/>
                <a:gd name="connsiteY48" fmla="*/ 9268 h 10015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373 w 10000"/>
                <a:gd name="connsiteY40" fmla="*/ 9293 h 10020"/>
                <a:gd name="connsiteX41" fmla="*/ 5064 w 10000"/>
                <a:gd name="connsiteY41" fmla="*/ 9311 h 10020"/>
                <a:gd name="connsiteX42" fmla="*/ 5457 w 10000"/>
                <a:gd name="connsiteY42" fmla="*/ 8984 h 10020"/>
                <a:gd name="connsiteX43" fmla="*/ 5884 w 10000"/>
                <a:gd name="connsiteY43" fmla="*/ 8740 h 10020"/>
                <a:gd name="connsiteX44" fmla="*/ 6040 w 10000"/>
                <a:gd name="connsiteY44" fmla="*/ 8368 h 10020"/>
                <a:gd name="connsiteX45" fmla="*/ 6382 w 10000"/>
                <a:gd name="connsiteY45" fmla="*/ 7982 h 10020"/>
                <a:gd name="connsiteX46" fmla="*/ 6428 w 10000"/>
                <a:gd name="connsiteY46" fmla="*/ 8181 h 10020"/>
                <a:gd name="connsiteX47" fmla="*/ 6444 w 10000"/>
                <a:gd name="connsiteY47" fmla="*/ 8428 h 10020"/>
                <a:gd name="connsiteX48" fmla="*/ 6766 w 10000"/>
                <a:gd name="connsiteY48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09 w 10000"/>
                <a:gd name="connsiteY40" fmla="*/ 9592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20"/>
                <a:gd name="connsiteX1" fmla="*/ 7446 w 10000"/>
                <a:gd name="connsiteY1" fmla="*/ 8978 h 10020"/>
                <a:gd name="connsiteX2" fmla="*/ 7821 w 10000"/>
                <a:gd name="connsiteY2" fmla="*/ 8978 h 10020"/>
                <a:gd name="connsiteX3" fmla="*/ 8047 w 10000"/>
                <a:gd name="connsiteY3" fmla="*/ 8029 h 10020"/>
                <a:gd name="connsiteX4" fmla="*/ 8648 w 10000"/>
                <a:gd name="connsiteY4" fmla="*/ 7444 h 10020"/>
                <a:gd name="connsiteX5" fmla="*/ 8873 w 10000"/>
                <a:gd name="connsiteY5" fmla="*/ 6351 h 10020"/>
                <a:gd name="connsiteX6" fmla="*/ 8722 w 10000"/>
                <a:gd name="connsiteY6" fmla="*/ 5768 h 10020"/>
                <a:gd name="connsiteX7" fmla="*/ 9098 w 10000"/>
                <a:gd name="connsiteY7" fmla="*/ 4525 h 10020"/>
                <a:gd name="connsiteX8" fmla="*/ 9399 w 10000"/>
                <a:gd name="connsiteY8" fmla="*/ 4160 h 10020"/>
                <a:gd name="connsiteX9" fmla="*/ 10000 w 10000"/>
                <a:gd name="connsiteY9" fmla="*/ 3576 h 10020"/>
                <a:gd name="connsiteX10" fmla="*/ 9774 w 10000"/>
                <a:gd name="connsiteY10" fmla="*/ 3502 h 10020"/>
                <a:gd name="connsiteX11" fmla="*/ 9399 w 10000"/>
                <a:gd name="connsiteY11" fmla="*/ 3140 h 10020"/>
                <a:gd name="connsiteX12" fmla="*/ 9173 w 10000"/>
                <a:gd name="connsiteY12" fmla="*/ 2044 h 10020"/>
                <a:gd name="connsiteX13" fmla="*/ 9173 w 10000"/>
                <a:gd name="connsiteY13" fmla="*/ 1460 h 10020"/>
                <a:gd name="connsiteX14" fmla="*/ 9098 w 10000"/>
                <a:gd name="connsiteY14" fmla="*/ 729 h 10020"/>
                <a:gd name="connsiteX15" fmla="*/ 8873 w 10000"/>
                <a:gd name="connsiteY15" fmla="*/ 511 h 10020"/>
                <a:gd name="connsiteX16" fmla="*/ 8497 w 10000"/>
                <a:gd name="connsiteY16" fmla="*/ 219 h 10020"/>
                <a:gd name="connsiteX17" fmla="*/ 8272 w 10000"/>
                <a:gd name="connsiteY17" fmla="*/ 0 h 10020"/>
                <a:gd name="connsiteX18" fmla="*/ 7821 w 10000"/>
                <a:gd name="connsiteY18" fmla="*/ 293 h 10020"/>
                <a:gd name="connsiteX19" fmla="*/ 7370 w 10000"/>
                <a:gd name="connsiteY19" fmla="*/ 729 h 10020"/>
                <a:gd name="connsiteX20" fmla="*/ 6769 w 10000"/>
                <a:gd name="connsiteY20" fmla="*/ 729 h 10020"/>
                <a:gd name="connsiteX21" fmla="*/ 5717 w 10000"/>
                <a:gd name="connsiteY21" fmla="*/ 729 h 10020"/>
                <a:gd name="connsiteX22" fmla="*/ 5717 w 10000"/>
                <a:gd name="connsiteY22" fmla="*/ 658 h 10020"/>
                <a:gd name="connsiteX23" fmla="*/ 5643 w 10000"/>
                <a:gd name="connsiteY23" fmla="*/ 729 h 10020"/>
                <a:gd name="connsiteX24" fmla="*/ 1961 w 10000"/>
                <a:gd name="connsiteY24" fmla="*/ 729 h 10020"/>
                <a:gd name="connsiteX25" fmla="*/ 1961 w 10000"/>
                <a:gd name="connsiteY25" fmla="*/ 2263 h 10020"/>
                <a:gd name="connsiteX26" fmla="*/ 1285 w 10000"/>
                <a:gd name="connsiteY26" fmla="*/ 2263 h 10020"/>
                <a:gd name="connsiteX27" fmla="*/ 1285 w 10000"/>
                <a:gd name="connsiteY27" fmla="*/ 2556 h 10020"/>
                <a:gd name="connsiteX28" fmla="*/ 1285 w 10000"/>
                <a:gd name="connsiteY28" fmla="*/ 5179 h 10020"/>
                <a:gd name="connsiteX29" fmla="*/ 1135 w 10000"/>
                <a:gd name="connsiteY29" fmla="*/ 5327 h 10020"/>
                <a:gd name="connsiteX30" fmla="*/ 684 w 10000"/>
                <a:gd name="connsiteY30" fmla="*/ 5621 h 10020"/>
                <a:gd name="connsiteX31" fmla="*/ 609 w 10000"/>
                <a:gd name="connsiteY31" fmla="*/ 5986 h 10020"/>
                <a:gd name="connsiteX32" fmla="*/ 384 w 10000"/>
                <a:gd name="connsiteY32" fmla="*/ 6351 h 10020"/>
                <a:gd name="connsiteX33" fmla="*/ 234 w 10000"/>
                <a:gd name="connsiteY33" fmla="*/ 6935 h 10020"/>
                <a:gd name="connsiteX34" fmla="*/ 8 w 10000"/>
                <a:gd name="connsiteY34" fmla="*/ 7593 h 10020"/>
                <a:gd name="connsiteX35" fmla="*/ 384 w 10000"/>
                <a:gd name="connsiteY35" fmla="*/ 7664 h 10020"/>
                <a:gd name="connsiteX36" fmla="*/ 458 w 10000"/>
                <a:gd name="connsiteY36" fmla="*/ 8245 h 10020"/>
                <a:gd name="connsiteX37" fmla="*/ 684 w 10000"/>
                <a:gd name="connsiteY37" fmla="*/ 8831 h 10020"/>
                <a:gd name="connsiteX38" fmla="*/ 1059 w 10000"/>
                <a:gd name="connsiteY38" fmla="*/ 10000 h 10020"/>
                <a:gd name="connsiteX39" fmla="*/ 3940 w 10000"/>
                <a:gd name="connsiteY39" fmla="*/ 9647 h 10020"/>
                <a:gd name="connsiteX40" fmla="*/ 4219 w 10000"/>
                <a:gd name="connsiteY40" fmla="*/ 9620 h 10020"/>
                <a:gd name="connsiteX41" fmla="*/ 4373 w 10000"/>
                <a:gd name="connsiteY41" fmla="*/ 9293 h 10020"/>
                <a:gd name="connsiteX42" fmla="*/ 5064 w 10000"/>
                <a:gd name="connsiteY42" fmla="*/ 9311 h 10020"/>
                <a:gd name="connsiteX43" fmla="*/ 5457 w 10000"/>
                <a:gd name="connsiteY43" fmla="*/ 8984 h 10020"/>
                <a:gd name="connsiteX44" fmla="*/ 5884 w 10000"/>
                <a:gd name="connsiteY44" fmla="*/ 8740 h 10020"/>
                <a:gd name="connsiteX45" fmla="*/ 6040 w 10000"/>
                <a:gd name="connsiteY45" fmla="*/ 8368 h 10020"/>
                <a:gd name="connsiteX46" fmla="*/ 6382 w 10000"/>
                <a:gd name="connsiteY46" fmla="*/ 7982 h 10020"/>
                <a:gd name="connsiteX47" fmla="*/ 6428 w 10000"/>
                <a:gd name="connsiteY47" fmla="*/ 8181 h 10020"/>
                <a:gd name="connsiteX48" fmla="*/ 6444 w 10000"/>
                <a:gd name="connsiteY48" fmla="*/ 8428 h 10020"/>
                <a:gd name="connsiteX49" fmla="*/ 6766 w 10000"/>
                <a:gd name="connsiteY49" fmla="*/ 9268 h 10020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4219 w 10000"/>
                <a:gd name="connsiteY40" fmla="*/ 9620 h 10031"/>
                <a:gd name="connsiteX41" fmla="*/ 4373 w 10000"/>
                <a:gd name="connsiteY41" fmla="*/ 9293 h 10031"/>
                <a:gd name="connsiteX42" fmla="*/ 5064 w 10000"/>
                <a:gd name="connsiteY42" fmla="*/ 9311 h 10031"/>
                <a:gd name="connsiteX43" fmla="*/ 5457 w 10000"/>
                <a:gd name="connsiteY43" fmla="*/ 8984 h 10031"/>
                <a:gd name="connsiteX44" fmla="*/ 5884 w 10000"/>
                <a:gd name="connsiteY44" fmla="*/ 8740 h 10031"/>
                <a:gd name="connsiteX45" fmla="*/ 6040 w 10000"/>
                <a:gd name="connsiteY45" fmla="*/ 8368 h 10031"/>
                <a:gd name="connsiteX46" fmla="*/ 6382 w 10000"/>
                <a:gd name="connsiteY46" fmla="*/ 7982 h 10031"/>
                <a:gd name="connsiteX47" fmla="*/ 6428 w 10000"/>
                <a:gd name="connsiteY47" fmla="*/ 8181 h 10031"/>
                <a:gd name="connsiteX48" fmla="*/ 6444 w 10000"/>
                <a:gd name="connsiteY48" fmla="*/ 8428 h 10031"/>
                <a:gd name="connsiteX49" fmla="*/ 6766 w 10000"/>
                <a:gd name="connsiteY49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863 w 10000"/>
                <a:gd name="connsiteY40" fmla="*/ 9788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31"/>
                <a:gd name="connsiteX1" fmla="*/ 7446 w 10000"/>
                <a:gd name="connsiteY1" fmla="*/ 8978 h 10031"/>
                <a:gd name="connsiteX2" fmla="*/ 7821 w 10000"/>
                <a:gd name="connsiteY2" fmla="*/ 8978 h 10031"/>
                <a:gd name="connsiteX3" fmla="*/ 8047 w 10000"/>
                <a:gd name="connsiteY3" fmla="*/ 8029 h 10031"/>
                <a:gd name="connsiteX4" fmla="*/ 8648 w 10000"/>
                <a:gd name="connsiteY4" fmla="*/ 7444 h 10031"/>
                <a:gd name="connsiteX5" fmla="*/ 8873 w 10000"/>
                <a:gd name="connsiteY5" fmla="*/ 6351 h 10031"/>
                <a:gd name="connsiteX6" fmla="*/ 8722 w 10000"/>
                <a:gd name="connsiteY6" fmla="*/ 5768 h 10031"/>
                <a:gd name="connsiteX7" fmla="*/ 9098 w 10000"/>
                <a:gd name="connsiteY7" fmla="*/ 4525 h 10031"/>
                <a:gd name="connsiteX8" fmla="*/ 9399 w 10000"/>
                <a:gd name="connsiteY8" fmla="*/ 4160 h 10031"/>
                <a:gd name="connsiteX9" fmla="*/ 10000 w 10000"/>
                <a:gd name="connsiteY9" fmla="*/ 3576 h 10031"/>
                <a:gd name="connsiteX10" fmla="*/ 9774 w 10000"/>
                <a:gd name="connsiteY10" fmla="*/ 3502 h 10031"/>
                <a:gd name="connsiteX11" fmla="*/ 9399 w 10000"/>
                <a:gd name="connsiteY11" fmla="*/ 3140 h 10031"/>
                <a:gd name="connsiteX12" fmla="*/ 9173 w 10000"/>
                <a:gd name="connsiteY12" fmla="*/ 2044 h 10031"/>
                <a:gd name="connsiteX13" fmla="*/ 9173 w 10000"/>
                <a:gd name="connsiteY13" fmla="*/ 1460 h 10031"/>
                <a:gd name="connsiteX14" fmla="*/ 9098 w 10000"/>
                <a:gd name="connsiteY14" fmla="*/ 729 h 10031"/>
                <a:gd name="connsiteX15" fmla="*/ 8873 w 10000"/>
                <a:gd name="connsiteY15" fmla="*/ 511 h 10031"/>
                <a:gd name="connsiteX16" fmla="*/ 8497 w 10000"/>
                <a:gd name="connsiteY16" fmla="*/ 219 h 10031"/>
                <a:gd name="connsiteX17" fmla="*/ 8272 w 10000"/>
                <a:gd name="connsiteY17" fmla="*/ 0 h 10031"/>
                <a:gd name="connsiteX18" fmla="*/ 7821 w 10000"/>
                <a:gd name="connsiteY18" fmla="*/ 293 h 10031"/>
                <a:gd name="connsiteX19" fmla="*/ 7370 w 10000"/>
                <a:gd name="connsiteY19" fmla="*/ 729 h 10031"/>
                <a:gd name="connsiteX20" fmla="*/ 6769 w 10000"/>
                <a:gd name="connsiteY20" fmla="*/ 729 h 10031"/>
                <a:gd name="connsiteX21" fmla="*/ 5717 w 10000"/>
                <a:gd name="connsiteY21" fmla="*/ 729 h 10031"/>
                <a:gd name="connsiteX22" fmla="*/ 5717 w 10000"/>
                <a:gd name="connsiteY22" fmla="*/ 658 h 10031"/>
                <a:gd name="connsiteX23" fmla="*/ 5643 w 10000"/>
                <a:gd name="connsiteY23" fmla="*/ 729 h 10031"/>
                <a:gd name="connsiteX24" fmla="*/ 1961 w 10000"/>
                <a:gd name="connsiteY24" fmla="*/ 729 h 10031"/>
                <a:gd name="connsiteX25" fmla="*/ 1961 w 10000"/>
                <a:gd name="connsiteY25" fmla="*/ 2263 h 10031"/>
                <a:gd name="connsiteX26" fmla="*/ 1285 w 10000"/>
                <a:gd name="connsiteY26" fmla="*/ 2263 h 10031"/>
                <a:gd name="connsiteX27" fmla="*/ 1285 w 10000"/>
                <a:gd name="connsiteY27" fmla="*/ 2556 h 10031"/>
                <a:gd name="connsiteX28" fmla="*/ 1285 w 10000"/>
                <a:gd name="connsiteY28" fmla="*/ 5179 h 10031"/>
                <a:gd name="connsiteX29" fmla="*/ 1135 w 10000"/>
                <a:gd name="connsiteY29" fmla="*/ 5327 h 10031"/>
                <a:gd name="connsiteX30" fmla="*/ 684 w 10000"/>
                <a:gd name="connsiteY30" fmla="*/ 5621 h 10031"/>
                <a:gd name="connsiteX31" fmla="*/ 609 w 10000"/>
                <a:gd name="connsiteY31" fmla="*/ 5986 h 10031"/>
                <a:gd name="connsiteX32" fmla="*/ 384 w 10000"/>
                <a:gd name="connsiteY32" fmla="*/ 6351 h 10031"/>
                <a:gd name="connsiteX33" fmla="*/ 234 w 10000"/>
                <a:gd name="connsiteY33" fmla="*/ 6935 h 10031"/>
                <a:gd name="connsiteX34" fmla="*/ 8 w 10000"/>
                <a:gd name="connsiteY34" fmla="*/ 7593 h 10031"/>
                <a:gd name="connsiteX35" fmla="*/ 384 w 10000"/>
                <a:gd name="connsiteY35" fmla="*/ 7664 h 10031"/>
                <a:gd name="connsiteX36" fmla="*/ 458 w 10000"/>
                <a:gd name="connsiteY36" fmla="*/ 8245 h 10031"/>
                <a:gd name="connsiteX37" fmla="*/ 684 w 10000"/>
                <a:gd name="connsiteY37" fmla="*/ 8831 h 10031"/>
                <a:gd name="connsiteX38" fmla="*/ 1059 w 10000"/>
                <a:gd name="connsiteY38" fmla="*/ 10000 h 10031"/>
                <a:gd name="connsiteX39" fmla="*/ 3863 w 10000"/>
                <a:gd name="connsiteY39" fmla="*/ 9806 h 10031"/>
                <a:gd name="connsiteX40" fmla="*/ 3479 w 10000"/>
                <a:gd name="connsiteY40" fmla="*/ 9452 h 10031"/>
                <a:gd name="connsiteX41" fmla="*/ 4219 w 10000"/>
                <a:gd name="connsiteY41" fmla="*/ 9620 h 10031"/>
                <a:gd name="connsiteX42" fmla="*/ 4373 w 10000"/>
                <a:gd name="connsiteY42" fmla="*/ 9293 h 10031"/>
                <a:gd name="connsiteX43" fmla="*/ 5064 w 10000"/>
                <a:gd name="connsiteY43" fmla="*/ 9311 h 10031"/>
                <a:gd name="connsiteX44" fmla="*/ 5457 w 10000"/>
                <a:gd name="connsiteY44" fmla="*/ 8984 h 10031"/>
                <a:gd name="connsiteX45" fmla="*/ 5884 w 10000"/>
                <a:gd name="connsiteY45" fmla="*/ 8740 h 10031"/>
                <a:gd name="connsiteX46" fmla="*/ 6040 w 10000"/>
                <a:gd name="connsiteY46" fmla="*/ 8368 h 10031"/>
                <a:gd name="connsiteX47" fmla="*/ 6382 w 10000"/>
                <a:gd name="connsiteY47" fmla="*/ 7982 h 10031"/>
                <a:gd name="connsiteX48" fmla="*/ 6428 w 10000"/>
                <a:gd name="connsiteY48" fmla="*/ 8181 h 10031"/>
                <a:gd name="connsiteX49" fmla="*/ 6444 w 10000"/>
                <a:gd name="connsiteY49" fmla="*/ 8428 h 10031"/>
                <a:gd name="connsiteX50" fmla="*/ 6766 w 10000"/>
                <a:gd name="connsiteY50" fmla="*/ 9268 h 10031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4219 w 10000"/>
                <a:gd name="connsiteY41" fmla="*/ 9620 h 10008"/>
                <a:gd name="connsiteX42" fmla="*/ 4373 w 10000"/>
                <a:gd name="connsiteY42" fmla="*/ 9293 h 10008"/>
                <a:gd name="connsiteX43" fmla="*/ 5064 w 10000"/>
                <a:gd name="connsiteY43" fmla="*/ 9311 h 10008"/>
                <a:gd name="connsiteX44" fmla="*/ 5457 w 10000"/>
                <a:gd name="connsiteY44" fmla="*/ 8984 h 10008"/>
                <a:gd name="connsiteX45" fmla="*/ 5884 w 10000"/>
                <a:gd name="connsiteY45" fmla="*/ 8740 h 10008"/>
                <a:gd name="connsiteX46" fmla="*/ 6040 w 10000"/>
                <a:gd name="connsiteY46" fmla="*/ 8368 h 10008"/>
                <a:gd name="connsiteX47" fmla="*/ 6382 w 10000"/>
                <a:gd name="connsiteY47" fmla="*/ 7982 h 10008"/>
                <a:gd name="connsiteX48" fmla="*/ 6428 w 10000"/>
                <a:gd name="connsiteY48" fmla="*/ 8181 h 10008"/>
                <a:gd name="connsiteX49" fmla="*/ 6444 w 10000"/>
                <a:gd name="connsiteY49" fmla="*/ 8428 h 10008"/>
                <a:gd name="connsiteX50" fmla="*/ 6766 w 10000"/>
                <a:gd name="connsiteY50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479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786 w 10000"/>
                <a:gd name="connsiteY40" fmla="*/ 9452 h 10008"/>
                <a:gd name="connsiteX41" fmla="*/ 3863 w 10000"/>
                <a:gd name="connsiteY41" fmla="*/ 9778 h 10008"/>
                <a:gd name="connsiteX42" fmla="*/ 4219 w 10000"/>
                <a:gd name="connsiteY42" fmla="*/ 9620 h 10008"/>
                <a:gd name="connsiteX43" fmla="*/ 4373 w 10000"/>
                <a:gd name="connsiteY43" fmla="*/ 9293 h 10008"/>
                <a:gd name="connsiteX44" fmla="*/ 5064 w 10000"/>
                <a:gd name="connsiteY44" fmla="*/ 9311 h 10008"/>
                <a:gd name="connsiteX45" fmla="*/ 5457 w 10000"/>
                <a:gd name="connsiteY45" fmla="*/ 8984 h 10008"/>
                <a:gd name="connsiteX46" fmla="*/ 5884 w 10000"/>
                <a:gd name="connsiteY46" fmla="*/ 8740 h 10008"/>
                <a:gd name="connsiteX47" fmla="*/ 6040 w 10000"/>
                <a:gd name="connsiteY47" fmla="*/ 8368 h 10008"/>
                <a:gd name="connsiteX48" fmla="*/ 6382 w 10000"/>
                <a:gd name="connsiteY48" fmla="*/ 7982 h 10008"/>
                <a:gd name="connsiteX49" fmla="*/ 6428 w 10000"/>
                <a:gd name="connsiteY49" fmla="*/ 8181 h 10008"/>
                <a:gd name="connsiteX50" fmla="*/ 6444 w 10000"/>
                <a:gd name="connsiteY50" fmla="*/ 8428 h 10008"/>
                <a:gd name="connsiteX51" fmla="*/ 6766 w 10000"/>
                <a:gd name="connsiteY51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52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08 w 10000"/>
                <a:gd name="connsiteY40" fmla="*/ 9433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86 w 10000"/>
                <a:gd name="connsiteY41" fmla="*/ 9499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960 w 10000"/>
                <a:gd name="connsiteY40" fmla="*/ 9480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3027 w 10000"/>
                <a:gd name="connsiteY40" fmla="*/ 9433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778 w 10000"/>
                <a:gd name="connsiteY39" fmla="*/ 9087 h 10008"/>
                <a:gd name="connsiteX40" fmla="*/ 2893 w 10000"/>
                <a:gd name="connsiteY40" fmla="*/ 9508 h 10008"/>
                <a:gd name="connsiteX41" fmla="*/ 3757 w 10000"/>
                <a:gd name="connsiteY41" fmla="*/ 9508 h 10008"/>
                <a:gd name="connsiteX42" fmla="*/ 3863 w 10000"/>
                <a:gd name="connsiteY42" fmla="*/ 9778 h 10008"/>
                <a:gd name="connsiteX43" fmla="*/ 4219 w 10000"/>
                <a:gd name="connsiteY43" fmla="*/ 9620 h 10008"/>
                <a:gd name="connsiteX44" fmla="*/ 4373 w 10000"/>
                <a:gd name="connsiteY44" fmla="*/ 9293 h 10008"/>
                <a:gd name="connsiteX45" fmla="*/ 5064 w 10000"/>
                <a:gd name="connsiteY45" fmla="*/ 9311 h 10008"/>
                <a:gd name="connsiteX46" fmla="*/ 5457 w 10000"/>
                <a:gd name="connsiteY46" fmla="*/ 8984 h 10008"/>
                <a:gd name="connsiteX47" fmla="*/ 5884 w 10000"/>
                <a:gd name="connsiteY47" fmla="*/ 8740 h 10008"/>
                <a:gd name="connsiteX48" fmla="*/ 6040 w 10000"/>
                <a:gd name="connsiteY48" fmla="*/ 8368 h 10008"/>
                <a:gd name="connsiteX49" fmla="*/ 6382 w 10000"/>
                <a:gd name="connsiteY49" fmla="*/ 7982 h 10008"/>
                <a:gd name="connsiteX50" fmla="*/ 6428 w 10000"/>
                <a:gd name="connsiteY50" fmla="*/ 8181 h 10008"/>
                <a:gd name="connsiteX51" fmla="*/ 6444 w 10000"/>
                <a:gd name="connsiteY51" fmla="*/ 8428 h 10008"/>
                <a:gd name="connsiteX52" fmla="*/ 6766 w 10000"/>
                <a:gd name="connsiteY52" fmla="*/ 9268 h 1000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893 w 10000"/>
                <a:gd name="connsiteY40" fmla="*/ 9508 h 10018"/>
                <a:gd name="connsiteX41" fmla="*/ 3757 w 10000"/>
                <a:gd name="connsiteY41" fmla="*/ 9508 h 10018"/>
                <a:gd name="connsiteX42" fmla="*/ 3863 w 10000"/>
                <a:gd name="connsiteY42" fmla="*/ 9778 h 10018"/>
                <a:gd name="connsiteX43" fmla="*/ 4219 w 10000"/>
                <a:gd name="connsiteY43" fmla="*/ 9620 h 10018"/>
                <a:gd name="connsiteX44" fmla="*/ 4373 w 10000"/>
                <a:gd name="connsiteY44" fmla="*/ 9293 h 10018"/>
                <a:gd name="connsiteX45" fmla="*/ 5064 w 10000"/>
                <a:gd name="connsiteY45" fmla="*/ 9311 h 10018"/>
                <a:gd name="connsiteX46" fmla="*/ 5457 w 10000"/>
                <a:gd name="connsiteY46" fmla="*/ 8984 h 10018"/>
                <a:gd name="connsiteX47" fmla="*/ 5884 w 10000"/>
                <a:gd name="connsiteY47" fmla="*/ 8740 h 10018"/>
                <a:gd name="connsiteX48" fmla="*/ 6040 w 10000"/>
                <a:gd name="connsiteY48" fmla="*/ 8368 h 10018"/>
                <a:gd name="connsiteX49" fmla="*/ 6382 w 10000"/>
                <a:gd name="connsiteY49" fmla="*/ 7982 h 10018"/>
                <a:gd name="connsiteX50" fmla="*/ 6428 w 10000"/>
                <a:gd name="connsiteY50" fmla="*/ 8181 h 10018"/>
                <a:gd name="connsiteX51" fmla="*/ 6444 w 10000"/>
                <a:gd name="connsiteY51" fmla="*/ 8428 h 10018"/>
                <a:gd name="connsiteX52" fmla="*/ 6766 w 10000"/>
                <a:gd name="connsiteY52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38 w 10000"/>
                <a:gd name="connsiteY40" fmla="*/ 9601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500 w 10000"/>
                <a:gd name="connsiteY40" fmla="*/ 9227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893 w 10000"/>
                <a:gd name="connsiteY41" fmla="*/ 9508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40 w 10000"/>
                <a:gd name="connsiteY40" fmla="*/ 9610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8"/>
                <a:gd name="connsiteX1" fmla="*/ 7446 w 10000"/>
                <a:gd name="connsiteY1" fmla="*/ 8978 h 10018"/>
                <a:gd name="connsiteX2" fmla="*/ 7821 w 10000"/>
                <a:gd name="connsiteY2" fmla="*/ 8978 h 10018"/>
                <a:gd name="connsiteX3" fmla="*/ 8047 w 10000"/>
                <a:gd name="connsiteY3" fmla="*/ 8029 h 10018"/>
                <a:gd name="connsiteX4" fmla="*/ 8648 w 10000"/>
                <a:gd name="connsiteY4" fmla="*/ 7444 h 10018"/>
                <a:gd name="connsiteX5" fmla="*/ 8873 w 10000"/>
                <a:gd name="connsiteY5" fmla="*/ 6351 h 10018"/>
                <a:gd name="connsiteX6" fmla="*/ 8722 w 10000"/>
                <a:gd name="connsiteY6" fmla="*/ 5768 h 10018"/>
                <a:gd name="connsiteX7" fmla="*/ 9098 w 10000"/>
                <a:gd name="connsiteY7" fmla="*/ 4525 h 10018"/>
                <a:gd name="connsiteX8" fmla="*/ 9399 w 10000"/>
                <a:gd name="connsiteY8" fmla="*/ 4160 h 10018"/>
                <a:gd name="connsiteX9" fmla="*/ 10000 w 10000"/>
                <a:gd name="connsiteY9" fmla="*/ 3576 h 10018"/>
                <a:gd name="connsiteX10" fmla="*/ 9774 w 10000"/>
                <a:gd name="connsiteY10" fmla="*/ 3502 h 10018"/>
                <a:gd name="connsiteX11" fmla="*/ 9399 w 10000"/>
                <a:gd name="connsiteY11" fmla="*/ 3140 h 10018"/>
                <a:gd name="connsiteX12" fmla="*/ 9173 w 10000"/>
                <a:gd name="connsiteY12" fmla="*/ 2044 h 10018"/>
                <a:gd name="connsiteX13" fmla="*/ 9173 w 10000"/>
                <a:gd name="connsiteY13" fmla="*/ 1460 h 10018"/>
                <a:gd name="connsiteX14" fmla="*/ 9098 w 10000"/>
                <a:gd name="connsiteY14" fmla="*/ 729 h 10018"/>
                <a:gd name="connsiteX15" fmla="*/ 8873 w 10000"/>
                <a:gd name="connsiteY15" fmla="*/ 511 h 10018"/>
                <a:gd name="connsiteX16" fmla="*/ 8497 w 10000"/>
                <a:gd name="connsiteY16" fmla="*/ 219 h 10018"/>
                <a:gd name="connsiteX17" fmla="*/ 8272 w 10000"/>
                <a:gd name="connsiteY17" fmla="*/ 0 h 10018"/>
                <a:gd name="connsiteX18" fmla="*/ 7821 w 10000"/>
                <a:gd name="connsiteY18" fmla="*/ 293 h 10018"/>
                <a:gd name="connsiteX19" fmla="*/ 7370 w 10000"/>
                <a:gd name="connsiteY19" fmla="*/ 729 h 10018"/>
                <a:gd name="connsiteX20" fmla="*/ 6769 w 10000"/>
                <a:gd name="connsiteY20" fmla="*/ 729 h 10018"/>
                <a:gd name="connsiteX21" fmla="*/ 5717 w 10000"/>
                <a:gd name="connsiteY21" fmla="*/ 729 h 10018"/>
                <a:gd name="connsiteX22" fmla="*/ 5717 w 10000"/>
                <a:gd name="connsiteY22" fmla="*/ 658 h 10018"/>
                <a:gd name="connsiteX23" fmla="*/ 5643 w 10000"/>
                <a:gd name="connsiteY23" fmla="*/ 729 h 10018"/>
                <a:gd name="connsiteX24" fmla="*/ 1961 w 10000"/>
                <a:gd name="connsiteY24" fmla="*/ 729 h 10018"/>
                <a:gd name="connsiteX25" fmla="*/ 1961 w 10000"/>
                <a:gd name="connsiteY25" fmla="*/ 2263 h 10018"/>
                <a:gd name="connsiteX26" fmla="*/ 1285 w 10000"/>
                <a:gd name="connsiteY26" fmla="*/ 2263 h 10018"/>
                <a:gd name="connsiteX27" fmla="*/ 1285 w 10000"/>
                <a:gd name="connsiteY27" fmla="*/ 2556 h 10018"/>
                <a:gd name="connsiteX28" fmla="*/ 1285 w 10000"/>
                <a:gd name="connsiteY28" fmla="*/ 5179 h 10018"/>
                <a:gd name="connsiteX29" fmla="*/ 1135 w 10000"/>
                <a:gd name="connsiteY29" fmla="*/ 5327 h 10018"/>
                <a:gd name="connsiteX30" fmla="*/ 684 w 10000"/>
                <a:gd name="connsiteY30" fmla="*/ 5621 h 10018"/>
                <a:gd name="connsiteX31" fmla="*/ 609 w 10000"/>
                <a:gd name="connsiteY31" fmla="*/ 5986 h 10018"/>
                <a:gd name="connsiteX32" fmla="*/ 384 w 10000"/>
                <a:gd name="connsiteY32" fmla="*/ 6351 h 10018"/>
                <a:gd name="connsiteX33" fmla="*/ 234 w 10000"/>
                <a:gd name="connsiteY33" fmla="*/ 6935 h 10018"/>
                <a:gd name="connsiteX34" fmla="*/ 8 w 10000"/>
                <a:gd name="connsiteY34" fmla="*/ 7593 h 10018"/>
                <a:gd name="connsiteX35" fmla="*/ 384 w 10000"/>
                <a:gd name="connsiteY35" fmla="*/ 7664 h 10018"/>
                <a:gd name="connsiteX36" fmla="*/ 458 w 10000"/>
                <a:gd name="connsiteY36" fmla="*/ 8245 h 10018"/>
                <a:gd name="connsiteX37" fmla="*/ 684 w 10000"/>
                <a:gd name="connsiteY37" fmla="*/ 8831 h 10018"/>
                <a:gd name="connsiteX38" fmla="*/ 1059 w 10000"/>
                <a:gd name="connsiteY38" fmla="*/ 10000 h 10018"/>
                <a:gd name="connsiteX39" fmla="*/ 2509 w 10000"/>
                <a:gd name="connsiteY39" fmla="*/ 9601 h 10018"/>
                <a:gd name="connsiteX40" fmla="*/ 2711 w 10000"/>
                <a:gd name="connsiteY40" fmla="*/ 9629 h 10018"/>
                <a:gd name="connsiteX41" fmla="*/ 2979 w 10000"/>
                <a:gd name="connsiteY41" fmla="*/ 9527 h 10018"/>
                <a:gd name="connsiteX42" fmla="*/ 3757 w 10000"/>
                <a:gd name="connsiteY42" fmla="*/ 9508 h 10018"/>
                <a:gd name="connsiteX43" fmla="*/ 3863 w 10000"/>
                <a:gd name="connsiteY43" fmla="*/ 9778 h 10018"/>
                <a:gd name="connsiteX44" fmla="*/ 4219 w 10000"/>
                <a:gd name="connsiteY44" fmla="*/ 9620 h 10018"/>
                <a:gd name="connsiteX45" fmla="*/ 4373 w 10000"/>
                <a:gd name="connsiteY45" fmla="*/ 9293 h 10018"/>
                <a:gd name="connsiteX46" fmla="*/ 5064 w 10000"/>
                <a:gd name="connsiteY46" fmla="*/ 9311 h 10018"/>
                <a:gd name="connsiteX47" fmla="*/ 5457 w 10000"/>
                <a:gd name="connsiteY47" fmla="*/ 8984 h 10018"/>
                <a:gd name="connsiteX48" fmla="*/ 5884 w 10000"/>
                <a:gd name="connsiteY48" fmla="*/ 8740 h 10018"/>
                <a:gd name="connsiteX49" fmla="*/ 6040 w 10000"/>
                <a:gd name="connsiteY49" fmla="*/ 8368 h 10018"/>
                <a:gd name="connsiteX50" fmla="*/ 6382 w 10000"/>
                <a:gd name="connsiteY50" fmla="*/ 7982 h 10018"/>
                <a:gd name="connsiteX51" fmla="*/ 6428 w 10000"/>
                <a:gd name="connsiteY51" fmla="*/ 8181 h 10018"/>
                <a:gd name="connsiteX52" fmla="*/ 6444 w 10000"/>
                <a:gd name="connsiteY52" fmla="*/ 8428 h 10018"/>
                <a:gd name="connsiteX53" fmla="*/ 6766 w 10000"/>
                <a:gd name="connsiteY53" fmla="*/ 9268 h 10018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09 w 10000"/>
                <a:gd name="connsiteY40" fmla="*/ 9601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517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629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11 w 10000"/>
                <a:gd name="connsiteY41" fmla="*/ 9853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76 w 10000"/>
                <a:gd name="connsiteY40" fmla="*/ 9452 h 10015"/>
                <a:gd name="connsiteX41" fmla="*/ 2721 w 10000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5"/>
                <a:gd name="connsiteX1" fmla="*/ 7446 w 10000"/>
                <a:gd name="connsiteY1" fmla="*/ 8978 h 10015"/>
                <a:gd name="connsiteX2" fmla="*/ 7821 w 10000"/>
                <a:gd name="connsiteY2" fmla="*/ 8978 h 10015"/>
                <a:gd name="connsiteX3" fmla="*/ 8047 w 10000"/>
                <a:gd name="connsiteY3" fmla="*/ 8029 h 10015"/>
                <a:gd name="connsiteX4" fmla="*/ 8648 w 10000"/>
                <a:gd name="connsiteY4" fmla="*/ 7444 h 10015"/>
                <a:gd name="connsiteX5" fmla="*/ 8873 w 10000"/>
                <a:gd name="connsiteY5" fmla="*/ 6351 h 10015"/>
                <a:gd name="connsiteX6" fmla="*/ 8722 w 10000"/>
                <a:gd name="connsiteY6" fmla="*/ 5768 h 10015"/>
                <a:gd name="connsiteX7" fmla="*/ 9098 w 10000"/>
                <a:gd name="connsiteY7" fmla="*/ 4525 h 10015"/>
                <a:gd name="connsiteX8" fmla="*/ 9399 w 10000"/>
                <a:gd name="connsiteY8" fmla="*/ 4160 h 10015"/>
                <a:gd name="connsiteX9" fmla="*/ 10000 w 10000"/>
                <a:gd name="connsiteY9" fmla="*/ 3576 h 10015"/>
                <a:gd name="connsiteX10" fmla="*/ 9774 w 10000"/>
                <a:gd name="connsiteY10" fmla="*/ 3502 h 10015"/>
                <a:gd name="connsiteX11" fmla="*/ 9399 w 10000"/>
                <a:gd name="connsiteY11" fmla="*/ 3140 h 10015"/>
                <a:gd name="connsiteX12" fmla="*/ 9173 w 10000"/>
                <a:gd name="connsiteY12" fmla="*/ 2044 h 10015"/>
                <a:gd name="connsiteX13" fmla="*/ 9173 w 10000"/>
                <a:gd name="connsiteY13" fmla="*/ 1460 h 10015"/>
                <a:gd name="connsiteX14" fmla="*/ 9098 w 10000"/>
                <a:gd name="connsiteY14" fmla="*/ 729 h 10015"/>
                <a:gd name="connsiteX15" fmla="*/ 8873 w 10000"/>
                <a:gd name="connsiteY15" fmla="*/ 511 h 10015"/>
                <a:gd name="connsiteX16" fmla="*/ 8497 w 10000"/>
                <a:gd name="connsiteY16" fmla="*/ 219 h 10015"/>
                <a:gd name="connsiteX17" fmla="*/ 8272 w 10000"/>
                <a:gd name="connsiteY17" fmla="*/ 0 h 10015"/>
                <a:gd name="connsiteX18" fmla="*/ 7821 w 10000"/>
                <a:gd name="connsiteY18" fmla="*/ 293 h 10015"/>
                <a:gd name="connsiteX19" fmla="*/ 7370 w 10000"/>
                <a:gd name="connsiteY19" fmla="*/ 729 h 10015"/>
                <a:gd name="connsiteX20" fmla="*/ 6769 w 10000"/>
                <a:gd name="connsiteY20" fmla="*/ 729 h 10015"/>
                <a:gd name="connsiteX21" fmla="*/ 5717 w 10000"/>
                <a:gd name="connsiteY21" fmla="*/ 729 h 10015"/>
                <a:gd name="connsiteX22" fmla="*/ 5717 w 10000"/>
                <a:gd name="connsiteY22" fmla="*/ 658 h 10015"/>
                <a:gd name="connsiteX23" fmla="*/ 5643 w 10000"/>
                <a:gd name="connsiteY23" fmla="*/ 729 h 10015"/>
                <a:gd name="connsiteX24" fmla="*/ 1961 w 10000"/>
                <a:gd name="connsiteY24" fmla="*/ 729 h 10015"/>
                <a:gd name="connsiteX25" fmla="*/ 1961 w 10000"/>
                <a:gd name="connsiteY25" fmla="*/ 2263 h 10015"/>
                <a:gd name="connsiteX26" fmla="*/ 1285 w 10000"/>
                <a:gd name="connsiteY26" fmla="*/ 2263 h 10015"/>
                <a:gd name="connsiteX27" fmla="*/ 1285 w 10000"/>
                <a:gd name="connsiteY27" fmla="*/ 2556 h 10015"/>
                <a:gd name="connsiteX28" fmla="*/ 1285 w 10000"/>
                <a:gd name="connsiteY28" fmla="*/ 5179 h 10015"/>
                <a:gd name="connsiteX29" fmla="*/ 1135 w 10000"/>
                <a:gd name="connsiteY29" fmla="*/ 5327 h 10015"/>
                <a:gd name="connsiteX30" fmla="*/ 684 w 10000"/>
                <a:gd name="connsiteY30" fmla="*/ 5621 h 10015"/>
                <a:gd name="connsiteX31" fmla="*/ 609 w 10000"/>
                <a:gd name="connsiteY31" fmla="*/ 5986 h 10015"/>
                <a:gd name="connsiteX32" fmla="*/ 384 w 10000"/>
                <a:gd name="connsiteY32" fmla="*/ 6351 h 10015"/>
                <a:gd name="connsiteX33" fmla="*/ 234 w 10000"/>
                <a:gd name="connsiteY33" fmla="*/ 6935 h 10015"/>
                <a:gd name="connsiteX34" fmla="*/ 8 w 10000"/>
                <a:gd name="connsiteY34" fmla="*/ 7593 h 10015"/>
                <a:gd name="connsiteX35" fmla="*/ 384 w 10000"/>
                <a:gd name="connsiteY35" fmla="*/ 7664 h 10015"/>
                <a:gd name="connsiteX36" fmla="*/ 458 w 10000"/>
                <a:gd name="connsiteY36" fmla="*/ 8245 h 10015"/>
                <a:gd name="connsiteX37" fmla="*/ 684 w 10000"/>
                <a:gd name="connsiteY37" fmla="*/ 8831 h 10015"/>
                <a:gd name="connsiteX38" fmla="*/ 1059 w 10000"/>
                <a:gd name="connsiteY38" fmla="*/ 10000 h 10015"/>
                <a:gd name="connsiteX39" fmla="*/ 2461 w 10000"/>
                <a:gd name="connsiteY39" fmla="*/ 9330 h 10015"/>
                <a:gd name="connsiteX40" fmla="*/ 2566 w 10000"/>
                <a:gd name="connsiteY40" fmla="*/ 9433 h 10015"/>
                <a:gd name="connsiteX41" fmla="*/ 2721 w 10000"/>
                <a:gd name="connsiteY41" fmla="*/ 9592 h 10015"/>
                <a:gd name="connsiteX42" fmla="*/ 2979 w 10000"/>
                <a:gd name="connsiteY42" fmla="*/ 9527 h 10015"/>
                <a:gd name="connsiteX43" fmla="*/ 3757 w 10000"/>
                <a:gd name="connsiteY43" fmla="*/ 9508 h 10015"/>
                <a:gd name="connsiteX44" fmla="*/ 3863 w 10000"/>
                <a:gd name="connsiteY44" fmla="*/ 9778 h 10015"/>
                <a:gd name="connsiteX45" fmla="*/ 4219 w 10000"/>
                <a:gd name="connsiteY45" fmla="*/ 9620 h 10015"/>
                <a:gd name="connsiteX46" fmla="*/ 4373 w 10000"/>
                <a:gd name="connsiteY46" fmla="*/ 9293 h 10015"/>
                <a:gd name="connsiteX47" fmla="*/ 5064 w 10000"/>
                <a:gd name="connsiteY47" fmla="*/ 9311 h 10015"/>
                <a:gd name="connsiteX48" fmla="*/ 5457 w 10000"/>
                <a:gd name="connsiteY48" fmla="*/ 8984 h 10015"/>
                <a:gd name="connsiteX49" fmla="*/ 5884 w 10000"/>
                <a:gd name="connsiteY49" fmla="*/ 8740 h 10015"/>
                <a:gd name="connsiteX50" fmla="*/ 6040 w 10000"/>
                <a:gd name="connsiteY50" fmla="*/ 8368 h 10015"/>
                <a:gd name="connsiteX51" fmla="*/ 6382 w 10000"/>
                <a:gd name="connsiteY51" fmla="*/ 7982 h 10015"/>
                <a:gd name="connsiteX52" fmla="*/ 6428 w 10000"/>
                <a:gd name="connsiteY52" fmla="*/ 8181 h 10015"/>
                <a:gd name="connsiteX53" fmla="*/ 6444 w 10000"/>
                <a:gd name="connsiteY53" fmla="*/ 8428 h 10015"/>
                <a:gd name="connsiteX54" fmla="*/ 6766 w 10000"/>
                <a:gd name="connsiteY54" fmla="*/ 9268 h 10015"/>
                <a:gd name="connsiteX0" fmla="*/ 7446 w 10000"/>
                <a:gd name="connsiteY0" fmla="*/ 9488 h 10014"/>
                <a:gd name="connsiteX1" fmla="*/ 7446 w 10000"/>
                <a:gd name="connsiteY1" fmla="*/ 8978 h 10014"/>
                <a:gd name="connsiteX2" fmla="*/ 7821 w 10000"/>
                <a:gd name="connsiteY2" fmla="*/ 8978 h 10014"/>
                <a:gd name="connsiteX3" fmla="*/ 8047 w 10000"/>
                <a:gd name="connsiteY3" fmla="*/ 8029 h 10014"/>
                <a:gd name="connsiteX4" fmla="*/ 8648 w 10000"/>
                <a:gd name="connsiteY4" fmla="*/ 7444 h 10014"/>
                <a:gd name="connsiteX5" fmla="*/ 8873 w 10000"/>
                <a:gd name="connsiteY5" fmla="*/ 6351 h 10014"/>
                <a:gd name="connsiteX6" fmla="*/ 8722 w 10000"/>
                <a:gd name="connsiteY6" fmla="*/ 5768 h 10014"/>
                <a:gd name="connsiteX7" fmla="*/ 9098 w 10000"/>
                <a:gd name="connsiteY7" fmla="*/ 4525 h 10014"/>
                <a:gd name="connsiteX8" fmla="*/ 9399 w 10000"/>
                <a:gd name="connsiteY8" fmla="*/ 4160 h 10014"/>
                <a:gd name="connsiteX9" fmla="*/ 10000 w 10000"/>
                <a:gd name="connsiteY9" fmla="*/ 3576 h 10014"/>
                <a:gd name="connsiteX10" fmla="*/ 9774 w 10000"/>
                <a:gd name="connsiteY10" fmla="*/ 3502 h 10014"/>
                <a:gd name="connsiteX11" fmla="*/ 9399 w 10000"/>
                <a:gd name="connsiteY11" fmla="*/ 3140 h 10014"/>
                <a:gd name="connsiteX12" fmla="*/ 9173 w 10000"/>
                <a:gd name="connsiteY12" fmla="*/ 2044 h 10014"/>
                <a:gd name="connsiteX13" fmla="*/ 9173 w 10000"/>
                <a:gd name="connsiteY13" fmla="*/ 1460 h 10014"/>
                <a:gd name="connsiteX14" fmla="*/ 9098 w 10000"/>
                <a:gd name="connsiteY14" fmla="*/ 729 h 10014"/>
                <a:gd name="connsiteX15" fmla="*/ 8873 w 10000"/>
                <a:gd name="connsiteY15" fmla="*/ 511 h 10014"/>
                <a:gd name="connsiteX16" fmla="*/ 8497 w 10000"/>
                <a:gd name="connsiteY16" fmla="*/ 219 h 10014"/>
                <a:gd name="connsiteX17" fmla="*/ 8272 w 10000"/>
                <a:gd name="connsiteY17" fmla="*/ 0 h 10014"/>
                <a:gd name="connsiteX18" fmla="*/ 7821 w 10000"/>
                <a:gd name="connsiteY18" fmla="*/ 293 h 10014"/>
                <a:gd name="connsiteX19" fmla="*/ 7370 w 10000"/>
                <a:gd name="connsiteY19" fmla="*/ 729 h 10014"/>
                <a:gd name="connsiteX20" fmla="*/ 6769 w 10000"/>
                <a:gd name="connsiteY20" fmla="*/ 729 h 10014"/>
                <a:gd name="connsiteX21" fmla="*/ 5717 w 10000"/>
                <a:gd name="connsiteY21" fmla="*/ 729 h 10014"/>
                <a:gd name="connsiteX22" fmla="*/ 5717 w 10000"/>
                <a:gd name="connsiteY22" fmla="*/ 658 h 10014"/>
                <a:gd name="connsiteX23" fmla="*/ 5643 w 10000"/>
                <a:gd name="connsiteY23" fmla="*/ 729 h 10014"/>
                <a:gd name="connsiteX24" fmla="*/ 1961 w 10000"/>
                <a:gd name="connsiteY24" fmla="*/ 729 h 10014"/>
                <a:gd name="connsiteX25" fmla="*/ 1961 w 10000"/>
                <a:gd name="connsiteY25" fmla="*/ 2263 h 10014"/>
                <a:gd name="connsiteX26" fmla="*/ 1285 w 10000"/>
                <a:gd name="connsiteY26" fmla="*/ 2263 h 10014"/>
                <a:gd name="connsiteX27" fmla="*/ 1285 w 10000"/>
                <a:gd name="connsiteY27" fmla="*/ 2556 h 10014"/>
                <a:gd name="connsiteX28" fmla="*/ 1285 w 10000"/>
                <a:gd name="connsiteY28" fmla="*/ 5179 h 10014"/>
                <a:gd name="connsiteX29" fmla="*/ 1135 w 10000"/>
                <a:gd name="connsiteY29" fmla="*/ 5327 h 10014"/>
                <a:gd name="connsiteX30" fmla="*/ 684 w 10000"/>
                <a:gd name="connsiteY30" fmla="*/ 5621 h 10014"/>
                <a:gd name="connsiteX31" fmla="*/ 609 w 10000"/>
                <a:gd name="connsiteY31" fmla="*/ 5986 h 10014"/>
                <a:gd name="connsiteX32" fmla="*/ 384 w 10000"/>
                <a:gd name="connsiteY32" fmla="*/ 6351 h 10014"/>
                <a:gd name="connsiteX33" fmla="*/ 234 w 10000"/>
                <a:gd name="connsiteY33" fmla="*/ 6935 h 10014"/>
                <a:gd name="connsiteX34" fmla="*/ 8 w 10000"/>
                <a:gd name="connsiteY34" fmla="*/ 7593 h 10014"/>
                <a:gd name="connsiteX35" fmla="*/ 384 w 10000"/>
                <a:gd name="connsiteY35" fmla="*/ 7664 h 10014"/>
                <a:gd name="connsiteX36" fmla="*/ 458 w 10000"/>
                <a:gd name="connsiteY36" fmla="*/ 8245 h 10014"/>
                <a:gd name="connsiteX37" fmla="*/ 684 w 10000"/>
                <a:gd name="connsiteY37" fmla="*/ 8831 h 10014"/>
                <a:gd name="connsiteX38" fmla="*/ 1059 w 10000"/>
                <a:gd name="connsiteY38" fmla="*/ 10000 h 10014"/>
                <a:gd name="connsiteX39" fmla="*/ 2394 w 10000"/>
                <a:gd name="connsiteY39" fmla="*/ 9237 h 10014"/>
                <a:gd name="connsiteX40" fmla="*/ 2566 w 10000"/>
                <a:gd name="connsiteY40" fmla="*/ 9433 h 10014"/>
                <a:gd name="connsiteX41" fmla="*/ 2721 w 10000"/>
                <a:gd name="connsiteY41" fmla="*/ 9592 h 10014"/>
                <a:gd name="connsiteX42" fmla="*/ 2979 w 10000"/>
                <a:gd name="connsiteY42" fmla="*/ 9527 h 10014"/>
                <a:gd name="connsiteX43" fmla="*/ 3757 w 10000"/>
                <a:gd name="connsiteY43" fmla="*/ 9508 h 10014"/>
                <a:gd name="connsiteX44" fmla="*/ 3863 w 10000"/>
                <a:gd name="connsiteY44" fmla="*/ 9778 h 10014"/>
                <a:gd name="connsiteX45" fmla="*/ 4219 w 10000"/>
                <a:gd name="connsiteY45" fmla="*/ 9620 h 10014"/>
                <a:gd name="connsiteX46" fmla="*/ 4373 w 10000"/>
                <a:gd name="connsiteY46" fmla="*/ 9293 h 10014"/>
                <a:gd name="connsiteX47" fmla="*/ 5064 w 10000"/>
                <a:gd name="connsiteY47" fmla="*/ 9311 h 10014"/>
                <a:gd name="connsiteX48" fmla="*/ 5457 w 10000"/>
                <a:gd name="connsiteY48" fmla="*/ 8984 h 10014"/>
                <a:gd name="connsiteX49" fmla="*/ 5884 w 10000"/>
                <a:gd name="connsiteY49" fmla="*/ 8740 h 10014"/>
                <a:gd name="connsiteX50" fmla="*/ 6040 w 10000"/>
                <a:gd name="connsiteY50" fmla="*/ 8368 h 10014"/>
                <a:gd name="connsiteX51" fmla="*/ 6382 w 10000"/>
                <a:gd name="connsiteY51" fmla="*/ 7982 h 10014"/>
                <a:gd name="connsiteX52" fmla="*/ 6428 w 10000"/>
                <a:gd name="connsiteY52" fmla="*/ 8181 h 10014"/>
                <a:gd name="connsiteX53" fmla="*/ 6444 w 10000"/>
                <a:gd name="connsiteY53" fmla="*/ 8428 h 10014"/>
                <a:gd name="connsiteX54" fmla="*/ 6766 w 10000"/>
                <a:gd name="connsiteY54" fmla="*/ 9268 h 10014"/>
                <a:gd name="connsiteX0" fmla="*/ 7446 w 10000"/>
                <a:gd name="connsiteY0" fmla="*/ 9488 h 10009"/>
                <a:gd name="connsiteX1" fmla="*/ 7446 w 10000"/>
                <a:gd name="connsiteY1" fmla="*/ 8978 h 10009"/>
                <a:gd name="connsiteX2" fmla="*/ 7821 w 10000"/>
                <a:gd name="connsiteY2" fmla="*/ 8978 h 10009"/>
                <a:gd name="connsiteX3" fmla="*/ 8047 w 10000"/>
                <a:gd name="connsiteY3" fmla="*/ 8029 h 10009"/>
                <a:gd name="connsiteX4" fmla="*/ 8648 w 10000"/>
                <a:gd name="connsiteY4" fmla="*/ 7444 h 10009"/>
                <a:gd name="connsiteX5" fmla="*/ 8873 w 10000"/>
                <a:gd name="connsiteY5" fmla="*/ 6351 h 10009"/>
                <a:gd name="connsiteX6" fmla="*/ 8722 w 10000"/>
                <a:gd name="connsiteY6" fmla="*/ 5768 h 10009"/>
                <a:gd name="connsiteX7" fmla="*/ 9098 w 10000"/>
                <a:gd name="connsiteY7" fmla="*/ 4525 h 10009"/>
                <a:gd name="connsiteX8" fmla="*/ 9399 w 10000"/>
                <a:gd name="connsiteY8" fmla="*/ 4160 h 10009"/>
                <a:gd name="connsiteX9" fmla="*/ 10000 w 10000"/>
                <a:gd name="connsiteY9" fmla="*/ 3576 h 10009"/>
                <a:gd name="connsiteX10" fmla="*/ 9774 w 10000"/>
                <a:gd name="connsiteY10" fmla="*/ 3502 h 10009"/>
                <a:gd name="connsiteX11" fmla="*/ 9399 w 10000"/>
                <a:gd name="connsiteY11" fmla="*/ 3140 h 10009"/>
                <a:gd name="connsiteX12" fmla="*/ 9173 w 10000"/>
                <a:gd name="connsiteY12" fmla="*/ 2044 h 10009"/>
                <a:gd name="connsiteX13" fmla="*/ 9173 w 10000"/>
                <a:gd name="connsiteY13" fmla="*/ 1460 h 10009"/>
                <a:gd name="connsiteX14" fmla="*/ 9098 w 10000"/>
                <a:gd name="connsiteY14" fmla="*/ 729 h 10009"/>
                <a:gd name="connsiteX15" fmla="*/ 8873 w 10000"/>
                <a:gd name="connsiteY15" fmla="*/ 511 h 10009"/>
                <a:gd name="connsiteX16" fmla="*/ 8497 w 10000"/>
                <a:gd name="connsiteY16" fmla="*/ 219 h 10009"/>
                <a:gd name="connsiteX17" fmla="*/ 8272 w 10000"/>
                <a:gd name="connsiteY17" fmla="*/ 0 h 10009"/>
                <a:gd name="connsiteX18" fmla="*/ 7821 w 10000"/>
                <a:gd name="connsiteY18" fmla="*/ 293 h 10009"/>
                <a:gd name="connsiteX19" fmla="*/ 7370 w 10000"/>
                <a:gd name="connsiteY19" fmla="*/ 729 h 10009"/>
                <a:gd name="connsiteX20" fmla="*/ 6769 w 10000"/>
                <a:gd name="connsiteY20" fmla="*/ 729 h 10009"/>
                <a:gd name="connsiteX21" fmla="*/ 5717 w 10000"/>
                <a:gd name="connsiteY21" fmla="*/ 729 h 10009"/>
                <a:gd name="connsiteX22" fmla="*/ 5717 w 10000"/>
                <a:gd name="connsiteY22" fmla="*/ 658 h 10009"/>
                <a:gd name="connsiteX23" fmla="*/ 5643 w 10000"/>
                <a:gd name="connsiteY23" fmla="*/ 729 h 10009"/>
                <a:gd name="connsiteX24" fmla="*/ 1961 w 10000"/>
                <a:gd name="connsiteY24" fmla="*/ 729 h 10009"/>
                <a:gd name="connsiteX25" fmla="*/ 1961 w 10000"/>
                <a:gd name="connsiteY25" fmla="*/ 2263 h 10009"/>
                <a:gd name="connsiteX26" fmla="*/ 1285 w 10000"/>
                <a:gd name="connsiteY26" fmla="*/ 2263 h 10009"/>
                <a:gd name="connsiteX27" fmla="*/ 1285 w 10000"/>
                <a:gd name="connsiteY27" fmla="*/ 2556 h 10009"/>
                <a:gd name="connsiteX28" fmla="*/ 1285 w 10000"/>
                <a:gd name="connsiteY28" fmla="*/ 5179 h 10009"/>
                <a:gd name="connsiteX29" fmla="*/ 1135 w 10000"/>
                <a:gd name="connsiteY29" fmla="*/ 5327 h 10009"/>
                <a:gd name="connsiteX30" fmla="*/ 684 w 10000"/>
                <a:gd name="connsiteY30" fmla="*/ 5621 h 10009"/>
                <a:gd name="connsiteX31" fmla="*/ 609 w 10000"/>
                <a:gd name="connsiteY31" fmla="*/ 5986 h 10009"/>
                <a:gd name="connsiteX32" fmla="*/ 384 w 10000"/>
                <a:gd name="connsiteY32" fmla="*/ 6351 h 10009"/>
                <a:gd name="connsiteX33" fmla="*/ 234 w 10000"/>
                <a:gd name="connsiteY33" fmla="*/ 6935 h 10009"/>
                <a:gd name="connsiteX34" fmla="*/ 8 w 10000"/>
                <a:gd name="connsiteY34" fmla="*/ 7593 h 10009"/>
                <a:gd name="connsiteX35" fmla="*/ 384 w 10000"/>
                <a:gd name="connsiteY35" fmla="*/ 7664 h 10009"/>
                <a:gd name="connsiteX36" fmla="*/ 458 w 10000"/>
                <a:gd name="connsiteY36" fmla="*/ 8245 h 10009"/>
                <a:gd name="connsiteX37" fmla="*/ 684 w 10000"/>
                <a:gd name="connsiteY37" fmla="*/ 8831 h 10009"/>
                <a:gd name="connsiteX38" fmla="*/ 1059 w 10000"/>
                <a:gd name="connsiteY38" fmla="*/ 10000 h 10009"/>
                <a:gd name="connsiteX39" fmla="*/ 2394 w 10000"/>
                <a:gd name="connsiteY39" fmla="*/ 9237 h 10009"/>
                <a:gd name="connsiteX40" fmla="*/ 2566 w 10000"/>
                <a:gd name="connsiteY40" fmla="*/ 9433 h 10009"/>
                <a:gd name="connsiteX41" fmla="*/ 2721 w 10000"/>
                <a:gd name="connsiteY41" fmla="*/ 9592 h 10009"/>
                <a:gd name="connsiteX42" fmla="*/ 2979 w 10000"/>
                <a:gd name="connsiteY42" fmla="*/ 9527 h 10009"/>
                <a:gd name="connsiteX43" fmla="*/ 3757 w 10000"/>
                <a:gd name="connsiteY43" fmla="*/ 9508 h 10009"/>
                <a:gd name="connsiteX44" fmla="*/ 3863 w 10000"/>
                <a:gd name="connsiteY44" fmla="*/ 9778 h 10009"/>
                <a:gd name="connsiteX45" fmla="*/ 4219 w 10000"/>
                <a:gd name="connsiteY45" fmla="*/ 9620 h 10009"/>
                <a:gd name="connsiteX46" fmla="*/ 4373 w 10000"/>
                <a:gd name="connsiteY46" fmla="*/ 9293 h 10009"/>
                <a:gd name="connsiteX47" fmla="*/ 5064 w 10000"/>
                <a:gd name="connsiteY47" fmla="*/ 9311 h 10009"/>
                <a:gd name="connsiteX48" fmla="*/ 5457 w 10000"/>
                <a:gd name="connsiteY48" fmla="*/ 8984 h 10009"/>
                <a:gd name="connsiteX49" fmla="*/ 5884 w 10000"/>
                <a:gd name="connsiteY49" fmla="*/ 8740 h 10009"/>
                <a:gd name="connsiteX50" fmla="*/ 6040 w 10000"/>
                <a:gd name="connsiteY50" fmla="*/ 8368 h 10009"/>
                <a:gd name="connsiteX51" fmla="*/ 6382 w 10000"/>
                <a:gd name="connsiteY51" fmla="*/ 7982 h 10009"/>
                <a:gd name="connsiteX52" fmla="*/ 6428 w 10000"/>
                <a:gd name="connsiteY52" fmla="*/ 8181 h 10009"/>
                <a:gd name="connsiteX53" fmla="*/ 6444 w 10000"/>
                <a:gd name="connsiteY53" fmla="*/ 8428 h 10009"/>
                <a:gd name="connsiteX54" fmla="*/ 6766 w 10000"/>
                <a:gd name="connsiteY54" fmla="*/ 9268 h 10009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721 w 10000"/>
                <a:gd name="connsiteY41" fmla="*/ 9592 h 10008"/>
                <a:gd name="connsiteX42" fmla="*/ 2979 w 10000"/>
                <a:gd name="connsiteY42" fmla="*/ 9527 h 10008"/>
                <a:gd name="connsiteX43" fmla="*/ 3757 w 10000"/>
                <a:gd name="connsiteY43" fmla="*/ 9508 h 10008"/>
                <a:gd name="connsiteX44" fmla="*/ 3863 w 10000"/>
                <a:gd name="connsiteY44" fmla="*/ 9778 h 10008"/>
                <a:gd name="connsiteX45" fmla="*/ 4219 w 10000"/>
                <a:gd name="connsiteY45" fmla="*/ 9620 h 10008"/>
                <a:gd name="connsiteX46" fmla="*/ 4373 w 10000"/>
                <a:gd name="connsiteY46" fmla="*/ 9293 h 10008"/>
                <a:gd name="connsiteX47" fmla="*/ 5064 w 10000"/>
                <a:gd name="connsiteY47" fmla="*/ 9311 h 10008"/>
                <a:gd name="connsiteX48" fmla="*/ 5457 w 10000"/>
                <a:gd name="connsiteY48" fmla="*/ 8984 h 10008"/>
                <a:gd name="connsiteX49" fmla="*/ 5884 w 10000"/>
                <a:gd name="connsiteY49" fmla="*/ 8740 h 10008"/>
                <a:gd name="connsiteX50" fmla="*/ 6040 w 10000"/>
                <a:gd name="connsiteY50" fmla="*/ 8368 h 10008"/>
                <a:gd name="connsiteX51" fmla="*/ 6382 w 10000"/>
                <a:gd name="connsiteY51" fmla="*/ 7982 h 10008"/>
                <a:gd name="connsiteX52" fmla="*/ 6428 w 10000"/>
                <a:gd name="connsiteY52" fmla="*/ 8181 h 10008"/>
                <a:gd name="connsiteX53" fmla="*/ 6444 w 10000"/>
                <a:gd name="connsiteY53" fmla="*/ 8428 h 10008"/>
                <a:gd name="connsiteX54" fmla="*/ 6766 w 10000"/>
                <a:gd name="connsiteY54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2413 w 10000"/>
                <a:gd name="connsiteY39" fmla="*/ 920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08"/>
                <a:gd name="connsiteX1" fmla="*/ 7446 w 10000"/>
                <a:gd name="connsiteY1" fmla="*/ 8978 h 10008"/>
                <a:gd name="connsiteX2" fmla="*/ 7821 w 10000"/>
                <a:gd name="connsiteY2" fmla="*/ 8978 h 10008"/>
                <a:gd name="connsiteX3" fmla="*/ 8047 w 10000"/>
                <a:gd name="connsiteY3" fmla="*/ 8029 h 10008"/>
                <a:gd name="connsiteX4" fmla="*/ 8648 w 10000"/>
                <a:gd name="connsiteY4" fmla="*/ 7444 h 10008"/>
                <a:gd name="connsiteX5" fmla="*/ 8873 w 10000"/>
                <a:gd name="connsiteY5" fmla="*/ 6351 h 10008"/>
                <a:gd name="connsiteX6" fmla="*/ 8722 w 10000"/>
                <a:gd name="connsiteY6" fmla="*/ 5768 h 10008"/>
                <a:gd name="connsiteX7" fmla="*/ 9098 w 10000"/>
                <a:gd name="connsiteY7" fmla="*/ 4525 h 10008"/>
                <a:gd name="connsiteX8" fmla="*/ 9399 w 10000"/>
                <a:gd name="connsiteY8" fmla="*/ 4160 h 10008"/>
                <a:gd name="connsiteX9" fmla="*/ 10000 w 10000"/>
                <a:gd name="connsiteY9" fmla="*/ 3576 h 10008"/>
                <a:gd name="connsiteX10" fmla="*/ 9774 w 10000"/>
                <a:gd name="connsiteY10" fmla="*/ 3502 h 10008"/>
                <a:gd name="connsiteX11" fmla="*/ 9399 w 10000"/>
                <a:gd name="connsiteY11" fmla="*/ 3140 h 10008"/>
                <a:gd name="connsiteX12" fmla="*/ 9173 w 10000"/>
                <a:gd name="connsiteY12" fmla="*/ 2044 h 10008"/>
                <a:gd name="connsiteX13" fmla="*/ 9173 w 10000"/>
                <a:gd name="connsiteY13" fmla="*/ 1460 h 10008"/>
                <a:gd name="connsiteX14" fmla="*/ 9098 w 10000"/>
                <a:gd name="connsiteY14" fmla="*/ 729 h 10008"/>
                <a:gd name="connsiteX15" fmla="*/ 8873 w 10000"/>
                <a:gd name="connsiteY15" fmla="*/ 511 h 10008"/>
                <a:gd name="connsiteX16" fmla="*/ 8497 w 10000"/>
                <a:gd name="connsiteY16" fmla="*/ 219 h 10008"/>
                <a:gd name="connsiteX17" fmla="*/ 8272 w 10000"/>
                <a:gd name="connsiteY17" fmla="*/ 0 h 10008"/>
                <a:gd name="connsiteX18" fmla="*/ 7821 w 10000"/>
                <a:gd name="connsiteY18" fmla="*/ 293 h 10008"/>
                <a:gd name="connsiteX19" fmla="*/ 7370 w 10000"/>
                <a:gd name="connsiteY19" fmla="*/ 729 h 10008"/>
                <a:gd name="connsiteX20" fmla="*/ 6769 w 10000"/>
                <a:gd name="connsiteY20" fmla="*/ 729 h 10008"/>
                <a:gd name="connsiteX21" fmla="*/ 5717 w 10000"/>
                <a:gd name="connsiteY21" fmla="*/ 729 h 10008"/>
                <a:gd name="connsiteX22" fmla="*/ 5717 w 10000"/>
                <a:gd name="connsiteY22" fmla="*/ 658 h 10008"/>
                <a:gd name="connsiteX23" fmla="*/ 5643 w 10000"/>
                <a:gd name="connsiteY23" fmla="*/ 729 h 10008"/>
                <a:gd name="connsiteX24" fmla="*/ 1961 w 10000"/>
                <a:gd name="connsiteY24" fmla="*/ 729 h 10008"/>
                <a:gd name="connsiteX25" fmla="*/ 1961 w 10000"/>
                <a:gd name="connsiteY25" fmla="*/ 2263 h 10008"/>
                <a:gd name="connsiteX26" fmla="*/ 1285 w 10000"/>
                <a:gd name="connsiteY26" fmla="*/ 2263 h 10008"/>
                <a:gd name="connsiteX27" fmla="*/ 1285 w 10000"/>
                <a:gd name="connsiteY27" fmla="*/ 2556 h 10008"/>
                <a:gd name="connsiteX28" fmla="*/ 1285 w 10000"/>
                <a:gd name="connsiteY28" fmla="*/ 5179 h 10008"/>
                <a:gd name="connsiteX29" fmla="*/ 1135 w 10000"/>
                <a:gd name="connsiteY29" fmla="*/ 5327 h 10008"/>
                <a:gd name="connsiteX30" fmla="*/ 684 w 10000"/>
                <a:gd name="connsiteY30" fmla="*/ 5621 h 10008"/>
                <a:gd name="connsiteX31" fmla="*/ 609 w 10000"/>
                <a:gd name="connsiteY31" fmla="*/ 5986 h 10008"/>
                <a:gd name="connsiteX32" fmla="*/ 384 w 10000"/>
                <a:gd name="connsiteY32" fmla="*/ 6351 h 10008"/>
                <a:gd name="connsiteX33" fmla="*/ 234 w 10000"/>
                <a:gd name="connsiteY33" fmla="*/ 6935 h 10008"/>
                <a:gd name="connsiteX34" fmla="*/ 8 w 10000"/>
                <a:gd name="connsiteY34" fmla="*/ 7593 h 10008"/>
                <a:gd name="connsiteX35" fmla="*/ 384 w 10000"/>
                <a:gd name="connsiteY35" fmla="*/ 7664 h 10008"/>
                <a:gd name="connsiteX36" fmla="*/ 458 w 10000"/>
                <a:gd name="connsiteY36" fmla="*/ 8245 h 10008"/>
                <a:gd name="connsiteX37" fmla="*/ 684 w 10000"/>
                <a:gd name="connsiteY37" fmla="*/ 8831 h 10008"/>
                <a:gd name="connsiteX38" fmla="*/ 1059 w 10000"/>
                <a:gd name="connsiteY38" fmla="*/ 10000 h 10008"/>
                <a:gd name="connsiteX39" fmla="*/ 1817 w 10000"/>
                <a:gd name="connsiteY39" fmla="*/ 9069 h 10008"/>
                <a:gd name="connsiteX40" fmla="*/ 2566 w 10000"/>
                <a:gd name="connsiteY40" fmla="*/ 9433 h 10008"/>
                <a:gd name="connsiteX41" fmla="*/ 2605 w 10000"/>
                <a:gd name="connsiteY41" fmla="*/ 9461 h 10008"/>
                <a:gd name="connsiteX42" fmla="*/ 2721 w 10000"/>
                <a:gd name="connsiteY42" fmla="*/ 9592 h 10008"/>
                <a:gd name="connsiteX43" fmla="*/ 2979 w 10000"/>
                <a:gd name="connsiteY43" fmla="*/ 9527 h 10008"/>
                <a:gd name="connsiteX44" fmla="*/ 3757 w 10000"/>
                <a:gd name="connsiteY44" fmla="*/ 9508 h 10008"/>
                <a:gd name="connsiteX45" fmla="*/ 3863 w 10000"/>
                <a:gd name="connsiteY45" fmla="*/ 9778 h 10008"/>
                <a:gd name="connsiteX46" fmla="*/ 4219 w 10000"/>
                <a:gd name="connsiteY46" fmla="*/ 9620 h 10008"/>
                <a:gd name="connsiteX47" fmla="*/ 4373 w 10000"/>
                <a:gd name="connsiteY47" fmla="*/ 9293 h 10008"/>
                <a:gd name="connsiteX48" fmla="*/ 5064 w 10000"/>
                <a:gd name="connsiteY48" fmla="*/ 9311 h 10008"/>
                <a:gd name="connsiteX49" fmla="*/ 5457 w 10000"/>
                <a:gd name="connsiteY49" fmla="*/ 8984 h 10008"/>
                <a:gd name="connsiteX50" fmla="*/ 5884 w 10000"/>
                <a:gd name="connsiteY50" fmla="*/ 8740 h 10008"/>
                <a:gd name="connsiteX51" fmla="*/ 6040 w 10000"/>
                <a:gd name="connsiteY51" fmla="*/ 8368 h 10008"/>
                <a:gd name="connsiteX52" fmla="*/ 6382 w 10000"/>
                <a:gd name="connsiteY52" fmla="*/ 7982 h 10008"/>
                <a:gd name="connsiteX53" fmla="*/ 6428 w 10000"/>
                <a:gd name="connsiteY53" fmla="*/ 8181 h 10008"/>
                <a:gd name="connsiteX54" fmla="*/ 6444 w 10000"/>
                <a:gd name="connsiteY54" fmla="*/ 8428 h 10008"/>
                <a:gd name="connsiteX55" fmla="*/ 6766 w 10000"/>
                <a:gd name="connsiteY55" fmla="*/ 9268 h 10008"/>
                <a:gd name="connsiteX0" fmla="*/ 7446 w 10000"/>
                <a:gd name="connsiteY0" fmla="*/ 9488 h 10028"/>
                <a:gd name="connsiteX1" fmla="*/ 7446 w 10000"/>
                <a:gd name="connsiteY1" fmla="*/ 8978 h 10028"/>
                <a:gd name="connsiteX2" fmla="*/ 7821 w 10000"/>
                <a:gd name="connsiteY2" fmla="*/ 8978 h 10028"/>
                <a:gd name="connsiteX3" fmla="*/ 8047 w 10000"/>
                <a:gd name="connsiteY3" fmla="*/ 8029 h 10028"/>
                <a:gd name="connsiteX4" fmla="*/ 8648 w 10000"/>
                <a:gd name="connsiteY4" fmla="*/ 7444 h 10028"/>
                <a:gd name="connsiteX5" fmla="*/ 8873 w 10000"/>
                <a:gd name="connsiteY5" fmla="*/ 6351 h 10028"/>
                <a:gd name="connsiteX6" fmla="*/ 8722 w 10000"/>
                <a:gd name="connsiteY6" fmla="*/ 5768 h 10028"/>
                <a:gd name="connsiteX7" fmla="*/ 9098 w 10000"/>
                <a:gd name="connsiteY7" fmla="*/ 4525 h 10028"/>
                <a:gd name="connsiteX8" fmla="*/ 9399 w 10000"/>
                <a:gd name="connsiteY8" fmla="*/ 4160 h 10028"/>
                <a:gd name="connsiteX9" fmla="*/ 10000 w 10000"/>
                <a:gd name="connsiteY9" fmla="*/ 3576 h 10028"/>
                <a:gd name="connsiteX10" fmla="*/ 9774 w 10000"/>
                <a:gd name="connsiteY10" fmla="*/ 3502 h 10028"/>
                <a:gd name="connsiteX11" fmla="*/ 9399 w 10000"/>
                <a:gd name="connsiteY11" fmla="*/ 3140 h 10028"/>
                <a:gd name="connsiteX12" fmla="*/ 9173 w 10000"/>
                <a:gd name="connsiteY12" fmla="*/ 2044 h 10028"/>
                <a:gd name="connsiteX13" fmla="*/ 9173 w 10000"/>
                <a:gd name="connsiteY13" fmla="*/ 1460 h 10028"/>
                <a:gd name="connsiteX14" fmla="*/ 9098 w 10000"/>
                <a:gd name="connsiteY14" fmla="*/ 729 h 10028"/>
                <a:gd name="connsiteX15" fmla="*/ 8873 w 10000"/>
                <a:gd name="connsiteY15" fmla="*/ 511 h 10028"/>
                <a:gd name="connsiteX16" fmla="*/ 8497 w 10000"/>
                <a:gd name="connsiteY16" fmla="*/ 219 h 10028"/>
                <a:gd name="connsiteX17" fmla="*/ 8272 w 10000"/>
                <a:gd name="connsiteY17" fmla="*/ 0 h 10028"/>
                <a:gd name="connsiteX18" fmla="*/ 7821 w 10000"/>
                <a:gd name="connsiteY18" fmla="*/ 293 h 10028"/>
                <a:gd name="connsiteX19" fmla="*/ 7370 w 10000"/>
                <a:gd name="connsiteY19" fmla="*/ 729 h 10028"/>
                <a:gd name="connsiteX20" fmla="*/ 6769 w 10000"/>
                <a:gd name="connsiteY20" fmla="*/ 729 h 10028"/>
                <a:gd name="connsiteX21" fmla="*/ 5717 w 10000"/>
                <a:gd name="connsiteY21" fmla="*/ 729 h 10028"/>
                <a:gd name="connsiteX22" fmla="*/ 5717 w 10000"/>
                <a:gd name="connsiteY22" fmla="*/ 658 h 10028"/>
                <a:gd name="connsiteX23" fmla="*/ 5643 w 10000"/>
                <a:gd name="connsiteY23" fmla="*/ 729 h 10028"/>
                <a:gd name="connsiteX24" fmla="*/ 1961 w 10000"/>
                <a:gd name="connsiteY24" fmla="*/ 729 h 10028"/>
                <a:gd name="connsiteX25" fmla="*/ 1961 w 10000"/>
                <a:gd name="connsiteY25" fmla="*/ 2263 h 10028"/>
                <a:gd name="connsiteX26" fmla="*/ 1285 w 10000"/>
                <a:gd name="connsiteY26" fmla="*/ 2263 h 10028"/>
                <a:gd name="connsiteX27" fmla="*/ 1285 w 10000"/>
                <a:gd name="connsiteY27" fmla="*/ 2556 h 10028"/>
                <a:gd name="connsiteX28" fmla="*/ 1285 w 10000"/>
                <a:gd name="connsiteY28" fmla="*/ 5179 h 10028"/>
                <a:gd name="connsiteX29" fmla="*/ 1135 w 10000"/>
                <a:gd name="connsiteY29" fmla="*/ 5327 h 10028"/>
                <a:gd name="connsiteX30" fmla="*/ 684 w 10000"/>
                <a:gd name="connsiteY30" fmla="*/ 5621 h 10028"/>
                <a:gd name="connsiteX31" fmla="*/ 609 w 10000"/>
                <a:gd name="connsiteY31" fmla="*/ 5986 h 10028"/>
                <a:gd name="connsiteX32" fmla="*/ 384 w 10000"/>
                <a:gd name="connsiteY32" fmla="*/ 6351 h 10028"/>
                <a:gd name="connsiteX33" fmla="*/ 234 w 10000"/>
                <a:gd name="connsiteY33" fmla="*/ 6935 h 10028"/>
                <a:gd name="connsiteX34" fmla="*/ 8 w 10000"/>
                <a:gd name="connsiteY34" fmla="*/ 7593 h 10028"/>
                <a:gd name="connsiteX35" fmla="*/ 384 w 10000"/>
                <a:gd name="connsiteY35" fmla="*/ 7664 h 10028"/>
                <a:gd name="connsiteX36" fmla="*/ 458 w 10000"/>
                <a:gd name="connsiteY36" fmla="*/ 8245 h 10028"/>
                <a:gd name="connsiteX37" fmla="*/ 684 w 10000"/>
                <a:gd name="connsiteY37" fmla="*/ 8831 h 10028"/>
                <a:gd name="connsiteX38" fmla="*/ 1059 w 10000"/>
                <a:gd name="connsiteY38" fmla="*/ 10000 h 10028"/>
                <a:gd name="connsiteX39" fmla="*/ 1817 w 10000"/>
                <a:gd name="connsiteY39" fmla="*/ 9069 h 10028"/>
                <a:gd name="connsiteX40" fmla="*/ 2566 w 10000"/>
                <a:gd name="connsiteY40" fmla="*/ 9433 h 10028"/>
                <a:gd name="connsiteX41" fmla="*/ 2605 w 10000"/>
                <a:gd name="connsiteY41" fmla="*/ 9461 h 10028"/>
                <a:gd name="connsiteX42" fmla="*/ 2721 w 10000"/>
                <a:gd name="connsiteY42" fmla="*/ 9592 h 10028"/>
                <a:gd name="connsiteX43" fmla="*/ 2979 w 10000"/>
                <a:gd name="connsiteY43" fmla="*/ 9527 h 10028"/>
                <a:gd name="connsiteX44" fmla="*/ 3757 w 10000"/>
                <a:gd name="connsiteY44" fmla="*/ 9508 h 10028"/>
                <a:gd name="connsiteX45" fmla="*/ 3863 w 10000"/>
                <a:gd name="connsiteY45" fmla="*/ 9778 h 10028"/>
                <a:gd name="connsiteX46" fmla="*/ 4219 w 10000"/>
                <a:gd name="connsiteY46" fmla="*/ 9620 h 10028"/>
                <a:gd name="connsiteX47" fmla="*/ 4373 w 10000"/>
                <a:gd name="connsiteY47" fmla="*/ 9293 h 10028"/>
                <a:gd name="connsiteX48" fmla="*/ 5064 w 10000"/>
                <a:gd name="connsiteY48" fmla="*/ 9311 h 10028"/>
                <a:gd name="connsiteX49" fmla="*/ 5457 w 10000"/>
                <a:gd name="connsiteY49" fmla="*/ 8984 h 10028"/>
                <a:gd name="connsiteX50" fmla="*/ 5884 w 10000"/>
                <a:gd name="connsiteY50" fmla="*/ 8740 h 10028"/>
                <a:gd name="connsiteX51" fmla="*/ 6040 w 10000"/>
                <a:gd name="connsiteY51" fmla="*/ 8368 h 10028"/>
                <a:gd name="connsiteX52" fmla="*/ 6382 w 10000"/>
                <a:gd name="connsiteY52" fmla="*/ 7982 h 10028"/>
                <a:gd name="connsiteX53" fmla="*/ 6428 w 10000"/>
                <a:gd name="connsiteY53" fmla="*/ 8181 h 10028"/>
                <a:gd name="connsiteX54" fmla="*/ 6444 w 10000"/>
                <a:gd name="connsiteY54" fmla="*/ 8428 h 10028"/>
                <a:gd name="connsiteX55" fmla="*/ 6766 w 10000"/>
                <a:gd name="connsiteY55" fmla="*/ 9268 h 10028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817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50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702 w 10000"/>
                <a:gd name="connsiteY39" fmla="*/ 9069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87 w 10000"/>
                <a:gd name="connsiteY39" fmla="*/ 9088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97 w 10000"/>
                <a:gd name="connsiteY39" fmla="*/ 9125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1059 w 10000"/>
                <a:gd name="connsiteY38" fmla="*/ 10000 h 10000"/>
                <a:gd name="connsiteX39" fmla="*/ 1568 w 10000"/>
                <a:gd name="connsiteY39" fmla="*/ 9153 h 10000"/>
                <a:gd name="connsiteX40" fmla="*/ 2566 w 10000"/>
                <a:gd name="connsiteY40" fmla="*/ 9433 h 10000"/>
                <a:gd name="connsiteX41" fmla="*/ 2605 w 10000"/>
                <a:gd name="connsiteY41" fmla="*/ 9461 h 10000"/>
                <a:gd name="connsiteX42" fmla="*/ 2721 w 10000"/>
                <a:gd name="connsiteY42" fmla="*/ 9592 h 10000"/>
                <a:gd name="connsiteX43" fmla="*/ 2979 w 10000"/>
                <a:gd name="connsiteY43" fmla="*/ 9527 h 10000"/>
                <a:gd name="connsiteX44" fmla="*/ 3757 w 10000"/>
                <a:gd name="connsiteY44" fmla="*/ 9508 h 10000"/>
                <a:gd name="connsiteX45" fmla="*/ 3863 w 10000"/>
                <a:gd name="connsiteY45" fmla="*/ 9778 h 10000"/>
                <a:gd name="connsiteX46" fmla="*/ 4219 w 10000"/>
                <a:gd name="connsiteY46" fmla="*/ 9620 h 10000"/>
                <a:gd name="connsiteX47" fmla="*/ 4373 w 10000"/>
                <a:gd name="connsiteY47" fmla="*/ 9293 h 10000"/>
                <a:gd name="connsiteX48" fmla="*/ 5064 w 10000"/>
                <a:gd name="connsiteY48" fmla="*/ 9311 h 10000"/>
                <a:gd name="connsiteX49" fmla="*/ 5457 w 10000"/>
                <a:gd name="connsiteY49" fmla="*/ 8984 h 10000"/>
                <a:gd name="connsiteX50" fmla="*/ 5884 w 10000"/>
                <a:gd name="connsiteY50" fmla="*/ 8740 h 10000"/>
                <a:gd name="connsiteX51" fmla="*/ 6040 w 10000"/>
                <a:gd name="connsiteY51" fmla="*/ 8368 h 10000"/>
                <a:gd name="connsiteX52" fmla="*/ 6382 w 10000"/>
                <a:gd name="connsiteY52" fmla="*/ 7982 h 10000"/>
                <a:gd name="connsiteX53" fmla="*/ 6428 w 10000"/>
                <a:gd name="connsiteY53" fmla="*/ 8181 h 10000"/>
                <a:gd name="connsiteX54" fmla="*/ 6444 w 10000"/>
                <a:gd name="connsiteY54" fmla="*/ 8428 h 10000"/>
                <a:gd name="connsiteX55" fmla="*/ 6766 w 10000"/>
                <a:gd name="connsiteY55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6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66 w 10000"/>
                <a:gd name="connsiteY41" fmla="*/ 9433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547 w 10000"/>
                <a:gd name="connsiteY41" fmla="*/ 9256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01 w 10000"/>
                <a:gd name="connsiteY41" fmla="*/ 9069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268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605 w 10000"/>
                <a:gd name="connsiteY42" fmla="*/ 9461 h 10000"/>
                <a:gd name="connsiteX43" fmla="*/ 2721 w 10000"/>
                <a:gd name="connsiteY43" fmla="*/ 9592 h 10000"/>
                <a:gd name="connsiteX44" fmla="*/ 2979 w 10000"/>
                <a:gd name="connsiteY44" fmla="*/ 9527 h 10000"/>
                <a:gd name="connsiteX45" fmla="*/ 3757 w 10000"/>
                <a:gd name="connsiteY45" fmla="*/ 9508 h 10000"/>
                <a:gd name="connsiteX46" fmla="*/ 3863 w 10000"/>
                <a:gd name="connsiteY46" fmla="*/ 9778 h 10000"/>
                <a:gd name="connsiteX47" fmla="*/ 4219 w 10000"/>
                <a:gd name="connsiteY47" fmla="*/ 9620 h 10000"/>
                <a:gd name="connsiteX48" fmla="*/ 4373 w 10000"/>
                <a:gd name="connsiteY48" fmla="*/ 9293 h 10000"/>
                <a:gd name="connsiteX49" fmla="*/ 5064 w 10000"/>
                <a:gd name="connsiteY49" fmla="*/ 9311 h 10000"/>
                <a:gd name="connsiteX50" fmla="*/ 5457 w 10000"/>
                <a:gd name="connsiteY50" fmla="*/ 8984 h 10000"/>
                <a:gd name="connsiteX51" fmla="*/ 5884 w 10000"/>
                <a:gd name="connsiteY51" fmla="*/ 8740 h 10000"/>
                <a:gd name="connsiteX52" fmla="*/ 6040 w 10000"/>
                <a:gd name="connsiteY52" fmla="*/ 8368 h 10000"/>
                <a:gd name="connsiteX53" fmla="*/ 6382 w 10000"/>
                <a:gd name="connsiteY53" fmla="*/ 7982 h 10000"/>
                <a:gd name="connsiteX54" fmla="*/ 6428 w 10000"/>
                <a:gd name="connsiteY54" fmla="*/ 8181 h 10000"/>
                <a:gd name="connsiteX55" fmla="*/ 6444 w 10000"/>
                <a:gd name="connsiteY55" fmla="*/ 8428 h 10000"/>
                <a:gd name="connsiteX56" fmla="*/ 6766 w 10000"/>
                <a:gd name="connsiteY56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153 w 10000"/>
                <a:gd name="connsiteY41" fmla="*/ 8780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336 w 10000"/>
                <a:gd name="connsiteY42" fmla="*/ 8985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  <a:gd name="connsiteX0" fmla="*/ 7446 w 10000"/>
                <a:gd name="connsiteY0" fmla="*/ 9488 h 10000"/>
                <a:gd name="connsiteX1" fmla="*/ 7446 w 10000"/>
                <a:gd name="connsiteY1" fmla="*/ 8978 h 10000"/>
                <a:gd name="connsiteX2" fmla="*/ 7821 w 10000"/>
                <a:gd name="connsiteY2" fmla="*/ 8978 h 10000"/>
                <a:gd name="connsiteX3" fmla="*/ 8047 w 10000"/>
                <a:gd name="connsiteY3" fmla="*/ 8029 h 10000"/>
                <a:gd name="connsiteX4" fmla="*/ 8648 w 10000"/>
                <a:gd name="connsiteY4" fmla="*/ 7444 h 10000"/>
                <a:gd name="connsiteX5" fmla="*/ 8873 w 10000"/>
                <a:gd name="connsiteY5" fmla="*/ 6351 h 10000"/>
                <a:gd name="connsiteX6" fmla="*/ 8722 w 10000"/>
                <a:gd name="connsiteY6" fmla="*/ 5768 h 10000"/>
                <a:gd name="connsiteX7" fmla="*/ 9098 w 10000"/>
                <a:gd name="connsiteY7" fmla="*/ 4525 h 10000"/>
                <a:gd name="connsiteX8" fmla="*/ 9399 w 10000"/>
                <a:gd name="connsiteY8" fmla="*/ 4160 h 10000"/>
                <a:gd name="connsiteX9" fmla="*/ 10000 w 10000"/>
                <a:gd name="connsiteY9" fmla="*/ 3576 h 10000"/>
                <a:gd name="connsiteX10" fmla="*/ 9774 w 10000"/>
                <a:gd name="connsiteY10" fmla="*/ 3502 h 10000"/>
                <a:gd name="connsiteX11" fmla="*/ 9399 w 10000"/>
                <a:gd name="connsiteY11" fmla="*/ 3140 h 10000"/>
                <a:gd name="connsiteX12" fmla="*/ 9173 w 10000"/>
                <a:gd name="connsiteY12" fmla="*/ 2044 h 10000"/>
                <a:gd name="connsiteX13" fmla="*/ 9173 w 10000"/>
                <a:gd name="connsiteY13" fmla="*/ 1460 h 10000"/>
                <a:gd name="connsiteX14" fmla="*/ 9098 w 10000"/>
                <a:gd name="connsiteY14" fmla="*/ 729 h 10000"/>
                <a:gd name="connsiteX15" fmla="*/ 8873 w 10000"/>
                <a:gd name="connsiteY15" fmla="*/ 511 h 10000"/>
                <a:gd name="connsiteX16" fmla="*/ 8497 w 10000"/>
                <a:gd name="connsiteY16" fmla="*/ 219 h 10000"/>
                <a:gd name="connsiteX17" fmla="*/ 8272 w 10000"/>
                <a:gd name="connsiteY17" fmla="*/ 0 h 10000"/>
                <a:gd name="connsiteX18" fmla="*/ 7821 w 10000"/>
                <a:gd name="connsiteY18" fmla="*/ 293 h 10000"/>
                <a:gd name="connsiteX19" fmla="*/ 7370 w 10000"/>
                <a:gd name="connsiteY19" fmla="*/ 729 h 10000"/>
                <a:gd name="connsiteX20" fmla="*/ 6769 w 10000"/>
                <a:gd name="connsiteY20" fmla="*/ 729 h 10000"/>
                <a:gd name="connsiteX21" fmla="*/ 5717 w 10000"/>
                <a:gd name="connsiteY21" fmla="*/ 729 h 10000"/>
                <a:gd name="connsiteX22" fmla="*/ 5717 w 10000"/>
                <a:gd name="connsiteY22" fmla="*/ 658 h 10000"/>
                <a:gd name="connsiteX23" fmla="*/ 5643 w 10000"/>
                <a:gd name="connsiteY23" fmla="*/ 729 h 10000"/>
                <a:gd name="connsiteX24" fmla="*/ 1961 w 10000"/>
                <a:gd name="connsiteY24" fmla="*/ 729 h 10000"/>
                <a:gd name="connsiteX25" fmla="*/ 1961 w 10000"/>
                <a:gd name="connsiteY25" fmla="*/ 2263 h 10000"/>
                <a:gd name="connsiteX26" fmla="*/ 1285 w 10000"/>
                <a:gd name="connsiteY26" fmla="*/ 2263 h 10000"/>
                <a:gd name="connsiteX27" fmla="*/ 1285 w 10000"/>
                <a:gd name="connsiteY27" fmla="*/ 2556 h 10000"/>
                <a:gd name="connsiteX28" fmla="*/ 1285 w 10000"/>
                <a:gd name="connsiteY28" fmla="*/ 5179 h 10000"/>
                <a:gd name="connsiteX29" fmla="*/ 1135 w 10000"/>
                <a:gd name="connsiteY29" fmla="*/ 5327 h 10000"/>
                <a:gd name="connsiteX30" fmla="*/ 684 w 10000"/>
                <a:gd name="connsiteY30" fmla="*/ 5621 h 10000"/>
                <a:gd name="connsiteX31" fmla="*/ 609 w 10000"/>
                <a:gd name="connsiteY31" fmla="*/ 5986 h 10000"/>
                <a:gd name="connsiteX32" fmla="*/ 384 w 10000"/>
                <a:gd name="connsiteY32" fmla="*/ 6351 h 10000"/>
                <a:gd name="connsiteX33" fmla="*/ 234 w 10000"/>
                <a:gd name="connsiteY33" fmla="*/ 6935 h 10000"/>
                <a:gd name="connsiteX34" fmla="*/ 8 w 10000"/>
                <a:gd name="connsiteY34" fmla="*/ 7593 h 10000"/>
                <a:gd name="connsiteX35" fmla="*/ 384 w 10000"/>
                <a:gd name="connsiteY35" fmla="*/ 7664 h 10000"/>
                <a:gd name="connsiteX36" fmla="*/ 458 w 10000"/>
                <a:gd name="connsiteY36" fmla="*/ 8245 h 10000"/>
                <a:gd name="connsiteX37" fmla="*/ 684 w 10000"/>
                <a:gd name="connsiteY37" fmla="*/ 8831 h 10000"/>
                <a:gd name="connsiteX38" fmla="*/ 982 w 10000"/>
                <a:gd name="connsiteY38" fmla="*/ 9237 h 10000"/>
                <a:gd name="connsiteX39" fmla="*/ 1059 w 10000"/>
                <a:gd name="connsiteY39" fmla="*/ 10000 h 10000"/>
                <a:gd name="connsiteX40" fmla="*/ 1578 w 10000"/>
                <a:gd name="connsiteY40" fmla="*/ 9153 h 10000"/>
                <a:gd name="connsiteX41" fmla="*/ 2076 w 10000"/>
                <a:gd name="connsiteY41" fmla="*/ 8799 h 10000"/>
                <a:gd name="connsiteX42" fmla="*/ 2250 w 10000"/>
                <a:gd name="connsiteY42" fmla="*/ 9060 h 10000"/>
                <a:gd name="connsiteX43" fmla="*/ 2605 w 10000"/>
                <a:gd name="connsiteY43" fmla="*/ 9461 h 10000"/>
                <a:gd name="connsiteX44" fmla="*/ 2721 w 10000"/>
                <a:gd name="connsiteY44" fmla="*/ 9592 h 10000"/>
                <a:gd name="connsiteX45" fmla="*/ 2979 w 10000"/>
                <a:gd name="connsiteY45" fmla="*/ 9527 h 10000"/>
                <a:gd name="connsiteX46" fmla="*/ 3757 w 10000"/>
                <a:gd name="connsiteY46" fmla="*/ 9508 h 10000"/>
                <a:gd name="connsiteX47" fmla="*/ 3863 w 10000"/>
                <a:gd name="connsiteY47" fmla="*/ 9778 h 10000"/>
                <a:gd name="connsiteX48" fmla="*/ 4219 w 10000"/>
                <a:gd name="connsiteY48" fmla="*/ 9620 h 10000"/>
                <a:gd name="connsiteX49" fmla="*/ 4373 w 10000"/>
                <a:gd name="connsiteY49" fmla="*/ 9293 h 10000"/>
                <a:gd name="connsiteX50" fmla="*/ 5064 w 10000"/>
                <a:gd name="connsiteY50" fmla="*/ 9311 h 10000"/>
                <a:gd name="connsiteX51" fmla="*/ 5457 w 10000"/>
                <a:gd name="connsiteY51" fmla="*/ 8984 h 10000"/>
                <a:gd name="connsiteX52" fmla="*/ 5884 w 10000"/>
                <a:gd name="connsiteY52" fmla="*/ 8740 h 10000"/>
                <a:gd name="connsiteX53" fmla="*/ 6040 w 10000"/>
                <a:gd name="connsiteY53" fmla="*/ 8368 h 10000"/>
                <a:gd name="connsiteX54" fmla="*/ 6382 w 10000"/>
                <a:gd name="connsiteY54" fmla="*/ 7982 h 10000"/>
                <a:gd name="connsiteX55" fmla="*/ 6428 w 10000"/>
                <a:gd name="connsiteY55" fmla="*/ 8181 h 10000"/>
                <a:gd name="connsiteX56" fmla="*/ 6444 w 10000"/>
                <a:gd name="connsiteY56" fmla="*/ 8428 h 10000"/>
                <a:gd name="connsiteX57" fmla="*/ 6766 w 10000"/>
                <a:gd name="connsiteY57" fmla="*/ 926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0000" h="10000">
                  <a:moveTo>
                    <a:pt x="7446" y="9488"/>
                  </a:moveTo>
                  <a:cubicBezTo>
                    <a:pt x="7596" y="9168"/>
                    <a:pt x="7370" y="9271"/>
                    <a:pt x="7446" y="8978"/>
                  </a:cubicBezTo>
                  <a:cubicBezTo>
                    <a:pt x="7671" y="8613"/>
                    <a:pt x="7671" y="9051"/>
                    <a:pt x="7821" y="8978"/>
                  </a:cubicBezTo>
                  <a:cubicBezTo>
                    <a:pt x="7896" y="8831"/>
                    <a:pt x="7821" y="8245"/>
                    <a:pt x="8047" y="8029"/>
                  </a:cubicBezTo>
                  <a:cubicBezTo>
                    <a:pt x="8272" y="7956"/>
                    <a:pt x="8197" y="7444"/>
                    <a:pt x="8648" y="7444"/>
                  </a:cubicBezTo>
                  <a:cubicBezTo>
                    <a:pt x="8497" y="7153"/>
                    <a:pt x="8722" y="7006"/>
                    <a:pt x="8873" y="6351"/>
                  </a:cubicBezTo>
                  <a:cubicBezTo>
                    <a:pt x="8873" y="6131"/>
                    <a:pt x="8648" y="5912"/>
                    <a:pt x="8722" y="5768"/>
                  </a:cubicBezTo>
                  <a:cubicBezTo>
                    <a:pt x="8873" y="5547"/>
                    <a:pt x="9098" y="5179"/>
                    <a:pt x="9098" y="4525"/>
                  </a:cubicBezTo>
                  <a:cubicBezTo>
                    <a:pt x="8948" y="4086"/>
                    <a:pt x="9173" y="4599"/>
                    <a:pt x="9399" y="4160"/>
                  </a:cubicBezTo>
                  <a:cubicBezTo>
                    <a:pt x="9549" y="3942"/>
                    <a:pt x="9774" y="4306"/>
                    <a:pt x="10000" y="3576"/>
                  </a:cubicBezTo>
                  <a:cubicBezTo>
                    <a:pt x="10000" y="3502"/>
                    <a:pt x="9850" y="3357"/>
                    <a:pt x="9774" y="3502"/>
                  </a:cubicBezTo>
                  <a:cubicBezTo>
                    <a:pt x="9624" y="3502"/>
                    <a:pt x="9624" y="3140"/>
                    <a:pt x="9399" y="3140"/>
                  </a:cubicBezTo>
                  <a:cubicBezTo>
                    <a:pt x="9323" y="3285"/>
                    <a:pt x="9098" y="2117"/>
                    <a:pt x="9173" y="2044"/>
                  </a:cubicBezTo>
                  <a:cubicBezTo>
                    <a:pt x="9323" y="1678"/>
                    <a:pt x="8948" y="1460"/>
                    <a:pt x="9173" y="1460"/>
                  </a:cubicBezTo>
                  <a:cubicBezTo>
                    <a:pt x="9399" y="1533"/>
                    <a:pt x="9098" y="1311"/>
                    <a:pt x="9098" y="729"/>
                  </a:cubicBezTo>
                  <a:cubicBezTo>
                    <a:pt x="8948" y="658"/>
                    <a:pt x="8948" y="511"/>
                    <a:pt x="8873" y="511"/>
                  </a:cubicBezTo>
                  <a:cubicBezTo>
                    <a:pt x="8648" y="511"/>
                    <a:pt x="8722" y="219"/>
                    <a:pt x="8497" y="219"/>
                  </a:cubicBezTo>
                  <a:cubicBezTo>
                    <a:pt x="8422" y="219"/>
                    <a:pt x="8272" y="74"/>
                    <a:pt x="8272" y="0"/>
                  </a:cubicBezTo>
                  <a:cubicBezTo>
                    <a:pt x="8047" y="293"/>
                    <a:pt x="7896" y="0"/>
                    <a:pt x="7821" y="293"/>
                  </a:cubicBezTo>
                  <a:cubicBezTo>
                    <a:pt x="7671" y="658"/>
                    <a:pt x="7446" y="511"/>
                    <a:pt x="7370" y="729"/>
                  </a:cubicBezTo>
                  <a:cubicBezTo>
                    <a:pt x="7220" y="1021"/>
                    <a:pt x="6995" y="1094"/>
                    <a:pt x="6769" y="729"/>
                  </a:cubicBezTo>
                  <a:lnTo>
                    <a:pt x="5717" y="729"/>
                  </a:lnTo>
                  <a:lnTo>
                    <a:pt x="5717" y="658"/>
                  </a:lnTo>
                  <a:cubicBezTo>
                    <a:pt x="5692" y="681"/>
                    <a:pt x="5668" y="707"/>
                    <a:pt x="5643" y="729"/>
                  </a:cubicBezTo>
                  <a:lnTo>
                    <a:pt x="1961" y="729"/>
                  </a:lnTo>
                  <a:lnTo>
                    <a:pt x="1961" y="2263"/>
                  </a:lnTo>
                  <a:lnTo>
                    <a:pt x="1285" y="2263"/>
                  </a:lnTo>
                  <a:lnTo>
                    <a:pt x="1285" y="2556"/>
                  </a:lnTo>
                  <a:lnTo>
                    <a:pt x="1285" y="5179"/>
                  </a:lnTo>
                  <a:lnTo>
                    <a:pt x="1135" y="5327"/>
                  </a:lnTo>
                  <a:cubicBezTo>
                    <a:pt x="909" y="5327"/>
                    <a:pt x="684" y="5327"/>
                    <a:pt x="684" y="5621"/>
                  </a:cubicBezTo>
                  <a:cubicBezTo>
                    <a:pt x="684" y="5986"/>
                    <a:pt x="458" y="5768"/>
                    <a:pt x="609" y="5986"/>
                  </a:cubicBezTo>
                  <a:cubicBezTo>
                    <a:pt x="609" y="6351"/>
                    <a:pt x="234" y="5986"/>
                    <a:pt x="384" y="6351"/>
                  </a:cubicBezTo>
                  <a:cubicBezTo>
                    <a:pt x="609" y="6642"/>
                    <a:pt x="8" y="6568"/>
                    <a:pt x="234" y="6935"/>
                  </a:cubicBezTo>
                  <a:cubicBezTo>
                    <a:pt x="458" y="7225"/>
                    <a:pt x="-67" y="7225"/>
                    <a:pt x="8" y="7593"/>
                  </a:cubicBezTo>
                  <a:cubicBezTo>
                    <a:pt x="158" y="7664"/>
                    <a:pt x="384" y="7371"/>
                    <a:pt x="384" y="7664"/>
                  </a:cubicBezTo>
                  <a:cubicBezTo>
                    <a:pt x="384" y="8029"/>
                    <a:pt x="458" y="7956"/>
                    <a:pt x="458" y="8245"/>
                  </a:cubicBezTo>
                  <a:cubicBezTo>
                    <a:pt x="458" y="8613"/>
                    <a:pt x="835" y="8392"/>
                    <a:pt x="684" y="8831"/>
                  </a:cubicBezTo>
                  <a:cubicBezTo>
                    <a:pt x="765" y="8992"/>
                    <a:pt x="920" y="9042"/>
                    <a:pt x="982" y="9237"/>
                  </a:cubicBezTo>
                  <a:cubicBezTo>
                    <a:pt x="1044" y="9432"/>
                    <a:pt x="1186" y="9449"/>
                    <a:pt x="1059" y="10000"/>
                  </a:cubicBezTo>
                  <a:cubicBezTo>
                    <a:pt x="1163" y="9440"/>
                    <a:pt x="1836" y="9946"/>
                    <a:pt x="1578" y="9153"/>
                  </a:cubicBezTo>
                  <a:cubicBezTo>
                    <a:pt x="1379" y="8778"/>
                    <a:pt x="2034" y="8798"/>
                    <a:pt x="2076" y="8799"/>
                  </a:cubicBezTo>
                  <a:cubicBezTo>
                    <a:pt x="2250" y="8835"/>
                    <a:pt x="2175" y="8947"/>
                    <a:pt x="2250" y="9060"/>
                  </a:cubicBezTo>
                  <a:cubicBezTo>
                    <a:pt x="2287" y="9201"/>
                    <a:pt x="2570" y="9088"/>
                    <a:pt x="2605" y="9461"/>
                  </a:cubicBezTo>
                  <a:cubicBezTo>
                    <a:pt x="2688" y="9582"/>
                    <a:pt x="2654" y="9583"/>
                    <a:pt x="2721" y="9592"/>
                  </a:cubicBezTo>
                  <a:cubicBezTo>
                    <a:pt x="2788" y="9601"/>
                    <a:pt x="2834" y="9598"/>
                    <a:pt x="2979" y="9527"/>
                  </a:cubicBezTo>
                  <a:cubicBezTo>
                    <a:pt x="3195" y="9495"/>
                    <a:pt x="3447" y="9466"/>
                    <a:pt x="3757" y="9508"/>
                  </a:cubicBezTo>
                  <a:cubicBezTo>
                    <a:pt x="3870" y="9662"/>
                    <a:pt x="3740" y="9750"/>
                    <a:pt x="3863" y="9778"/>
                  </a:cubicBezTo>
                  <a:cubicBezTo>
                    <a:pt x="3938" y="9834"/>
                    <a:pt x="4239" y="9749"/>
                    <a:pt x="4219" y="9620"/>
                  </a:cubicBezTo>
                  <a:cubicBezTo>
                    <a:pt x="4362" y="9594"/>
                    <a:pt x="4191" y="9348"/>
                    <a:pt x="4373" y="9293"/>
                  </a:cubicBezTo>
                  <a:cubicBezTo>
                    <a:pt x="4851" y="9186"/>
                    <a:pt x="4698" y="9336"/>
                    <a:pt x="5064" y="9311"/>
                  </a:cubicBezTo>
                  <a:cubicBezTo>
                    <a:pt x="5266" y="9314"/>
                    <a:pt x="5218" y="8965"/>
                    <a:pt x="5457" y="8984"/>
                  </a:cubicBezTo>
                  <a:cubicBezTo>
                    <a:pt x="5797" y="9049"/>
                    <a:pt x="6015" y="9089"/>
                    <a:pt x="5884" y="8740"/>
                  </a:cubicBezTo>
                  <a:cubicBezTo>
                    <a:pt x="5964" y="8593"/>
                    <a:pt x="6043" y="8363"/>
                    <a:pt x="6040" y="8368"/>
                  </a:cubicBezTo>
                  <a:cubicBezTo>
                    <a:pt x="6032" y="8083"/>
                    <a:pt x="6101" y="8080"/>
                    <a:pt x="6382" y="7982"/>
                  </a:cubicBezTo>
                  <a:cubicBezTo>
                    <a:pt x="6464" y="8031"/>
                    <a:pt x="6373" y="8102"/>
                    <a:pt x="6428" y="8181"/>
                  </a:cubicBezTo>
                  <a:cubicBezTo>
                    <a:pt x="6437" y="8304"/>
                    <a:pt x="6435" y="8305"/>
                    <a:pt x="6444" y="8428"/>
                  </a:cubicBezTo>
                  <a:cubicBezTo>
                    <a:pt x="6530" y="9042"/>
                    <a:pt x="6771" y="9273"/>
                    <a:pt x="6766" y="9268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3" name="Oval 252"/>
            <p:cNvSpPr/>
            <p:nvPr/>
          </p:nvSpPr>
          <p:spPr bwMode="ltGray">
            <a:xfrm>
              <a:off x="5308651" y="1317625"/>
              <a:ext cx="4055025" cy="4055025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43048" fontAlgn="auto">
                <a:spcBef>
                  <a:spcPts val="0"/>
                </a:spcBef>
                <a:spcAft>
                  <a:spcPts val="0"/>
                </a:spcAft>
              </a:pPr>
              <a:endParaRPr lang="en-GB" sz="1712" b="0" dirty="0">
                <a:solidFill>
                  <a:srgbClr val="FFFFFF"/>
                </a:solidFill>
                <a:latin typeface="Georgia" pitchFamily="18" charset="0"/>
              </a:endParaRPr>
            </a:p>
          </p:txBody>
        </p:sp>
        <p:pic>
          <p:nvPicPr>
            <p:cNvPr id="254" name="Picture 4" descr="http://zpub.ru/wp-content/uploads/2014/03/russia_with_crimea/map_4000px_russia_with_crimea_and_sevastopol.png"/>
            <p:cNvPicPr>
              <a:picLocks noChangeAspect="1" noChangeArrowheads="1"/>
            </p:cNvPicPr>
            <p:nvPr/>
          </p:nvPicPr>
          <p:blipFill>
            <a:blip r:embed="rId23" cstate="print">
              <a:duotone>
                <a:srgbClr val="FFFFFF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0633" y="2217738"/>
              <a:ext cx="3896380" cy="2173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5" name="Picture 254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5431688" y="2965450"/>
              <a:ext cx="948608" cy="165129"/>
            </a:xfrm>
            <a:prstGeom prst="rect">
              <a:avLst/>
            </a:prstGeom>
          </p:spPr>
        </p:pic>
        <p:pic>
          <p:nvPicPr>
            <p:cNvPr id="256" name="Picture 255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6465961" y="1425575"/>
              <a:ext cx="725116" cy="497494"/>
            </a:xfrm>
            <a:prstGeom prst="rect">
              <a:avLst/>
            </a:prstGeom>
          </p:spPr>
        </p:pic>
        <p:pic>
          <p:nvPicPr>
            <p:cNvPr id="257" name="Picture 256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7281750" y="1728788"/>
              <a:ext cx="483476" cy="342595"/>
            </a:xfrm>
            <a:prstGeom prst="rect">
              <a:avLst/>
            </a:prstGeom>
          </p:spPr>
        </p:pic>
        <p:pic>
          <p:nvPicPr>
            <p:cNvPr id="258" name="Picture 257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>
            <a:xfrm>
              <a:off x="6222142" y="4708525"/>
              <a:ext cx="903397" cy="171286"/>
            </a:xfrm>
            <a:prstGeom prst="rect">
              <a:avLst/>
            </a:prstGeom>
          </p:spPr>
        </p:pic>
        <p:pic>
          <p:nvPicPr>
            <p:cNvPr id="259" name="Picture 258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>
            <a:xfrm>
              <a:off x="7330442" y="4687888"/>
              <a:ext cx="914133" cy="238646"/>
            </a:xfrm>
            <a:prstGeom prst="rect">
              <a:avLst/>
            </a:prstGeom>
          </p:spPr>
        </p:pic>
        <p:pic>
          <p:nvPicPr>
            <p:cNvPr id="260" name="Picture 259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6780723" y="3197225"/>
              <a:ext cx="589366" cy="167983"/>
            </a:xfrm>
            <a:prstGeom prst="rect">
              <a:avLst/>
            </a:prstGeom>
          </p:spPr>
        </p:pic>
        <p:pic>
          <p:nvPicPr>
            <p:cNvPr id="261" name="Picture 260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5953080" y="4435475"/>
              <a:ext cx="1003706" cy="234910"/>
            </a:xfrm>
            <a:prstGeom prst="rect">
              <a:avLst/>
            </a:prstGeom>
          </p:spPr>
        </p:pic>
        <p:pic>
          <p:nvPicPr>
            <p:cNvPr id="262" name="Picture 261"/>
            <p:cNvPicPr>
              <a:picLocks noChangeAspect="1"/>
            </p:cNvPicPr>
            <p:nvPr/>
          </p:nvPicPr>
          <p:blipFill>
            <a:blip r:embed="rId31"/>
            <a:stretch>
              <a:fillRect/>
            </a:stretch>
          </p:blipFill>
          <p:spPr>
            <a:xfrm>
              <a:off x="6748685" y="2886075"/>
              <a:ext cx="503678" cy="136130"/>
            </a:xfrm>
            <a:prstGeom prst="rect">
              <a:avLst/>
            </a:prstGeom>
          </p:spPr>
        </p:pic>
        <p:pic>
          <p:nvPicPr>
            <p:cNvPr id="263" name="Picture 262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>
            <a:xfrm>
              <a:off x="5732612" y="4176713"/>
              <a:ext cx="936405" cy="189756"/>
            </a:xfrm>
            <a:prstGeom prst="rect">
              <a:avLst/>
            </a:prstGeom>
          </p:spPr>
        </p:pic>
        <p:pic>
          <p:nvPicPr>
            <p:cNvPr id="264" name="Picture 263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>
            <a:xfrm>
              <a:off x="5591138" y="3316288"/>
              <a:ext cx="603507" cy="190581"/>
            </a:xfrm>
            <a:prstGeom prst="rect">
              <a:avLst/>
            </a:prstGeom>
          </p:spPr>
        </p:pic>
        <p:pic>
          <p:nvPicPr>
            <p:cNvPr id="265" name="Picture 264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>
            <a:xfrm>
              <a:off x="7651455" y="4456113"/>
              <a:ext cx="961193" cy="202182"/>
            </a:xfrm>
            <a:prstGeom prst="rect">
              <a:avLst/>
            </a:prstGeom>
          </p:spPr>
        </p:pic>
        <p:pic>
          <p:nvPicPr>
            <p:cNvPr id="266" name="Picture 265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>
            <a:xfrm>
              <a:off x="7929026" y="1897063"/>
              <a:ext cx="693021" cy="255758"/>
            </a:xfrm>
            <a:prstGeom prst="rect">
              <a:avLst/>
            </a:prstGeom>
          </p:spPr>
        </p:pic>
        <p:pic>
          <p:nvPicPr>
            <p:cNvPr id="267" name="Picture 266"/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>
            <a:xfrm>
              <a:off x="7806753" y="1649413"/>
              <a:ext cx="611108" cy="137825"/>
            </a:xfrm>
            <a:prstGeom prst="rect">
              <a:avLst/>
            </a:prstGeom>
          </p:spPr>
        </p:pic>
        <p:pic>
          <p:nvPicPr>
            <p:cNvPr id="268" name="Picture 267"/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>
            <a:xfrm>
              <a:off x="6824847" y="4900613"/>
              <a:ext cx="1087535" cy="251259"/>
            </a:xfrm>
            <a:prstGeom prst="rect">
              <a:avLst/>
            </a:prstGeom>
          </p:spPr>
        </p:pic>
        <p:pic>
          <p:nvPicPr>
            <p:cNvPr id="269" name="Picture 268"/>
            <p:cNvPicPr>
              <a:picLocks noChangeAspect="1"/>
            </p:cNvPicPr>
            <p:nvPr/>
          </p:nvPicPr>
          <p:blipFill>
            <a:blip r:embed="rId38"/>
            <a:stretch>
              <a:fillRect/>
            </a:stretch>
          </p:blipFill>
          <p:spPr>
            <a:xfrm>
              <a:off x="5979467" y="1819275"/>
              <a:ext cx="437484" cy="169896"/>
            </a:xfrm>
            <a:prstGeom prst="rect">
              <a:avLst/>
            </a:prstGeom>
          </p:spPr>
        </p:pic>
        <p:pic>
          <p:nvPicPr>
            <p:cNvPr id="270" name="Picture 269"/>
            <p:cNvPicPr>
              <a:picLocks noChangeAspect="1"/>
            </p:cNvPicPr>
            <p:nvPr/>
          </p:nvPicPr>
          <p:blipFill>
            <a:blip r:embed="rId39"/>
            <a:stretch>
              <a:fillRect/>
            </a:stretch>
          </p:blipFill>
          <p:spPr>
            <a:xfrm>
              <a:off x="8724497" y="3079750"/>
              <a:ext cx="514211" cy="196883"/>
            </a:xfrm>
            <a:prstGeom prst="rect">
              <a:avLst/>
            </a:prstGeom>
          </p:spPr>
        </p:pic>
        <p:pic>
          <p:nvPicPr>
            <p:cNvPr id="271" name="Picture 270"/>
            <p:cNvPicPr>
              <a:picLocks noChangeAspect="1"/>
            </p:cNvPicPr>
            <p:nvPr/>
          </p:nvPicPr>
          <p:blipFill>
            <a:blip r:embed="rId40"/>
            <a:stretch>
              <a:fillRect/>
            </a:stretch>
          </p:blipFill>
          <p:spPr>
            <a:xfrm>
              <a:off x="7135045" y="3600450"/>
              <a:ext cx="612124" cy="151095"/>
            </a:xfrm>
            <a:prstGeom prst="rect">
              <a:avLst/>
            </a:prstGeom>
          </p:spPr>
        </p:pic>
        <p:pic>
          <p:nvPicPr>
            <p:cNvPr id="272" name="Picture 271"/>
            <p:cNvPicPr>
              <a:picLocks noChangeAspect="1"/>
            </p:cNvPicPr>
            <p:nvPr/>
          </p:nvPicPr>
          <p:blipFill>
            <a:blip r:embed="rId41"/>
            <a:stretch>
              <a:fillRect/>
            </a:stretch>
          </p:blipFill>
          <p:spPr>
            <a:xfrm>
              <a:off x="8647318" y="2720975"/>
              <a:ext cx="479939" cy="139543"/>
            </a:xfrm>
            <a:prstGeom prst="rect">
              <a:avLst/>
            </a:prstGeom>
          </p:spPr>
        </p:pic>
        <p:pic>
          <p:nvPicPr>
            <p:cNvPr id="273" name="Picture 272"/>
            <p:cNvPicPr>
              <a:picLocks noChangeAspect="1"/>
            </p:cNvPicPr>
            <p:nvPr/>
          </p:nvPicPr>
          <p:blipFill>
            <a:blip r:embed="rId42"/>
            <a:stretch>
              <a:fillRect/>
            </a:stretch>
          </p:blipFill>
          <p:spPr>
            <a:xfrm>
              <a:off x="5537751" y="2586038"/>
              <a:ext cx="710872" cy="158677"/>
            </a:xfrm>
            <a:prstGeom prst="rect">
              <a:avLst/>
            </a:prstGeom>
          </p:spPr>
        </p:pic>
        <p:pic>
          <p:nvPicPr>
            <p:cNvPr id="274" name="Picture 273"/>
            <p:cNvPicPr>
              <a:picLocks noChangeAspect="1"/>
            </p:cNvPicPr>
            <p:nvPr/>
          </p:nvPicPr>
          <p:blipFill>
            <a:blip r:embed="rId43"/>
            <a:stretch>
              <a:fillRect/>
            </a:stretch>
          </p:blipFill>
          <p:spPr>
            <a:xfrm>
              <a:off x="7588429" y="2365375"/>
              <a:ext cx="563853" cy="252075"/>
            </a:xfrm>
            <a:prstGeom prst="rect">
              <a:avLst/>
            </a:prstGeom>
          </p:spPr>
        </p:pic>
        <p:pic>
          <p:nvPicPr>
            <p:cNvPr id="275" name="Picture 274"/>
            <p:cNvPicPr>
              <a:picLocks noChangeAspect="1"/>
            </p:cNvPicPr>
            <p:nvPr/>
          </p:nvPicPr>
          <p:blipFill>
            <a:blip r:embed="rId44"/>
            <a:stretch>
              <a:fillRect/>
            </a:stretch>
          </p:blipFill>
          <p:spPr>
            <a:xfrm>
              <a:off x="6889054" y="1322388"/>
              <a:ext cx="939655" cy="186238"/>
            </a:xfrm>
            <a:prstGeom prst="rect">
              <a:avLst/>
            </a:prstGeom>
          </p:spPr>
        </p:pic>
        <p:pic>
          <p:nvPicPr>
            <p:cNvPr id="276" name="Picture 275"/>
            <p:cNvPicPr>
              <a:picLocks noChangeAspect="1"/>
            </p:cNvPicPr>
            <p:nvPr/>
          </p:nvPicPr>
          <p:blipFill>
            <a:blip r:embed="rId45"/>
            <a:stretch>
              <a:fillRect/>
            </a:stretch>
          </p:blipFill>
          <p:spPr>
            <a:xfrm>
              <a:off x="6386847" y="2298700"/>
              <a:ext cx="415358" cy="393496"/>
            </a:xfrm>
            <a:prstGeom prst="rect">
              <a:avLst/>
            </a:prstGeom>
          </p:spPr>
        </p:pic>
        <p:pic>
          <p:nvPicPr>
            <p:cNvPr id="277" name="Picture 276"/>
            <p:cNvPicPr>
              <a:picLocks noChangeAspect="1"/>
            </p:cNvPicPr>
            <p:nvPr/>
          </p:nvPicPr>
          <p:blipFill>
            <a:blip r:embed="rId46"/>
            <a:stretch>
              <a:fillRect/>
            </a:stretch>
          </p:blipFill>
          <p:spPr>
            <a:xfrm>
              <a:off x="8278155" y="3886200"/>
              <a:ext cx="532154" cy="231744"/>
            </a:xfrm>
            <a:prstGeom prst="rect">
              <a:avLst/>
            </a:prstGeom>
          </p:spPr>
        </p:pic>
        <p:pic>
          <p:nvPicPr>
            <p:cNvPr id="278" name="Picture 277"/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8339723" y="2212975"/>
              <a:ext cx="532173" cy="301098"/>
            </a:xfrm>
            <a:prstGeom prst="rect">
              <a:avLst/>
            </a:prstGeom>
          </p:spPr>
        </p:pic>
        <p:pic>
          <p:nvPicPr>
            <p:cNvPr id="279" name="Picture 278"/>
            <p:cNvPicPr>
              <a:picLocks noChangeAspect="1"/>
            </p:cNvPicPr>
            <p:nvPr/>
          </p:nvPicPr>
          <p:blipFill>
            <a:blip r:embed="rId48"/>
            <a:stretch>
              <a:fillRect/>
            </a:stretch>
          </p:blipFill>
          <p:spPr>
            <a:xfrm>
              <a:off x="8126980" y="4229100"/>
              <a:ext cx="763899" cy="205995"/>
            </a:xfrm>
            <a:prstGeom prst="rect">
              <a:avLst/>
            </a:prstGeom>
          </p:spPr>
        </p:pic>
        <p:pic>
          <p:nvPicPr>
            <p:cNvPr id="280" name="Picture 279"/>
            <p:cNvPicPr>
              <a:picLocks noChangeAspect="1"/>
            </p:cNvPicPr>
            <p:nvPr/>
          </p:nvPicPr>
          <p:blipFill>
            <a:blip r:embed="rId49"/>
            <a:stretch>
              <a:fillRect/>
            </a:stretch>
          </p:blipFill>
          <p:spPr>
            <a:xfrm>
              <a:off x="5640797" y="2211388"/>
              <a:ext cx="577667" cy="259209"/>
            </a:xfrm>
            <a:prstGeom prst="rect">
              <a:avLst/>
            </a:prstGeom>
          </p:spPr>
        </p:pic>
        <p:pic>
          <p:nvPicPr>
            <p:cNvPr id="281" name="Picture 280"/>
            <p:cNvPicPr>
              <a:picLocks noChangeAspect="1"/>
            </p:cNvPicPr>
            <p:nvPr/>
          </p:nvPicPr>
          <p:blipFill>
            <a:blip r:embed="rId50"/>
            <a:stretch>
              <a:fillRect/>
            </a:stretch>
          </p:blipFill>
          <p:spPr>
            <a:xfrm>
              <a:off x="8064370" y="2986088"/>
              <a:ext cx="232359" cy="215521"/>
            </a:xfrm>
            <a:prstGeom prst="rect">
              <a:avLst/>
            </a:prstGeom>
          </p:spPr>
        </p:pic>
        <p:pic>
          <p:nvPicPr>
            <p:cNvPr id="282" name="Picture 281"/>
            <p:cNvPicPr>
              <a:picLocks noChangeAspect="1"/>
            </p:cNvPicPr>
            <p:nvPr/>
          </p:nvPicPr>
          <p:blipFill>
            <a:blip r:embed="rId51"/>
            <a:stretch>
              <a:fillRect/>
            </a:stretch>
          </p:blipFill>
          <p:spPr>
            <a:xfrm>
              <a:off x="7079150" y="2635250"/>
              <a:ext cx="493156" cy="191098"/>
            </a:xfrm>
            <a:prstGeom prst="rect">
              <a:avLst/>
            </a:prstGeom>
          </p:spPr>
        </p:pic>
        <p:pic>
          <p:nvPicPr>
            <p:cNvPr id="283" name="Picture 282"/>
            <p:cNvPicPr>
              <a:picLocks noChangeAspect="1"/>
            </p:cNvPicPr>
            <p:nvPr/>
          </p:nvPicPr>
          <p:blipFill>
            <a:blip r:embed="rId52"/>
            <a:stretch>
              <a:fillRect/>
            </a:stretch>
          </p:blipFill>
          <p:spPr>
            <a:xfrm>
              <a:off x="6377460" y="3067050"/>
              <a:ext cx="276638" cy="286068"/>
            </a:xfrm>
            <a:prstGeom prst="rect">
              <a:avLst/>
            </a:prstGeom>
          </p:spPr>
        </p:pic>
        <p:pic>
          <p:nvPicPr>
            <p:cNvPr id="284" name="Picture 283"/>
            <p:cNvPicPr>
              <a:picLocks noChangeAspect="1"/>
            </p:cNvPicPr>
            <p:nvPr/>
          </p:nvPicPr>
          <p:blipFill>
            <a:blip r:embed="rId53"/>
            <a:stretch>
              <a:fillRect/>
            </a:stretch>
          </p:blipFill>
          <p:spPr>
            <a:xfrm>
              <a:off x="7451132" y="2968625"/>
              <a:ext cx="380356" cy="174515"/>
            </a:xfrm>
            <a:prstGeom prst="rect">
              <a:avLst/>
            </a:prstGeom>
          </p:spPr>
        </p:pic>
        <p:pic>
          <p:nvPicPr>
            <p:cNvPr id="285" name="Picture 284"/>
            <p:cNvPicPr>
              <a:picLocks noChangeAspect="1"/>
            </p:cNvPicPr>
            <p:nvPr/>
          </p:nvPicPr>
          <p:blipFill>
            <a:blip r:embed="rId54"/>
            <a:stretch>
              <a:fillRect/>
            </a:stretch>
          </p:blipFill>
          <p:spPr>
            <a:xfrm>
              <a:off x="7317764" y="4181475"/>
              <a:ext cx="362265" cy="234705"/>
            </a:xfrm>
            <a:prstGeom prst="rect">
              <a:avLst/>
            </a:prstGeom>
          </p:spPr>
        </p:pic>
        <p:pic>
          <p:nvPicPr>
            <p:cNvPr id="286" name="Picture 285"/>
            <p:cNvPicPr>
              <a:picLocks noChangeAspect="1"/>
            </p:cNvPicPr>
            <p:nvPr/>
          </p:nvPicPr>
          <p:blipFill>
            <a:blip r:embed="rId55"/>
            <a:stretch>
              <a:fillRect/>
            </a:stretch>
          </p:blipFill>
          <p:spPr>
            <a:xfrm>
              <a:off x="6450390" y="3656013"/>
              <a:ext cx="458470" cy="189367"/>
            </a:xfrm>
            <a:prstGeom prst="rect">
              <a:avLst/>
            </a:prstGeom>
          </p:spPr>
        </p:pic>
        <p:pic>
          <p:nvPicPr>
            <p:cNvPr id="287" name="Picture 286"/>
            <p:cNvPicPr>
              <a:picLocks noChangeAspect="1"/>
            </p:cNvPicPr>
            <p:nvPr/>
          </p:nvPicPr>
          <p:blipFill>
            <a:blip r:embed="rId56"/>
            <a:stretch>
              <a:fillRect/>
            </a:stretch>
          </p:blipFill>
          <p:spPr>
            <a:xfrm>
              <a:off x="7908015" y="3503613"/>
              <a:ext cx="403511" cy="262525"/>
            </a:xfrm>
            <a:prstGeom prst="rect">
              <a:avLst/>
            </a:prstGeom>
          </p:spPr>
        </p:pic>
        <p:pic>
          <p:nvPicPr>
            <p:cNvPr id="288" name="Picture 287"/>
            <p:cNvPicPr>
              <a:picLocks noChangeAspect="1"/>
            </p:cNvPicPr>
            <p:nvPr/>
          </p:nvPicPr>
          <p:blipFill>
            <a:blip r:embed="rId57"/>
            <a:stretch>
              <a:fillRect/>
            </a:stretch>
          </p:blipFill>
          <p:spPr>
            <a:xfrm>
              <a:off x="7085344" y="4494213"/>
              <a:ext cx="421389" cy="157318"/>
            </a:xfrm>
            <a:prstGeom prst="rect">
              <a:avLst/>
            </a:prstGeom>
          </p:spPr>
        </p:pic>
        <p:pic>
          <p:nvPicPr>
            <p:cNvPr id="289" name="Picture 288"/>
            <p:cNvPicPr>
              <a:picLocks noChangeAspect="1"/>
            </p:cNvPicPr>
            <p:nvPr/>
          </p:nvPicPr>
          <p:blipFill>
            <a:blip r:embed="rId58"/>
            <a:stretch>
              <a:fillRect/>
            </a:stretch>
          </p:blipFill>
          <p:spPr>
            <a:xfrm>
              <a:off x="5674306" y="3898900"/>
              <a:ext cx="442120" cy="191187"/>
            </a:xfrm>
            <a:prstGeom prst="rect">
              <a:avLst/>
            </a:prstGeom>
          </p:spPr>
        </p:pic>
        <p:pic>
          <p:nvPicPr>
            <p:cNvPr id="290" name="Picture 289"/>
            <p:cNvPicPr>
              <a:picLocks noChangeAspect="1"/>
            </p:cNvPicPr>
            <p:nvPr/>
          </p:nvPicPr>
          <p:blipFill>
            <a:blip r:embed="rId59"/>
            <a:stretch>
              <a:fillRect/>
            </a:stretch>
          </p:blipFill>
          <p:spPr>
            <a:xfrm>
              <a:off x="6816748" y="4194175"/>
              <a:ext cx="420765" cy="198360"/>
            </a:xfrm>
            <a:prstGeom prst="rect">
              <a:avLst/>
            </a:prstGeom>
          </p:spPr>
        </p:pic>
        <p:pic>
          <p:nvPicPr>
            <p:cNvPr id="291" name="Picture 290"/>
            <p:cNvPicPr>
              <a:picLocks noChangeAspect="1"/>
            </p:cNvPicPr>
            <p:nvPr/>
          </p:nvPicPr>
          <p:blipFill>
            <a:blip r:embed="rId60"/>
            <a:stretch>
              <a:fillRect/>
            </a:stretch>
          </p:blipFill>
          <p:spPr>
            <a:xfrm>
              <a:off x="7113258" y="2100263"/>
              <a:ext cx="489107" cy="163036"/>
            </a:xfrm>
            <a:prstGeom prst="rect">
              <a:avLst/>
            </a:prstGeom>
          </p:spPr>
        </p:pic>
        <p:pic>
          <p:nvPicPr>
            <p:cNvPr id="292" name="Picture 291"/>
            <p:cNvPicPr>
              <a:picLocks noChangeAspect="1"/>
            </p:cNvPicPr>
            <p:nvPr/>
          </p:nvPicPr>
          <p:blipFill>
            <a:blip r:embed="rId61"/>
            <a:stretch>
              <a:fillRect/>
            </a:stretch>
          </p:blipFill>
          <p:spPr>
            <a:xfrm>
              <a:off x="7456192" y="3232150"/>
              <a:ext cx="275001" cy="275001"/>
            </a:xfrm>
            <a:prstGeom prst="rect">
              <a:avLst/>
            </a:prstGeom>
          </p:spPr>
        </p:pic>
        <p:pic>
          <p:nvPicPr>
            <p:cNvPr id="293" name="Picture 17" descr="http://www.plusworld.ru/upload/medialibrary/0e9/0e9373d94d1683ec5c52302fd62b6e20.png"/>
            <p:cNvPicPr>
              <a:picLocks noChangeAspect="1" noChangeArrowheads="1"/>
            </p:cNvPicPr>
            <p:nvPr/>
          </p:nvPicPr>
          <p:blipFill>
            <a:blip r:embed="rId6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2841" y="3848100"/>
              <a:ext cx="602608" cy="157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pic>
          <p:nvPicPr>
            <p:cNvPr id="294" name="Picture 293"/>
            <p:cNvPicPr>
              <a:picLocks noChangeAspect="1"/>
            </p:cNvPicPr>
            <p:nvPr/>
          </p:nvPicPr>
          <p:blipFill>
            <a:blip r:embed="rId63"/>
            <a:stretch>
              <a:fillRect/>
            </a:stretch>
          </p:blipFill>
          <p:spPr>
            <a:xfrm>
              <a:off x="6202899" y="3941763"/>
              <a:ext cx="938719" cy="171213"/>
            </a:xfrm>
            <a:prstGeom prst="rect">
              <a:avLst/>
            </a:prstGeom>
          </p:spPr>
        </p:pic>
        <p:pic>
          <p:nvPicPr>
            <p:cNvPr id="295" name="Picture 294"/>
            <p:cNvPicPr>
              <a:picLocks noChangeAspect="1"/>
            </p:cNvPicPr>
            <p:nvPr/>
          </p:nvPicPr>
          <p:blipFill>
            <a:blip r:embed="rId64"/>
            <a:stretch>
              <a:fillRect/>
            </a:stretch>
          </p:blipFill>
          <p:spPr>
            <a:xfrm>
              <a:off x="6404314" y="3421063"/>
              <a:ext cx="679578" cy="144250"/>
            </a:xfrm>
            <a:prstGeom prst="rect">
              <a:avLst/>
            </a:prstGeom>
          </p:spPr>
        </p:pic>
        <p:pic>
          <p:nvPicPr>
            <p:cNvPr id="296" name="Picture 295"/>
            <p:cNvPicPr>
              <a:picLocks noChangeAspect="1"/>
            </p:cNvPicPr>
            <p:nvPr/>
          </p:nvPicPr>
          <p:blipFill>
            <a:blip r:embed="rId65"/>
            <a:stretch>
              <a:fillRect/>
            </a:stretch>
          </p:blipFill>
          <p:spPr>
            <a:xfrm>
              <a:off x="8426660" y="2913063"/>
              <a:ext cx="440939" cy="119116"/>
            </a:xfrm>
            <a:prstGeom prst="rect">
              <a:avLst/>
            </a:prstGeom>
          </p:spPr>
        </p:pic>
        <p:pic>
          <p:nvPicPr>
            <p:cNvPr id="297" name="Picture 296"/>
            <p:cNvPicPr>
              <a:picLocks noChangeAspect="1"/>
            </p:cNvPicPr>
            <p:nvPr/>
          </p:nvPicPr>
          <p:blipFill>
            <a:blip r:embed="rId66"/>
            <a:stretch>
              <a:fillRect/>
            </a:stretch>
          </p:blipFill>
          <p:spPr>
            <a:xfrm>
              <a:off x="5511958" y="3668713"/>
              <a:ext cx="641740" cy="126311"/>
            </a:xfrm>
            <a:prstGeom prst="rect">
              <a:avLst/>
            </a:prstGeom>
          </p:spPr>
        </p:pic>
        <p:pic>
          <p:nvPicPr>
            <p:cNvPr id="298" name="Picture 297"/>
            <p:cNvPicPr>
              <a:picLocks noChangeAspect="1"/>
            </p:cNvPicPr>
            <p:nvPr/>
          </p:nvPicPr>
          <p:blipFill>
            <a:blip r:embed="rId67"/>
            <a:stretch>
              <a:fillRect/>
            </a:stretch>
          </p:blipFill>
          <p:spPr>
            <a:xfrm>
              <a:off x="6763650" y="1935163"/>
              <a:ext cx="375445" cy="204190"/>
            </a:xfrm>
            <a:prstGeom prst="rect">
              <a:avLst/>
            </a:prstGeom>
          </p:spPr>
        </p:pic>
        <p:pic>
          <p:nvPicPr>
            <p:cNvPr id="299" name="Picture 298"/>
            <p:cNvPicPr>
              <a:picLocks noChangeAspect="1"/>
            </p:cNvPicPr>
            <p:nvPr/>
          </p:nvPicPr>
          <p:blipFill>
            <a:blip r:embed="rId68"/>
            <a:stretch>
              <a:fillRect/>
            </a:stretch>
          </p:blipFill>
          <p:spPr>
            <a:xfrm>
              <a:off x="8901795" y="3963988"/>
              <a:ext cx="198721" cy="157428"/>
            </a:xfrm>
            <a:prstGeom prst="rect">
              <a:avLst/>
            </a:prstGeom>
          </p:spPr>
        </p:pic>
        <p:pic>
          <p:nvPicPr>
            <p:cNvPr id="300" name="Picture 299"/>
            <p:cNvPicPr>
              <a:picLocks noChangeAspect="1"/>
            </p:cNvPicPr>
            <p:nvPr/>
          </p:nvPicPr>
          <p:blipFill>
            <a:blip r:embed="rId69"/>
            <a:stretch>
              <a:fillRect/>
            </a:stretch>
          </p:blipFill>
          <p:spPr>
            <a:xfrm>
              <a:off x="7778276" y="2187575"/>
              <a:ext cx="657460" cy="152743"/>
            </a:xfrm>
            <a:prstGeom prst="rect">
              <a:avLst/>
            </a:prstGeom>
          </p:spPr>
        </p:pic>
        <p:pic>
          <p:nvPicPr>
            <p:cNvPr id="301" name="Picture 300"/>
            <p:cNvPicPr>
              <a:picLocks noChangeAspect="1"/>
            </p:cNvPicPr>
            <p:nvPr/>
          </p:nvPicPr>
          <p:blipFill>
            <a:blip r:embed="rId70"/>
            <a:stretch>
              <a:fillRect/>
            </a:stretch>
          </p:blipFill>
          <p:spPr>
            <a:xfrm>
              <a:off x="6158042" y="2109788"/>
              <a:ext cx="522578" cy="162954"/>
            </a:xfrm>
            <a:prstGeom prst="rect">
              <a:avLst/>
            </a:prstGeom>
          </p:spPr>
        </p:pic>
        <p:pic>
          <p:nvPicPr>
            <p:cNvPr id="302" name="Picture 301"/>
            <p:cNvPicPr>
              <a:picLocks noChangeAspect="1"/>
            </p:cNvPicPr>
            <p:nvPr/>
          </p:nvPicPr>
          <p:blipFill>
            <a:blip r:embed="rId71"/>
            <a:stretch>
              <a:fillRect/>
            </a:stretch>
          </p:blipFill>
          <p:spPr>
            <a:xfrm>
              <a:off x="7761582" y="4167188"/>
              <a:ext cx="274835" cy="231440"/>
            </a:xfrm>
            <a:prstGeom prst="rect">
              <a:avLst/>
            </a:prstGeom>
          </p:spPr>
        </p:pic>
        <p:pic>
          <p:nvPicPr>
            <p:cNvPr id="303" name="Picture 302"/>
            <p:cNvPicPr>
              <a:picLocks noChangeAspect="1"/>
            </p:cNvPicPr>
            <p:nvPr/>
          </p:nvPicPr>
          <p:blipFill>
            <a:blip r:embed="rId72"/>
            <a:stretch>
              <a:fillRect/>
            </a:stretch>
          </p:blipFill>
          <p:spPr>
            <a:xfrm>
              <a:off x="7315963" y="1538288"/>
              <a:ext cx="407476" cy="144880"/>
            </a:xfrm>
            <a:prstGeom prst="rect">
              <a:avLst/>
            </a:prstGeom>
          </p:spPr>
        </p:pic>
        <p:pic>
          <p:nvPicPr>
            <p:cNvPr id="304" name="Picture 303"/>
            <p:cNvPicPr>
              <a:picLocks noChangeAspect="1"/>
            </p:cNvPicPr>
            <p:nvPr/>
          </p:nvPicPr>
          <p:blipFill>
            <a:blip r:embed="rId73"/>
            <a:stretch>
              <a:fillRect/>
            </a:stretch>
          </p:blipFill>
          <p:spPr>
            <a:xfrm>
              <a:off x="6854326" y="2419350"/>
              <a:ext cx="418249" cy="168209"/>
            </a:xfrm>
            <a:prstGeom prst="rect">
              <a:avLst/>
            </a:prstGeom>
          </p:spPr>
        </p:pic>
        <p:pic>
          <p:nvPicPr>
            <p:cNvPr id="305" name="Picture 304"/>
            <p:cNvPicPr>
              <a:picLocks noChangeAspect="1"/>
            </p:cNvPicPr>
            <p:nvPr/>
          </p:nvPicPr>
          <p:blipFill>
            <a:blip r:embed="rId74"/>
            <a:stretch>
              <a:fillRect/>
            </a:stretch>
          </p:blipFill>
          <p:spPr>
            <a:xfrm>
              <a:off x="8568199" y="3363913"/>
              <a:ext cx="569368" cy="151832"/>
            </a:xfrm>
            <a:prstGeom prst="rect">
              <a:avLst/>
            </a:prstGeom>
          </p:spPr>
        </p:pic>
        <p:pic>
          <p:nvPicPr>
            <p:cNvPr id="306" name="Picture 305"/>
            <p:cNvPicPr>
              <a:picLocks noChangeAspect="1"/>
            </p:cNvPicPr>
            <p:nvPr/>
          </p:nvPicPr>
          <p:blipFill>
            <a:blip r:embed="rId75"/>
            <a:stretch>
              <a:fillRect/>
            </a:stretch>
          </p:blipFill>
          <p:spPr>
            <a:xfrm>
              <a:off x="7836478" y="3271838"/>
              <a:ext cx="656827" cy="171049"/>
            </a:xfrm>
            <a:prstGeom prst="rect">
              <a:avLst/>
            </a:prstGeom>
          </p:spPr>
        </p:pic>
        <p:pic>
          <p:nvPicPr>
            <p:cNvPr id="307" name="Picture 306"/>
            <p:cNvPicPr>
              <a:picLocks noChangeAspect="1"/>
            </p:cNvPicPr>
            <p:nvPr/>
          </p:nvPicPr>
          <p:blipFill>
            <a:blip r:embed="rId76"/>
            <a:stretch>
              <a:fillRect/>
            </a:stretch>
          </p:blipFill>
          <p:spPr>
            <a:xfrm>
              <a:off x="8474167" y="3616325"/>
              <a:ext cx="713942" cy="201766"/>
            </a:xfrm>
            <a:prstGeom prst="rect">
              <a:avLst/>
            </a:prstGeom>
          </p:spPr>
        </p:pic>
        <p:sp>
          <p:nvSpPr>
            <p:cNvPr id="308" name="Oval 307"/>
            <p:cNvSpPr/>
            <p:nvPr/>
          </p:nvSpPr>
          <p:spPr>
            <a:xfrm>
              <a:off x="5245460" y="1162050"/>
              <a:ext cx="4184786" cy="4184786"/>
            </a:xfrm>
            <a:prstGeom prst="ellipse">
              <a:avLst/>
            </a:prstGeom>
            <a:noFill/>
            <a:ln w="1143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43048" fontAlgn="auto">
                <a:spcBef>
                  <a:spcPts val="0"/>
                </a:spcBef>
                <a:spcAft>
                  <a:spcPts val="0"/>
                </a:spcAft>
              </a:pPr>
              <a:endParaRPr lang="ru-RU" sz="1712" b="0" dirty="0">
                <a:solidFill>
                  <a:srgbClr val="FFFFFF"/>
                </a:solidFill>
              </a:endParaRPr>
            </a:p>
          </p:txBody>
        </p:sp>
        <p:sp>
          <p:nvSpPr>
            <p:cNvPr id="309" name="TextBox 308"/>
            <p:cNvSpPr txBox="1"/>
            <p:nvPr/>
          </p:nvSpPr>
          <p:spPr>
            <a:xfrm rot="1143643">
              <a:off x="6007592" y="5432948"/>
              <a:ext cx="1013696" cy="7584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43048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082" dirty="0" smtClean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Игроки </a:t>
              </a:r>
              <a:r>
                <a:rPr lang="en-US" sz="1082" dirty="0" smtClean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inTech</a:t>
              </a:r>
              <a:r>
                <a:rPr lang="ru-RU" sz="1082" dirty="0" smtClean="0">
                  <a:solidFill>
                    <a:srgbClr val="FFFFFF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на рынке России</a:t>
              </a:r>
              <a:endParaRPr lang="ru-RU" sz="1082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310" name="Picture 309"/>
            <p:cNvPicPr>
              <a:picLocks noChangeAspect="1"/>
            </p:cNvPicPr>
            <p:nvPr/>
          </p:nvPicPr>
          <p:blipFill>
            <a:blip r:embed="rId77"/>
            <a:stretch>
              <a:fillRect/>
            </a:stretch>
          </p:blipFill>
          <p:spPr>
            <a:xfrm>
              <a:off x="7807306" y="2743200"/>
              <a:ext cx="619354" cy="146619"/>
            </a:xfrm>
            <a:prstGeom prst="rect">
              <a:avLst/>
            </a:prstGeom>
          </p:spPr>
        </p:pic>
      </p:grpSp>
      <p:cxnSp>
        <p:nvCxnSpPr>
          <p:cNvPr id="315" name="Straight Arrow Connector 314"/>
          <p:cNvCxnSpPr/>
          <p:nvPr/>
        </p:nvCxnSpPr>
        <p:spPr>
          <a:xfrm flipV="1">
            <a:off x="823215" y="6242743"/>
            <a:ext cx="498680" cy="10498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Oval 315"/>
          <p:cNvSpPr/>
          <p:nvPr/>
        </p:nvSpPr>
        <p:spPr bwMode="auto">
          <a:xfrm>
            <a:off x="904375" y="6215755"/>
            <a:ext cx="274708" cy="158979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756900">
              <a:spcBef>
                <a:spcPct val="30000"/>
              </a:spcBef>
              <a:buClr>
                <a:srgbClr val="008080"/>
              </a:buClr>
              <a:buSzPct val="85000"/>
              <a:tabLst>
                <a:tab pos="1228385" algn="l"/>
              </a:tabLst>
            </a:pPr>
            <a:r>
              <a:rPr lang="en-US" sz="596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X</a:t>
            </a:r>
            <a:r>
              <a:rPr lang="ru-RU" sz="596" dirty="0">
                <a:solidFill>
                  <a:schemeClr val="tx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</a:p>
        </p:txBody>
      </p:sp>
      <p:sp>
        <p:nvSpPr>
          <p:cNvPr id="317" name="TextBox 316"/>
          <p:cNvSpPr txBox="1"/>
          <p:nvPr/>
        </p:nvSpPr>
        <p:spPr>
          <a:xfrm>
            <a:off x="1234775" y="6207818"/>
            <a:ext cx="1615080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r>
              <a:rPr lang="en-US" sz="600" b="0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- </a:t>
            </a:r>
            <a:r>
              <a:rPr lang="ru-RU" sz="600" b="0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реднегодовой рост (</a:t>
            </a:r>
            <a:r>
              <a:rPr lang="en-US" sz="600" b="0" dirty="0">
                <a:solidFill>
                  <a:schemeClr val="tx1">
                    <a:lumMod val="50000"/>
                    <a:lumOff val="50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CAGR)</a:t>
            </a:r>
            <a:endParaRPr lang="ru-RU" sz="600" b="0" dirty="0">
              <a:solidFill>
                <a:schemeClr val="tx1">
                  <a:lumMod val="50000"/>
                  <a:lumOff val="50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22" name="Group 321"/>
          <p:cNvGrpSpPr>
            <a:grpSpLocks noChangeAspect="1"/>
          </p:cNvGrpSpPr>
          <p:nvPr/>
        </p:nvGrpSpPr>
        <p:grpSpPr>
          <a:xfrm>
            <a:off x="875196" y="1249945"/>
            <a:ext cx="411480" cy="410577"/>
            <a:chOff x="4084638" y="2607593"/>
            <a:chExt cx="722313" cy="720726"/>
          </a:xfrm>
          <a:solidFill>
            <a:schemeClr val="tx2"/>
          </a:solidFill>
        </p:grpSpPr>
        <p:sp>
          <p:nvSpPr>
            <p:cNvPr id="323" name="Freeform 122"/>
            <p:cNvSpPr>
              <a:spLocks/>
            </p:cNvSpPr>
            <p:nvPr/>
          </p:nvSpPr>
          <p:spPr bwMode="auto">
            <a:xfrm>
              <a:off x="4438651" y="2817143"/>
              <a:ext cx="225425" cy="301625"/>
            </a:xfrm>
            <a:custGeom>
              <a:avLst/>
              <a:gdLst>
                <a:gd name="T0" fmla="*/ 6 w 60"/>
                <a:gd name="T1" fmla="*/ 20 h 80"/>
                <a:gd name="T2" fmla="*/ 6 w 60"/>
                <a:gd name="T3" fmla="*/ 34 h 80"/>
                <a:gd name="T4" fmla="*/ 2 w 60"/>
                <a:gd name="T5" fmla="*/ 36 h 80"/>
                <a:gd name="T6" fmla="*/ 5 w 60"/>
                <a:gd name="T7" fmla="*/ 50 h 80"/>
                <a:gd name="T8" fmla="*/ 10 w 60"/>
                <a:gd name="T9" fmla="*/ 51 h 80"/>
                <a:gd name="T10" fmla="*/ 14 w 60"/>
                <a:gd name="T11" fmla="*/ 64 h 80"/>
                <a:gd name="T12" fmla="*/ 14 w 60"/>
                <a:gd name="T13" fmla="*/ 72 h 80"/>
                <a:gd name="T14" fmla="*/ 30 w 60"/>
                <a:gd name="T15" fmla="*/ 80 h 80"/>
                <a:gd name="T16" fmla="*/ 46 w 60"/>
                <a:gd name="T17" fmla="*/ 72 h 80"/>
                <a:gd name="T18" fmla="*/ 46 w 60"/>
                <a:gd name="T19" fmla="*/ 64 h 80"/>
                <a:gd name="T20" fmla="*/ 50 w 60"/>
                <a:gd name="T21" fmla="*/ 51 h 80"/>
                <a:gd name="T22" fmla="*/ 55 w 60"/>
                <a:gd name="T23" fmla="*/ 50 h 80"/>
                <a:gd name="T24" fmla="*/ 58 w 60"/>
                <a:gd name="T25" fmla="*/ 36 h 80"/>
                <a:gd name="T26" fmla="*/ 54 w 60"/>
                <a:gd name="T27" fmla="*/ 34 h 80"/>
                <a:gd name="T28" fmla="*/ 54 w 60"/>
                <a:gd name="T29" fmla="*/ 21 h 80"/>
                <a:gd name="T30" fmla="*/ 45 w 60"/>
                <a:gd name="T31" fmla="*/ 8 h 80"/>
                <a:gd name="T32" fmla="*/ 30 w 60"/>
                <a:gd name="T33" fmla="*/ 0 h 80"/>
                <a:gd name="T34" fmla="*/ 6 w 60"/>
                <a:gd name="T35" fmla="*/ 2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80">
                  <a:moveTo>
                    <a:pt x="6" y="20"/>
                  </a:move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23"/>
            <p:cNvSpPr>
              <a:spLocks/>
            </p:cNvSpPr>
            <p:nvPr/>
          </p:nvSpPr>
          <p:spPr bwMode="auto">
            <a:xfrm>
              <a:off x="4295776" y="3107656"/>
              <a:ext cx="511175" cy="220663"/>
            </a:xfrm>
            <a:custGeom>
              <a:avLst/>
              <a:gdLst>
                <a:gd name="T0" fmla="*/ 125 w 136"/>
                <a:gd name="T1" fmla="*/ 13 h 59"/>
                <a:gd name="T2" fmla="*/ 88 w 136"/>
                <a:gd name="T3" fmla="*/ 0 h 59"/>
                <a:gd name="T4" fmla="*/ 76 w 136"/>
                <a:gd name="T5" fmla="*/ 49 h 59"/>
                <a:gd name="T6" fmla="*/ 76 w 136"/>
                <a:gd name="T7" fmla="*/ 29 h 59"/>
                <a:gd name="T8" fmla="*/ 70 w 136"/>
                <a:gd name="T9" fmla="*/ 19 h 59"/>
                <a:gd name="T10" fmla="*/ 76 w 136"/>
                <a:gd name="T11" fmla="*/ 13 h 59"/>
                <a:gd name="T12" fmla="*/ 68 w 136"/>
                <a:gd name="T13" fmla="*/ 5 h 59"/>
                <a:gd name="T14" fmla="*/ 60 w 136"/>
                <a:gd name="T15" fmla="*/ 13 h 59"/>
                <a:gd name="T16" fmla="*/ 66 w 136"/>
                <a:gd name="T17" fmla="*/ 19 h 59"/>
                <a:gd name="T18" fmla="*/ 60 w 136"/>
                <a:gd name="T19" fmla="*/ 29 h 59"/>
                <a:gd name="T20" fmla="*/ 60 w 136"/>
                <a:gd name="T21" fmla="*/ 49 h 59"/>
                <a:gd name="T22" fmla="*/ 48 w 136"/>
                <a:gd name="T23" fmla="*/ 0 h 59"/>
                <a:gd name="T24" fmla="*/ 11 w 136"/>
                <a:gd name="T25" fmla="*/ 13 h 59"/>
                <a:gd name="T26" fmla="*/ 0 w 136"/>
                <a:gd name="T27" fmla="*/ 59 h 59"/>
                <a:gd name="T28" fmla="*/ 136 w 136"/>
                <a:gd name="T29" fmla="*/ 59 h 59"/>
                <a:gd name="T30" fmla="*/ 125 w 136"/>
                <a:gd name="T31" fmla="*/ 13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6" h="59">
                  <a:moveTo>
                    <a:pt x="125" y="13"/>
                  </a:moveTo>
                  <a:cubicBezTo>
                    <a:pt x="121" y="10"/>
                    <a:pt x="88" y="0"/>
                    <a:pt x="88" y="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43"/>
                    <a:pt x="0" y="59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43"/>
                    <a:pt x="129" y="17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24"/>
            <p:cNvSpPr>
              <a:spLocks/>
            </p:cNvSpPr>
            <p:nvPr/>
          </p:nvSpPr>
          <p:spPr bwMode="auto">
            <a:xfrm>
              <a:off x="4084638" y="2607593"/>
              <a:ext cx="474663" cy="481013"/>
            </a:xfrm>
            <a:custGeom>
              <a:avLst/>
              <a:gdLst>
                <a:gd name="T0" fmla="*/ 97 w 126"/>
                <a:gd name="T1" fmla="*/ 119 h 128"/>
                <a:gd name="T2" fmla="*/ 91 w 126"/>
                <a:gd name="T3" fmla="*/ 109 h 128"/>
                <a:gd name="T4" fmla="*/ 64 w 126"/>
                <a:gd name="T5" fmla="*/ 117 h 128"/>
                <a:gd name="T6" fmla="*/ 11 w 126"/>
                <a:gd name="T7" fmla="*/ 64 h 128"/>
                <a:gd name="T8" fmla="*/ 64 w 126"/>
                <a:gd name="T9" fmla="*/ 11 h 128"/>
                <a:gd name="T10" fmla="*/ 114 w 126"/>
                <a:gd name="T11" fmla="*/ 48 h 128"/>
                <a:gd name="T12" fmla="*/ 126 w 126"/>
                <a:gd name="T13" fmla="*/ 48 h 128"/>
                <a:gd name="T14" fmla="*/ 64 w 126"/>
                <a:gd name="T15" fmla="*/ 0 h 128"/>
                <a:gd name="T16" fmla="*/ 0 w 126"/>
                <a:gd name="T17" fmla="*/ 64 h 128"/>
                <a:gd name="T18" fmla="*/ 64 w 126"/>
                <a:gd name="T19" fmla="*/ 128 h 128"/>
                <a:gd name="T20" fmla="*/ 97 w 126"/>
                <a:gd name="T21" fmla="*/ 1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28">
                  <a:moveTo>
                    <a:pt x="97" y="119"/>
                  </a:moveTo>
                  <a:cubicBezTo>
                    <a:pt x="91" y="109"/>
                    <a:pt x="91" y="109"/>
                    <a:pt x="91" y="109"/>
                  </a:cubicBezTo>
                  <a:cubicBezTo>
                    <a:pt x="83" y="114"/>
                    <a:pt x="74" y="117"/>
                    <a:pt x="64" y="117"/>
                  </a:cubicBezTo>
                  <a:cubicBezTo>
                    <a:pt x="35" y="117"/>
                    <a:pt x="11" y="93"/>
                    <a:pt x="11" y="64"/>
                  </a:cubicBezTo>
                  <a:cubicBezTo>
                    <a:pt x="11" y="35"/>
                    <a:pt x="35" y="11"/>
                    <a:pt x="64" y="11"/>
                  </a:cubicBezTo>
                  <a:cubicBezTo>
                    <a:pt x="88" y="11"/>
                    <a:pt x="108" y="27"/>
                    <a:pt x="114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19" y="20"/>
                    <a:pt x="94" y="0"/>
                    <a:pt x="64" y="0"/>
                  </a:cubicBezTo>
                  <a:cubicBezTo>
                    <a:pt x="29" y="0"/>
                    <a:pt x="0" y="29"/>
                    <a:pt x="0" y="64"/>
                  </a:cubicBezTo>
                  <a:cubicBezTo>
                    <a:pt x="0" y="99"/>
                    <a:pt x="29" y="128"/>
                    <a:pt x="64" y="128"/>
                  </a:cubicBezTo>
                  <a:cubicBezTo>
                    <a:pt x="76" y="128"/>
                    <a:pt x="87" y="125"/>
                    <a:pt x="97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125"/>
            <p:cNvSpPr>
              <a:spLocks/>
            </p:cNvSpPr>
            <p:nvPr/>
          </p:nvSpPr>
          <p:spPr bwMode="auto">
            <a:xfrm>
              <a:off x="4235451" y="2698081"/>
              <a:ext cx="180975" cy="300038"/>
            </a:xfrm>
            <a:custGeom>
              <a:avLst/>
              <a:gdLst>
                <a:gd name="T0" fmla="*/ 48 w 48"/>
                <a:gd name="T1" fmla="*/ 28 h 80"/>
                <a:gd name="T2" fmla="*/ 48 w 48"/>
                <a:gd name="T3" fmla="*/ 24 h 80"/>
                <a:gd name="T4" fmla="*/ 32 w 48"/>
                <a:gd name="T5" fmla="*/ 7 h 80"/>
                <a:gd name="T6" fmla="*/ 32 w 48"/>
                <a:gd name="T7" fmla="*/ 0 h 80"/>
                <a:gd name="T8" fmla="*/ 16 w 48"/>
                <a:gd name="T9" fmla="*/ 0 h 80"/>
                <a:gd name="T10" fmla="*/ 16 w 48"/>
                <a:gd name="T11" fmla="*/ 7 h 80"/>
                <a:gd name="T12" fmla="*/ 0 w 48"/>
                <a:gd name="T13" fmla="*/ 24 h 80"/>
                <a:gd name="T14" fmla="*/ 22 w 48"/>
                <a:gd name="T15" fmla="*/ 46 h 80"/>
                <a:gd name="T16" fmla="*/ 37 w 48"/>
                <a:gd name="T17" fmla="*/ 56 h 80"/>
                <a:gd name="T18" fmla="*/ 24 w 48"/>
                <a:gd name="T19" fmla="*/ 65 h 80"/>
                <a:gd name="T20" fmla="*/ 12 w 48"/>
                <a:gd name="T21" fmla="*/ 56 h 80"/>
                <a:gd name="T22" fmla="*/ 12 w 48"/>
                <a:gd name="T23" fmla="*/ 52 h 80"/>
                <a:gd name="T24" fmla="*/ 0 w 48"/>
                <a:gd name="T25" fmla="*/ 52 h 80"/>
                <a:gd name="T26" fmla="*/ 0 w 48"/>
                <a:gd name="T27" fmla="*/ 56 h 80"/>
                <a:gd name="T28" fmla="*/ 16 w 48"/>
                <a:gd name="T29" fmla="*/ 73 h 80"/>
                <a:gd name="T30" fmla="*/ 16 w 48"/>
                <a:gd name="T31" fmla="*/ 80 h 80"/>
                <a:gd name="T32" fmla="*/ 32 w 48"/>
                <a:gd name="T33" fmla="*/ 80 h 80"/>
                <a:gd name="T34" fmla="*/ 32 w 48"/>
                <a:gd name="T35" fmla="*/ 73 h 80"/>
                <a:gd name="T36" fmla="*/ 48 w 48"/>
                <a:gd name="T37" fmla="*/ 55 h 80"/>
                <a:gd name="T38" fmla="*/ 26 w 48"/>
                <a:gd name="T39" fmla="*/ 34 h 80"/>
                <a:gd name="T40" fmla="*/ 11 w 48"/>
                <a:gd name="T41" fmla="*/ 24 h 80"/>
                <a:gd name="T42" fmla="*/ 24 w 48"/>
                <a:gd name="T43" fmla="*/ 15 h 80"/>
                <a:gd name="T44" fmla="*/ 36 w 48"/>
                <a:gd name="T45" fmla="*/ 24 h 80"/>
                <a:gd name="T46" fmla="*/ 36 w 48"/>
                <a:gd name="T47" fmla="*/ 28 h 80"/>
                <a:gd name="T48" fmla="*/ 48 w 48"/>
                <a:gd name="T49" fmla="*/ 2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8" h="80">
                  <a:moveTo>
                    <a:pt x="48" y="28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5"/>
                    <a:pt x="42" y="10"/>
                    <a:pt x="32" y="7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" y="10"/>
                    <a:pt x="0" y="19"/>
                    <a:pt x="0" y="24"/>
                  </a:cubicBezTo>
                  <a:cubicBezTo>
                    <a:pt x="0" y="31"/>
                    <a:pt x="3" y="40"/>
                    <a:pt x="22" y="46"/>
                  </a:cubicBezTo>
                  <a:cubicBezTo>
                    <a:pt x="31" y="48"/>
                    <a:pt x="37" y="49"/>
                    <a:pt x="37" y="56"/>
                  </a:cubicBezTo>
                  <a:cubicBezTo>
                    <a:pt x="37" y="62"/>
                    <a:pt x="32" y="65"/>
                    <a:pt x="24" y="65"/>
                  </a:cubicBezTo>
                  <a:cubicBezTo>
                    <a:pt x="14" y="65"/>
                    <a:pt x="12" y="60"/>
                    <a:pt x="12" y="56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60"/>
                    <a:pt x="0" y="70"/>
                    <a:pt x="16" y="73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48" y="70"/>
                    <a:pt x="48" y="59"/>
                    <a:pt x="48" y="55"/>
                  </a:cubicBezTo>
                  <a:cubicBezTo>
                    <a:pt x="48" y="44"/>
                    <a:pt x="39" y="38"/>
                    <a:pt x="26" y="34"/>
                  </a:cubicBezTo>
                  <a:cubicBezTo>
                    <a:pt x="19" y="32"/>
                    <a:pt x="11" y="30"/>
                    <a:pt x="11" y="24"/>
                  </a:cubicBezTo>
                  <a:cubicBezTo>
                    <a:pt x="11" y="18"/>
                    <a:pt x="16" y="15"/>
                    <a:pt x="24" y="15"/>
                  </a:cubicBezTo>
                  <a:cubicBezTo>
                    <a:pt x="32" y="15"/>
                    <a:pt x="36" y="20"/>
                    <a:pt x="36" y="24"/>
                  </a:cubicBezTo>
                  <a:cubicBezTo>
                    <a:pt x="36" y="28"/>
                    <a:pt x="36" y="28"/>
                    <a:pt x="36" y="28"/>
                  </a:cubicBezTo>
                  <a:lnTo>
                    <a:pt x="48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35" name="TextBox 334"/>
          <p:cNvSpPr txBox="1"/>
          <p:nvPr/>
        </p:nvSpPr>
        <p:spPr>
          <a:xfrm>
            <a:off x="1646944" y="6578353"/>
            <a:ext cx="3510982" cy="12433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8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точник: Фонд развития интернет-инициатив</a:t>
            </a:r>
            <a:endParaRPr lang="en-US" sz="8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77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7348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 dirty="0" err="1" smtClean="0">
              <a:solidFill>
                <a:schemeClr val="bg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5600" y="451575"/>
            <a:ext cx="8254800" cy="385552"/>
          </a:xfrm>
        </p:spPr>
        <p:txBody>
          <a:bodyPr/>
          <a:lstStyle/>
          <a:p>
            <a:r>
              <a:rPr lang="ru-RU" sz="2800" dirty="0"/>
              <a:t>Активное развитие </a:t>
            </a:r>
            <a:r>
              <a:rPr lang="en-US" sz="2800" dirty="0" err="1"/>
              <a:t>FinTech</a:t>
            </a:r>
            <a:r>
              <a:rPr lang="en-US" sz="2800" dirty="0"/>
              <a:t> </a:t>
            </a:r>
            <a:r>
              <a:rPr lang="ru-RU" sz="2800" dirty="0"/>
              <a:t>несет для банков как риски, так и возможности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Rectangle 3"/>
          <p:cNvSpPr/>
          <p:nvPr/>
        </p:nvSpPr>
        <p:spPr>
          <a:xfrm>
            <a:off x="544094" y="976148"/>
            <a:ext cx="8686800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</a:rPr>
              <a:t>I. </a:t>
            </a:r>
            <a:r>
              <a:rPr lang="ru-RU" sz="1200" b="1" dirty="0" smtClean="0">
                <a:solidFill>
                  <a:schemeClr val="tx2"/>
                </a:solidFill>
              </a:rPr>
              <a:t>Риски банков, связанные с развитием </a:t>
            </a:r>
            <a:r>
              <a:rPr lang="en-US" sz="1200" b="1" dirty="0" smtClean="0">
                <a:solidFill>
                  <a:schemeClr val="tx2"/>
                </a:solidFill>
              </a:rPr>
              <a:t>FinTech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44094" y="3209925"/>
            <a:ext cx="8686800" cy="184666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</a:rPr>
              <a:t>II. </a:t>
            </a:r>
            <a:r>
              <a:rPr lang="ru-RU" sz="1200" b="1" dirty="0" smtClean="0">
                <a:solidFill>
                  <a:schemeClr val="tx2"/>
                </a:solidFill>
              </a:rPr>
              <a:t>Возможное использование </a:t>
            </a:r>
            <a:r>
              <a:rPr lang="en-US" sz="1200" b="1" dirty="0" smtClean="0">
                <a:solidFill>
                  <a:schemeClr val="tx2"/>
                </a:solidFill>
              </a:rPr>
              <a:t>FinTech </a:t>
            </a:r>
            <a:r>
              <a:rPr lang="ru-RU" sz="1200" b="1" dirty="0" smtClean="0">
                <a:solidFill>
                  <a:schemeClr val="tx2"/>
                </a:solidFill>
              </a:rPr>
              <a:t>решений</a:t>
            </a:r>
            <a:endParaRPr lang="ru-RU" sz="1200" b="1" dirty="0">
              <a:solidFill>
                <a:schemeClr val="tx2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83938" y="5412471"/>
            <a:ext cx="923544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Isosceles Triangle 7"/>
          <p:cNvSpPr/>
          <p:nvPr/>
        </p:nvSpPr>
        <p:spPr>
          <a:xfrm rot="10800000">
            <a:off x="4361077" y="5354048"/>
            <a:ext cx="1481164" cy="195181"/>
          </a:xfrm>
          <a:prstGeom prst="triangl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GB" dirty="0" smtClean="0"/>
          </a:p>
        </p:txBody>
      </p:sp>
      <p:graphicFrame>
        <p:nvGraphicFramePr>
          <p:cNvPr id="51" name="Object 50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15692117"/>
              </p:ext>
            </p:extLst>
          </p:nvPr>
        </p:nvGraphicFramePr>
        <p:xfrm>
          <a:off x="304799" y="1409700"/>
          <a:ext cx="3267094" cy="1257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9" name="Chart" r:id="rId26" imgW="3267094" imgH="1257351" progId="MSGraph.Chart.8">
                  <p:embed followColorScheme="full"/>
                </p:oleObj>
              </mc:Choice>
              <mc:Fallback>
                <p:oleObj name="Chart" r:id="rId26" imgW="3267094" imgH="12573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304799" y="1409700"/>
                        <a:ext cx="3267094" cy="12573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759075" y="2568575"/>
            <a:ext cx="5873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>
                <a:solidFill>
                  <a:schemeClr val="tx2"/>
                </a:solidFill>
                <a:sym typeface="+mn-lt"/>
              </a:rPr>
              <a:t>Управление </a:t>
            </a: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активами и частным капиталом</a:t>
            </a:r>
            <a:endParaRPr lang="ru-RU" altLang="en-US" sz="8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0" name="Rectangle 9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985963" y="2568575"/>
            <a:ext cx="67786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В среднем по финансовым организациям</a:t>
            </a:r>
            <a:endParaRPr lang="ru-RU" altLang="en-US" sz="8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2" name="Rectangle 1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276350" y="2568575"/>
            <a:ext cx="638175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Банки (кредитный и депозитный бизнес)</a:t>
            </a:r>
            <a:endParaRPr lang="ru-RU" altLang="en-US" sz="8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11" name="Rectangle 1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09600" y="2568575"/>
            <a:ext cx="5048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800" dirty="0">
                <a:solidFill>
                  <a:schemeClr val="tx2"/>
                </a:solidFill>
                <a:sym typeface="+mn-lt"/>
              </a:rPr>
              <a:t>Денежные </a:t>
            </a:r>
            <a:r>
              <a:rPr lang="ru-RU" sz="800" dirty="0" smtClean="0">
                <a:solidFill>
                  <a:schemeClr val="tx2"/>
                </a:solidFill>
                <a:sym typeface="+mn-lt"/>
              </a:rPr>
              <a:t>переводы </a:t>
            </a:r>
            <a:r>
              <a:rPr lang="ru-RU" sz="800" dirty="0">
                <a:solidFill>
                  <a:schemeClr val="tx2"/>
                </a:solidFill>
                <a:sym typeface="+mn-lt"/>
              </a:rPr>
              <a:t>и платежи</a:t>
            </a:r>
          </a:p>
        </p:txBody>
      </p:sp>
      <p:sp>
        <p:nvSpPr>
          <p:cNvPr id="15" name="Rectangle 14"/>
          <p:cNvSpPr/>
          <p:nvPr/>
        </p:nvSpPr>
        <p:spPr bwMode="ltGray">
          <a:xfrm>
            <a:off x="499499" y="1216528"/>
            <a:ext cx="2913386" cy="18288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Риск потери части бизнес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ltGray">
          <a:xfrm>
            <a:off x="499499" y="1420813"/>
            <a:ext cx="2913386" cy="164850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5113" indent="-265113">
              <a:buFont typeface="+mj-lt"/>
              <a:buAutoNum type="arabicParenR"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ltGray">
          <a:xfrm>
            <a:off x="3532640" y="1216528"/>
            <a:ext cx="2913386" cy="18288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Основные угрозы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ltGray">
          <a:xfrm>
            <a:off x="3532640" y="1420813"/>
            <a:ext cx="2913386" cy="164850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65113" indent="-265113">
              <a:buFont typeface="+mj-lt"/>
              <a:buAutoNum type="arabicParenR"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ltGray">
          <a:xfrm>
            <a:off x="6701620" y="1216528"/>
            <a:ext cx="3005135" cy="18288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Выводы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ltGray">
          <a:xfrm>
            <a:off x="6701620" y="1420813"/>
            <a:ext cx="3005135" cy="164592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0" dirty="0" smtClean="0">
                <a:solidFill>
                  <a:schemeClr val="tx1"/>
                </a:solidFill>
              </a:rPr>
              <a:t>Наибольшее давление со стороны </a:t>
            </a:r>
            <a:r>
              <a:rPr lang="en-US" sz="1000" b="0" dirty="0" smtClean="0">
                <a:solidFill>
                  <a:schemeClr val="tx1"/>
                </a:solidFill>
              </a:rPr>
              <a:t>FinTech </a:t>
            </a:r>
            <a:r>
              <a:rPr lang="ru-RU" sz="1000" b="0" dirty="0" smtClean="0">
                <a:solidFill>
                  <a:schemeClr val="tx1"/>
                </a:solidFill>
              </a:rPr>
              <a:t>ощущают </a:t>
            </a:r>
            <a:r>
              <a:rPr lang="ru-RU" sz="1000" dirty="0" smtClean="0">
                <a:solidFill>
                  <a:schemeClr val="tx1"/>
                </a:solidFill>
              </a:rPr>
              <a:t>банки</a:t>
            </a:r>
            <a:r>
              <a:rPr lang="ru-RU" sz="1000" b="0" dirty="0" smtClean="0">
                <a:solidFill>
                  <a:schemeClr val="tx1"/>
                </a:solidFill>
              </a:rPr>
              <a:t> и компании, предоставляющие услуги по </a:t>
            </a:r>
            <a:r>
              <a:rPr lang="ru-RU" sz="1000" dirty="0" smtClean="0">
                <a:solidFill>
                  <a:schemeClr val="tx1"/>
                </a:solidFill>
              </a:rPr>
              <a:t>осуществлению денежных переводов</a:t>
            </a:r>
          </a:p>
          <a:p>
            <a:pPr marL="177800" indent="-1778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000" b="0" dirty="0" smtClean="0">
                <a:solidFill>
                  <a:schemeClr val="tx1"/>
                </a:solidFill>
              </a:rPr>
              <a:t>Развитие компаний </a:t>
            </a:r>
            <a:r>
              <a:rPr lang="en-US" sz="1000" b="0" dirty="0" smtClean="0">
                <a:solidFill>
                  <a:schemeClr val="tx1"/>
                </a:solidFill>
              </a:rPr>
              <a:t>FinTech </a:t>
            </a:r>
            <a:r>
              <a:rPr lang="ru-RU" sz="1000" b="0" dirty="0" smtClean="0">
                <a:solidFill>
                  <a:schemeClr val="tx1"/>
                </a:solidFill>
              </a:rPr>
              <a:t>оказывает влияние на </a:t>
            </a:r>
            <a:r>
              <a:rPr lang="ru-RU" sz="1000" dirty="0" smtClean="0">
                <a:solidFill>
                  <a:schemeClr val="tx1"/>
                </a:solidFill>
              </a:rPr>
              <a:t>все основные аспекты банковского бизнеса </a:t>
            </a:r>
            <a:r>
              <a:rPr lang="ru-RU" sz="1000" b="0" dirty="0" smtClean="0">
                <a:solidFill>
                  <a:schemeClr val="tx1"/>
                </a:solidFill>
              </a:rPr>
              <a:t>(в том числе рентабельность бизнеса, долю рынка, и уровень оттока клиентов)</a:t>
            </a:r>
          </a:p>
        </p:txBody>
      </p:sp>
      <p:sp>
        <p:nvSpPr>
          <p:cNvPr id="22" name="Isosceles Triangle 21"/>
          <p:cNvSpPr/>
          <p:nvPr/>
        </p:nvSpPr>
        <p:spPr>
          <a:xfrm rot="5400000">
            <a:off x="5838760" y="2124075"/>
            <a:ext cx="1481164" cy="193687"/>
          </a:xfrm>
          <a:prstGeom prst="triangle">
            <a:avLst/>
          </a:prstGeom>
          <a:solidFill>
            <a:schemeClr val="bg2">
              <a:lumMod val="90000"/>
            </a:schemeClr>
          </a:solidFill>
          <a:ln w="381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GB" dirty="0" smtClean="0"/>
          </a:p>
        </p:txBody>
      </p:sp>
      <p:graphicFrame>
        <p:nvGraphicFramePr>
          <p:cNvPr id="52" name="Object 5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611932660"/>
              </p:ext>
            </p:extLst>
          </p:nvPr>
        </p:nvGraphicFramePr>
        <p:xfrm>
          <a:off x="3352800" y="1409700"/>
          <a:ext cx="3247929" cy="12573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0" name="Chart" r:id="rId28" imgW="3247929" imgH="1257351" progId="MSGraph.Chart.8">
                  <p:embed followColorScheme="full"/>
                </p:oleObj>
              </mc:Choice>
              <mc:Fallback>
                <p:oleObj name="Chart" r:id="rId28" imgW="3247929" imgH="125735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352800" y="1409700"/>
                        <a:ext cx="3247929" cy="12573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5789613" y="2568575"/>
            <a:ext cx="5842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>
                <a:solidFill>
                  <a:schemeClr val="tx2"/>
                </a:solidFill>
                <a:sym typeface="+mn-lt"/>
              </a:rPr>
              <a:t>Увеличение оттока клиентов</a:t>
            </a: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100638" y="2568575"/>
            <a:ext cx="5064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Инф</a:t>
            </a:r>
            <a:r>
              <a:rPr lang="en-US" altLang="en-US" sz="800" dirty="0" smtClean="0">
                <a:solidFill>
                  <a:schemeClr val="tx2"/>
                </a:solidFill>
                <a:sym typeface="+mn-lt"/>
              </a:rPr>
              <a:t>.</a:t>
            </a: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безо</a:t>
            </a:r>
            <a:r>
              <a:rPr lang="en-US" altLang="en-US" sz="800" dirty="0" smtClean="0">
                <a:solidFill>
                  <a:schemeClr val="tx2"/>
                </a:solidFill>
                <a:sym typeface="+mn-lt"/>
              </a:rPr>
              <a:t>-</a:t>
            </a:r>
            <a:r>
              <a:rPr lang="ru-RU" altLang="en-US" sz="800" dirty="0" err="1" smtClean="0">
                <a:solidFill>
                  <a:schemeClr val="tx2"/>
                </a:solidFill>
                <a:sym typeface="+mn-lt"/>
              </a:rPr>
              <a:t>пасность</a:t>
            </a: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/</a:t>
            </a:r>
            <a:r>
              <a:rPr lang="en-US" altLang="en-US" sz="800" dirty="0" smtClean="0">
                <a:solidFill>
                  <a:schemeClr val="tx2"/>
                </a:solidFill>
                <a:sym typeface="+mn-lt"/>
              </a:rPr>
              <a:t/>
            </a:r>
            <a:br>
              <a:rPr lang="en-US" altLang="en-US" sz="800" dirty="0" smtClean="0">
                <a:solidFill>
                  <a:schemeClr val="tx2"/>
                </a:solidFill>
                <a:sym typeface="+mn-lt"/>
              </a:rPr>
            </a:b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угроза </a:t>
            </a:r>
            <a:r>
              <a:rPr lang="ru-RU" altLang="en-US" sz="800" dirty="0">
                <a:solidFill>
                  <a:schemeClr val="tx2"/>
                </a:solidFill>
                <a:sym typeface="+mn-lt"/>
              </a:rPr>
              <a:t>пиратства</a:t>
            </a:r>
          </a:p>
        </p:txBody>
      </p:sp>
      <p:sp>
        <p:nvSpPr>
          <p:cNvPr id="25" name="Rectangle 2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314825" y="2568575"/>
            <a:ext cx="6191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>
                <a:solidFill>
                  <a:schemeClr val="tx2"/>
                </a:solidFill>
                <a:sym typeface="+mn-lt"/>
              </a:rPr>
              <a:t>Потеря доли </a:t>
            </a:r>
            <a:endParaRPr lang="ru-RU" altLang="en-US" sz="800" dirty="0" smtClean="0">
              <a:solidFill>
                <a:schemeClr val="tx2"/>
              </a:solidFill>
              <a:sym typeface="+mn-lt"/>
            </a:endParaRPr>
          </a:p>
          <a:p>
            <a:pPr marL="0" indent="0" algn="ctr">
              <a:spcBef>
                <a:spcPct val="0"/>
              </a:spcBef>
              <a:buNone/>
            </a:pPr>
            <a:r>
              <a:rPr lang="ru-RU" altLang="en-US" sz="800" dirty="0" smtClean="0">
                <a:solidFill>
                  <a:schemeClr val="tx2"/>
                </a:solidFill>
                <a:sym typeface="+mn-lt"/>
              </a:rPr>
              <a:t>рынка</a:t>
            </a:r>
            <a:endParaRPr lang="ru-RU" altLang="en-US" sz="8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3652838" y="2568575"/>
            <a:ext cx="47783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800" dirty="0">
                <a:solidFill>
                  <a:schemeClr val="tx2"/>
                </a:solidFill>
                <a:sym typeface="+mn-lt"/>
              </a:rPr>
              <a:t>Давление на маржу прибыли</a:t>
            </a:r>
          </a:p>
        </p:txBody>
      </p:sp>
      <p:sp>
        <p:nvSpPr>
          <p:cNvPr id="29" name="Rectangle 28"/>
          <p:cNvSpPr/>
          <p:nvPr/>
        </p:nvSpPr>
        <p:spPr bwMode="ltGray">
          <a:xfrm>
            <a:off x="504780" y="3446463"/>
            <a:ext cx="5029200" cy="18288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Описание возможностей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ltGray">
          <a:xfrm>
            <a:off x="499498" y="3654425"/>
            <a:ext cx="5029200" cy="1620000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400"/>
              </a:spcAft>
            </a:pPr>
            <a:r>
              <a:rPr lang="ru-RU" sz="1000" b="0" dirty="0" smtClean="0">
                <a:solidFill>
                  <a:schemeClr val="tx1"/>
                </a:solidFill>
              </a:rPr>
              <a:t>Использование </a:t>
            </a:r>
            <a:r>
              <a:rPr lang="en-US" sz="1000" b="0" dirty="0" smtClean="0">
                <a:solidFill>
                  <a:schemeClr val="tx1"/>
                </a:solidFill>
              </a:rPr>
              <a:t>FinTech </a:t>
            </a:r>
            <a:r>
              <a:rPr lang="ru-RU" sz="1000" b="0" dirty="0" smtClean="0">
                <a:solidFill>
                  <a:schemeClr val="tx1"/>
                </a:solidFill>
              </a:rPr>
              <a:t>решений может позволить банкам значительно повысить эффективность бизнеса, в том числе:</a:t>
            </a:r>
          </a:p>
          <a:p>
            <a:pPr marL="360000" lvl="1" indent="-177800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ru-RU" sz="1000" b="0" dirty="0">
                <a:solidFill>
                  <a:schemeClr val="tx1"/>
                </a:solidFill>
              </a:rPr>
              <a:t>с</a:t>
            </a:r>
            <a:r>
              <a:rPr lang="ru-RU" sz="1000" b="0" dirty="0" smtClean="0">
                <a:solidFill>
                  <a:schemeClr val="tx1"/>
                </a:solidFill>
              </a:rPr>
              <a:t>ократить затраты за счет </a:t>
            </a:r>
            <a:r>
              <a:rPr lang="ru-RU" sz="1000" dirty="0" smtClean="0">
                <a:solidFill>
                  <a:schemeClr val="tx1"/>
                </a:solidFill>
              </a:rPr>
              <a:t>рационализации основных процессов</a:t>
            </a:r>
            <a:r>
              <a:rPr lang="ru-RU" sz="1000" b="0" dirty="0" smtClean="0">
                <a:solidFill>
                  <a:schemeClr val="tx1"/>
                </a:solidFill>
              </a:rPr>
              <a:t> (например, использование удаленных рабочих мест и цифровых каналов)</a:t>
            </a:r>
          </a:p>
          <a:p>
            <a:pPr marL="360000" lvl="1" indent="-177800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chemeClr val="tx1"/>
                </a:solidFill>
              </a:rPr>
              <a:t>д</a:t>
            </a:r>
            <a:r>
              <a:rPr lang="ru-RU" sz="1000" dirty="0" smtClean="0">
                <a:solidFill>
                  <a:schemeClr val="tx1"/>
                </a:solidFill>
              </a:rPr>
              <a:t>ифференцировать бизнес </a:t>
            </a:r>
            <a:r>
              <a:rPr lang="ru-RU" sz="1000" b="0" dirty="0" smtClean="0">
                <a:solidFill>
                  <a:schemeClr val="tx1"/>
                </a:solidFill>
              </a:rPr>
              <a:t>за счет более клиентоориентированной модели разработки продуктов и обслуживания клиентской базы</a:t>
            </a:r>
          </a:p>
          <a:p>
            <a:pPr marL="360000" lvl="1" indent="-177800">
              <a:spcAft>
                <a:spcPts val="400"/>
              </a:spcAft>
              <a:buFont typeface="Wingdings" panose="05000000000000000000" pitchFamily="2" charset="2"/>
              <a:buChar char="§"/>
            </a:pPr>
            <a:r>
              <a:rPr lang="ru-RU" sz="1000" b="0" dirty="0">
                <a:solidFill>
                  <a:schemeClr val="tx1"/>
                </a:solidFill>
              </a:rPr>
              <a:t>п</a:t>
            </a:r>
            <a:r>
              <a:rPr lang="ru-RU" sz="1000" b="0" dirty="0" smtClean="0">
                <a:solidFill>
                  <a:schemeClr val="tx1"/>
                </a:solidFill>
              </a:rPr>
              <a:t>овысить </a:t>
            </a:r>
            <a:r>
              <a:rPr lang="ru-RU" sz="1000" dirty="0" smtClean="0">
                <a:solidFill>
                  <a:schemeClr val="tx1"/>
                </a:solidFill>
              </a:rPr>
              <a:t>эффективность удержания клиентской базы </a:t>
            </a:r>
            <a:r>
              <a:rPr lang="ru-RU" sz="1000" b="0" dirty="0" smtClean="0">
                <a:solidFill>
                  <a:schemeClr val="tx1"/>
                </a:solidFill>
              </a:rPr>
              <a:t>за счет предложения более широкого перечня продуктов, включая небанковские (например, используя модель маркетплейса на базе интернет-банка)</a:t>
            </a:r>
          </a:p>
        </p:txBody>
      </p:sp>
      <p:sp>
        <p:nvSpPr>
          <p:cNvPr id="32" name="Rectangle 31"/>
          <p:cNvSpPr/>
          <p:nvPr/>
        </p:nvSpPr>
        <p:spPr bwMode="ltGray">
          <a:xfrm>
            <a:off x="5654842" y="3446463"/>
            <a:ext cx="4050792" cy="182880"/>
          </a:xfrm>
          <a:prstGeom prst="rect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Возможности для банков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 bwMode="ltGray">
          <a:xfrm>
            <a:off x="5654842" y="3654425"/>
            <a:ext cx="4051913" cy="162000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>
              <a:buFont typeface="+mj-lt"/>
              <a:buAutoNum type="arabicPeriod"/>
            </a:pPr>
            <a:endParaRPr lang="ru-RU" sz="1000" b="0" dirty="0" smtClean="0">
              <a:solidFill>
                <a:schemeClr val="tx1"/>
              </a:solidFill>
            </a:endParaRPr>
          </a:p>
        </p:txBody>
      </p:sp>
      <p:graphicFrame>
        <p:nvGraphicFramePr>
          <p:cNvPr id="53" name="Object 52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12787064"/>
              </p:ext>
            </p:extLst>
          </p:nvPr>
        </p:nvGraphicFramePr>
        <p:xfrm>
          <a:off x="5600700" y="3543300"/>
          <a:ext cx="4181384" cy="1590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1" name="Chart" r:id="rId30" imgW="4181384" imgH="1590719" progId="MSGraph.Chart.8">
                  <p:embed followColorScheme="full"/>
                </p:oleObj>
              </mc:Choice>
              <mc:Fallback>
                <p:oleObj name="Chart" r:id="rId30" imgW="4181384" imgH="15907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5600700" y="3543300"/>
                        <a:ext cx="4181384" cy="15907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782050" y="5016500"/>
            <a:ext cx="7048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700" dirty="0" smtClean="0">
                <a:solidFill>
                  <a:schemeClr val="tx2"/>
                </a:solidFill>
                <a:sym typeface="+mn-lt"/>
              </a:rPr>
              <a:t>Дополнительная </a:t>
            </a:r>
            <a:r>
              <a:rPr lang="en-US" altLang="en-US" sz="700" dirty="0" smtClean="0">
                <a:solidFill>
                  <a:schemeClr val="tx2"/>
                </a:solidFill>
                <a:sym typeface="+mn-lt"/>
              </a:rPr>
              <a:t/>
            </a:r>
            <a:br>
              <a:rPr lang="en-US" altLang="en-US" sz="700" dirty="0" smtClean="0">
                <a:solidFill>
                  <a:schemeClr val="tx2"/>
                </a:solidFill>
                <a:sym typeface="+mn-lt"/>
              </a:rPr>
            </a:br>
            <a:r>
              <a:rPr lang="ru-RU" altLang="en-US" sz="700" dirty="0" smtClean="0">
                <a:solidFill>
                  <a:schemeClr val="tx2"/>
                </a:solidFill>
                <a:sym typeface="+mn-lt"/>
              </a:rPr>
              <a:t>выручка</a:t>
            </a:r>
            <a:endParaRPr lang="ru-RU" altLang="en-US" sz="7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7" name="Rectangle 36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753350" y="5016500"/>
            <a:ext cx="866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sz="700" dirty="0" smtClean="0">
                <a:solidFill>
                  <a:schemeClr val="tx2"/>
                </a:solidFill>
                <a:sym typeface="+mn-lt"/>
              </a:rPr>
              <a:t>Эффективное удержание клиентов</a:t>
            </a:r>
            <a:endParaRPr lang="ru-RU" altLang="en-US" sz="7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6858000" y="5016500"/>
            <a:ext cx="762000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ru-RU" altLang="en-US" sz="700" dirty="0" smtClean="0">
                <a:solidFill>
                  <a:schemeClr val="tx2"/>
                </a:solidFill>
                <a:sym typeface="+mn-lt"/>
              </a:rPr>
              <a:t>Дифференциация</a:t>
            </a:r>
            <a:endParaRPr lang="ru-RU" altLang="en-US" sz="7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6" name="Rectangle 35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872163" y="5016500"/>
            <a:ext cx="830263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sz="700" dirty="0">
                <a:solidFill>
                  <a:schemeClr val="tx2"/>
                </a:solidFill>
                <a:sym typeface="+mn-lt"/>
              </a:rPr>
              <a:t>Сокращение затрат</a:t>
            </a:r>
          </a:p>
        </p:txBody>
      </p:sp>
      <p:sp>
        <p:nvSpPr>
          <p:cNvPr id="39" name="Rectangle 38"/>
          <p:cNvSpPr/>
          <p:nvPr>
            <p:custDataLst>
              <p:tags r:id="rId19"/>
            </p:custDataLst>
          </p:nvPr>
        </p:nvSpPr>
        <p:spPr bwMode="auto">
          <a:xfrm>
            <a:off x="7496175" y="3697288"/>
            <a:ext cx="125413" cy="93663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40" name="Rectangle 39"/>
          <p:cNvSpPr/>
          <p:nvPr>
            <p:custDataLst>
              <p:tags r:id="rId20"/>
            </p:custDataLst>
          </p:nvPr>
        </p:nvSpPr>
        <p:spPr bwMode="auto">
          <a:xfrm>
            <a:off x="6772275" y="3697288"/>
            <a:ext cx="125413" cy="93663"/>
          </a:xfrm>
          <a:prstGeom prst="rect">
            <a:avLst/>
          </a:prstGeom>
          <a:solidFill>
            <a:schemeClr val="accent3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Franklin Gothic Book" pitchFamily="34" charset="0"/>
            </a:endParaRPr>
          </a:p>
        </p:txBody>
      </p:sp>
      <p:sp>
        <p:nvSpPr>
          <p:cNvPr id="42" name="Rectangle 41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7672388" y="3694113"/>
            <a:ext cx="293688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790B06-ED94-4ADE-AC14-5EB4E18C2CB8}" type="datetime'''''''''''Р''''''''''''ос''''''с''''''''''и''''я'">
              <a:rPr lang="ru-RU" altLang="en-US" sz="700">
                <a:solidFill>
                  <a:schemeClr val="tx2"/>
                </a:solidFill>
                <a:sym typeface="+mn-lt"/>
              </a:rPr>
              <a:pPr/>
              <a:t>Россия</a:t>
            </a:fld>
            <a:endParaRPr lang="ru-RU" altLang="ru-RU" sz="700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41" name="Rectangle 40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6948488" y="3694113"/>
            <a:ext cx="446088" cy="106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84163" indent="-284163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2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704850" indent="-165100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017588" indent="-153988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330325" indent="-155575" algn="l" defTabSz="796925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5pPr>
            <a:lvl6pPr marL="1711786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6pPr>
            <a:lvl7pPr marL="209277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7pPr>
            <a:lvl8pPr marL="2473755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8pPr>
            <a:lvl9pPr marL="2854740" indent="-156098" algn="l" defTabSz="797687" rtl="0" fontAlgn="base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C08862C-4804-40C9-BFC0-66EA9544CA55}" type="datetime'''''Глоб''''''а''''л''''''''''''ь''''''н''''''''''''о'''''">
              <a:rPr lang="ru-RU" altLang="en-US" sz="700">
                <a:solidFill>
                  <a:schemeClr val="tx2"/>
                </a:solidFill>
                <a:sym typeface="+mn-lt"/>
              </a:rPr>
              <a:pPr/>
              <a:t>Глобально</a:t>
            </a:fld>
            <a:endParaRPr lang="ru-RU" altLang="ru-RU" sz="700" dirty="0" smtClean="0">
              <a:solidFill>
                <a:schemeClr val="tx2"/>
              </a:solidFill>
              <a:sym typeface="+mn-lt"/>
            </a:endParaRPr>
          </a:p>
        </p:txBody>
      </p:sp>
      <p:sp>
        <p:nvSpPr>
          <p:cNvPr id="43" name="Rectangle 42"/>
          <p:cNvSpPr/>
          <p:nvPr/>
        </p:nvSpPr>
        <p:spPr bwMode="ltGray">
          <a:xfrm>
            <a:off x="1306778" y="5594684"/>
            <a:ext cx="8412480" cy="89033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1" dirty="0" smtClean="0">
                <a:solidFill>
                  <a:schemeClr val="tx1"/>
                </a:solidFill>
              </a:rPr>
              <a:t>Для устранения рисков и реализации преимуществ, связанных с развитием </a:t>
            </a:r>
            <a:r>
              <a:rPr lang="en-US" sz="1000" b="1" dirty="0" smtClean="0">
                <a:solidFill>
                  <a:schemeClr val="tx1"/>
                </a:solidFill>
              </a:rPr>
              <a:t>FinTech</a:t>
            </a:r>
            <a:r>
              <a:rPr lang="ru-RU" sz="1000" b="1" dirty="0" smtClean="0">
                <a:solidFill>
                  <a:schemeClr val="tx1"/>
                </a:solidFill>
              </a:rPr>
              <a:t>,</a:t>
            </a:r>
            <a:r>
              <a:rPr lang="en-US" sz="1000" b="1" dirty="0" smtClean="0">
                <a:solidFill>
                  <a:schemeClr val="tx1"/>
                </a:solidFill>
              </a:rPr>
              <a:t> </a:t>
            </a:r>
            <a:r>
              <a:rPr lang="ru-RU" sz="1000" b="1" dirty="0" smtClean="0">
                <a:solidFill>
                  <a:schemeClr val="tx1"/>
                </a:solidFill>
              </a:rPr>
              <a:t>банки могут использовать 3 различных альтернативы: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1" dirty="0">
                <a:solidFill>
                  <a:schemeClr val="tx1"/>
                </a:solidFill>
              </a:rPr>
              <a:t>с</a:t>
            </a:r>
            <a:r>
              <a:rPr lang="ru-RU" sz="1000" b="1" dirty="0" smtClean="0">
                <a:solidFill>
                  <a:schemeClr val="tx1"/>
                </a:solidFill>
              </a:rPr>
              <a:t>амостоятельно внедрять </a:t>
            </a:r>
            <a:r>
              <a:rPr lang="en-US" sz="1000" b="1" dirty="0" smtClean="0">
                <a:solidFill>
                  <a:schemeClr val="tx1"/>
                </a:solidFill>
              </a:rPr>
              <a:t>FinTech </a:t>
            </a:r>
            <a:r>
              <a:rPr lang="ru-RU" sz="1000" b="1" dirty="0" smtClean="0">
                <a:solidFill>
                  <a:schemeClr val="tx1"/>
                </a:solidFill>
              </a:rPr>
              <a:t>решения в бизнес-модель Банк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1" dirty="0">
                <a:solidFill>
                  <a:schemeClr val="tx1"/>
                </a:solidFill>
              </a:rPr>
              <a:t>о</a:t>
            </a:r>
            <a:r>
              <a:rPr lang="ru-RU" sz="1000" b="1" dirty="0" smtClean="0">
                <a:solidFill>
                  <a:schemeClr val="tx1"/>
                </a:solidFill>
              </a:rPr>
              <a:t>рганизовывать совместную деятельность с компаниями </a:t>
            </a:r>
            <a:r>
              <a:rPr lang="en-US" sz="1000" b="1" dirty="0" smtClean="0">
                <a:solidFill>
                  <a:schemeClr val="tx1"/>
                </a:solidFill>
              </a:rPr>
              <a:t>FinTech </a:t>
            </a:r>
            <a:r>
              <a:rPr lang="ru-RU" sz="1000" b="1" dirty="0" smtClean="0">
                <a:solidFill>
                  <a:schemeClr val="tx1"/>
                </a:solidFill>
              </a:rPr>
              <a:t>на условиях совместного партнёрства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b="1" dirty="0">
                <a:solidFill>
                  <a:schemeClr val="tx1"/>
                </a:solidFill>
              </a:rPr>
              <a:t>п</a:t>
            </a:r>
            <a:r>
              <a:rPr lang="ru-RU" sz="1000" b="1" dirty="0" smtClean="0">
                <a:solidFill>
                  <a:schemeClr val="tx1"/>
                </a:solidFill>
              </a:rPr>
              <a:t>риобретать </a:t>
            </a:r>
            <a:r>
              <a:rPr lang="en-US" sz="1000" b="1" dirty="0" smtClean="0">
                <a:solidFill>
                  <a:schemeClr val="tx1"/>
                </a:solidFill>
              </a:rPr>
              <a:t>FinTech </a:t>
            </a:r>
            <a:r>
              <a:rPr lang="ru-RU" sz="1000" b="1" dirty="0" smtClean="0">
                <a:solidFill>
                  <a:schemeClr val="tx1"/>
                </a:solidFill>
              </a:rPr>
              <a:t>компании для получения доступа к их клиентской базе и контроля над стратегическими решениями</a:t>
            </a:r>
            <a:endParaRPr lang="en-GB" sz="1000" b="1" dirty="0" smtClean="0">
              <a:solidFill>
                <a:schemeClr val="accent2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ltGray">
          <a:xfrm>
            <a:off x="505326" y="5582652"/>
            <a:ext cx="789614" cy="88696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Выводы:</a:t>
            </a:r>
            <a:endParaRPr lang="en-GB" sz="1200" b="1" dirty="0" smtClean="0">
              <a:solidFill>
                <a:schemeClr val="bg1"/>
              </a:solidFill>
            </a:endParaRPr>
          </a:p>
        </p:txBody>
      </p:sp>
      <p:sp>
        <p:nvSpPr>
          <p:cNvPr id="45" name="Oval 44"/>
          <p:cNvSpPr>
            <a:spLocks noChangeAspect="1"/>
          </p:cNvSpPr>
          <p:nvPr/>
        </p:nvSpPr>
        <p:spPr bwMode="auto">
          <a:xfrm>
            <a:off x="6757661" y="1484313"/>
            <a:ext cx="180000" cy="180000"/>
          </a:xfrm>
          <a:prstGeom prst="ellipse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1</a:t>
            </a: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6" name="Oval 45"/>
          <p:cNvSpPr>
            <a:spLocks noChangeAspect="1"/>
          </p:cNvSpPr>
          <p:nvPr/>
        </p:nvSpPr>
        <p:spPr bwMode="auto">
          <a:xfrm>
            <a:off x="6757661" y="2176463"/>
            <a:ext cx="180000" cy="180000"/>
          </a:xfrm>
          <a:prstGeom prst="ellipse">
            <a:avLst/>
          </a:prstGeom>
          <a:solidFill>
            <a:schemeClr val="accent1"/>
          </a:solidFill>
          <a:ln w="158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57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2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</a:rPr>
              <a:t>                      </a:t>
            </a:r>
            <a:endParaRPr kumimoji="0" lang="ru-RU" sz="9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550451" y="1395413"/>
            <a:ext cx="20149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" dirty="0" smtClean="0"/>
              <a:t>% от опрошенных респондентов, обозначивших подверженность бизнеса риску</a:t>
            </a:r>
            <a:endParaRPr lang="ru-RU" sz="600" dirty="0"/>
          </a:p>
        </p:txBody>
      </p:sp>
      <p:sp>
        <p:nvSpPr>
          <p:cNvPr id="48" name="TextBox 47"/>
          <p:cNvSpPr txBox="1"/>
          <p:nvPr/>
        </p:nvSpPr>
        <p:spPr>
          <a:xfrm>
            <a:off x="5091977" y="1411288"/>
            <a:ext cx="14077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dirty="0" smtClean="0"/>
              <a:t>% от опрошенных респондентов, </a:t>
            </a:r>
            <a:br>
              <a:rPr lang="ru-RU" sz="600" dirty="0" smtClean="0"/>
            </a:br>
            <a:r>
              <a:rPr lang="ru-RU" sz="600" dirty="0" smtClean="0"/>
              <a:t>обозначивших значимость угрозы</a:t>
            </a:r>
            <a:endParaRPr lang="ru-RU" sz="600" dirty="0"/>
          </a:p>
        </p:txBody>
      </p:sp>
      <p:sp>
        <p:nvSpPr>
          <p:cNvPr id="49" name="TextBox 48"/>
          <p:cNvSpPr txBox="1"/>
          <p:nvPr/>
        </p:nvSpPr>
        <p:spPr>
          <a:xfrm>
            <a:off x="8246103" y="3638550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600" dirty="0" smtClean="0"/>
              <a:t>% от опрошенных респондентов,</a:t>
            </a:r>
          </a:p>
          <a:p>
            <a:r>
              <a:rPr lang="ru-RU" sz="600" dirty="0" smtClean="0"/>
              <a:t>обозначивших области для развития</a:t>
            </a:r>
            <a:br>
              <a:rPr lang="ru-RU" sz="600" dirty="0" smtClean="0"/>
            </a:br>
            <a:endParaRPr lang="ru-RU" sz="600" dirty="0"/>
          </a:p>
        </p:txBody>
      </p:sp>
    </p:spTree>
    <p:extLst>
      <p:ext uri="{BB962C8B-B14F-4D97-AF65-F5344CB8AC3E}">
        <p14:creationId xmlns:p14="http://schemas.microsoft.com/office/powerpoint/2010/main" val="2642648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2370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845715" y="5130938"/>
            <a:ext cx="822960" cy="1240665"/>
          </a:xfrm>
          <a:prstGeom prst="rect">
            <a:avLst/>
          </a:prstGeom>
          <a:solidFill>
            <a:srgbClr val="005EB8"/>
          </a:solidFill>
          <a:ln>
            <a:solidFill>
              <a:srgbClr val="005E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45715" y="3900149"/>
            <a:ext cx="822960" cy="1148368"/>
          </a:xfrm>
          <a:prstGeom prst="rect">
            <a:avLst/>
          </a:prstGeom>
          <a:solidFill>
            <a:srgbClr val="005EB8"/>
          </a:solidFill>
          <a:ln>
            <a:solidFill>
              <a:srgbClr val="005E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45715" y="3097747"/>
            <a:ext cx="822960" cy="731520"/>
          </a:xfrm>
          <a:prstGeom prst="rect">
            <a:avLst/>
          </a:prstGeom>
          <a:solidFill>
            <a:srgbClr val="009A44"/>
          </a:solidFill>
          <a:ln>
            <a:solidFill>
              <a:srgbClr val="009A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err="1"/>
              <a:t>FinTech</a:t>
            </a:r>
            <a:r>
              <a:rPr lang="ru-RU" sz="2800" dirty="0"/>
              <a:t> является предпосылками текущей и потенциальной трансформации различных элементов бизнес-модели и операционной модели (1/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50007" y="1168141"/>
            <a:ext cx="8693238" cy="1665211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none" lIns="92672" tIns="46336" rIns="92672" bIns="46336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kern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991674" y="2329436"/>
            <a:ext cx="3931920" cy="385299"/>
          </a:xfrm>
          <a:prstGeom prst="rect">
            <a:avLst/>
          </a:prstGeom>
          <a:solidFill>
            <a:srgbClr val="005EB8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2672" tIns="71519" rIns="92672" bIns="46336" anchor="ctr"/>
          <a:lstStyle/>
          <a:p>
            <a:pPr marL="529826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kern="0" dirty="0" smtClean="0">
                <a:solidFill>
                  <a:srgbClr val="FFFFFF"/>
                </a:solidFill>
              </a:rPr>
              <a:t>ПРОДУКТЫ</a:t>
            </a:r>
            <a:endParaRPr lang="uk-UA" sz="1200" b="1" kern="0" dirty="0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5521172" y="2328574"/>
            <a:ext cx="3931920" cy="386161"/>
          </a:xfrm>
          <a:prstGeom prst="rect">
            <a:avLst/>
          </a:prstGeom>
          <a:solidFill>
            <a:srgbClr val="005EB8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2672" tIns="71519" rIns="92672" bIns="46336" anchor="ctr"/>
          <a:lstStyle/>
          <a:p>
            <a:pPr marL="356371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kern="0" dirty="0">
                <a:solidFill>
                  <a:srgbClr val="FFFFFF"/>
                </a:solidFill>
                <a:latin typeface="Georgia"/>
              </a:rPr>
              <a:t>     </a:t>
            </a:r>
            <a:r>
              <a:rPr lang="uk-UA" sz="1200" b="1" kern="0" dirty="0" smtClean="0">
                <a:solidFill>
                  <a:srgbClr val="FFFFFF"/>
                </a:solidFill>
              </a:rPr>
              <a:t>КАНАЛЫ</a:t>
            </a:r>
            <a:endParaRPr lang="uk-UA" sz="1200" b="1" kern="0" dirty="0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91673" y="1563539"/>
            <a:ext cx="8461419" cy="386161"/>
          </a:xfrm>
          <a:prstGeom prst="rect">
            <a:avLst/>
          </a:prstGeom>
          <a:solidFill>
            <a:srgbClr val="009A44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2672" tIns="71519" rIns="92672" bIns="46336" anchor="ctr"/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kern="0" dirty="0" smtClean="0">
                <a:solidFill>
                  <a:srgbClr val="FFFFFF"/>
                </a:solidFill>
                <a:latin typeface="+mn-lt"/>
              </a:rPr>
              <a:t>КЛИЕНТЫ</a:t>
            </a:r>
            <a:endParaRPr lang="uk-UA" kern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53733" y="1237460"/>
            <a:ext cx="3029210" cy="2127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uk-UA" sz="1200" b="1" dirty="0">
                <a:solidFill>
                  <a:srgbClr val="000000"/>
                </a:solidFill>
                <a:cs typeface="+mn-cs"/>
              </a:rPr>
              <a:t>БИЗНЕС-МОДЕЛЬ</a:t>
            </a:r>
          </a:p>
        </p:txBody>
      </p:sp>
      <p:sp>
        <p:nvSpPr>
          <p:cNvPr id="9" name="Right Arrow 8"/>
          <p:cNvSpPr/>
          <p:nvPr/>
        </p:nvSpPr>
        <p:spPr bwMode="ltGray">
          <a:xfrm rot="5400000">
            <a:off x="5818333" y="1962880"/>
            <a:ext cx="274320" cy="365760"/>
          </a:xfrm>
          <a:prstGeom prst="rightArrow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63126" y="2044469"/>
            <a:ext cx="1260772" cy="1612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2482" defTabSz="943048" fontAlgn="auto">
              <a:spcBef>
                <a:spcPts val="0"/>
              </a:spcBef>
              <a:spcAft>
                <a:spcPts val="894"/>
              </a:spcAft>
            </a:pPr>
            <a:r>
              <a:rPr lang="uk-UA" sz="1200" dirty="0">
                <a:solidFill>
                  <a:srgbClr val="000000"/>
                </a:solidFill>
                <a:cs typeface="+mn-cs"/>
              </a:rPr>
              <a:t>потребности</a:t>
            </a:r>
          </a:p>
        </p:txBody>
      </p:sp>
      <p:sp>
        <p:nvSpPr>
          <p:cNvPr id="11" name="Right Arrow 10"/>
          <p:cNvSpPr/>
          <p:nvPr/>
        </p:nvSpPr>
        <p:spPr bwMode="ltGray">
          <a:xfrm rot="5400000">
            <a:off x="4113880" y="1962880"/>
            <a:ext cx="274320" cy="365760"/>
          </a:xfrm>
          <a:prstGeom prst="rightArrow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013462" y="2045189"/>
            <a:ext cx="944462" cy="1605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2482" algn="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dirty="0" smtClean="0">
                <a:solidFill>
                  <a:srgbClr val="000000"/>
                </a:solidFill>
                <a:cs typeface="+mn-cs"/>
              </a:rPr>
              <a:t>цели</a:t>
            </a:r>
            <a:endParaRPr lang="ru-RU" sz="12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" name="Прямоугольник 4"/>
          <p:cNvSpPr/>
          <p:nvPr/>
        </p:nvSpPr>
        <p:spPr>
          <a:xfrm>
            <a:off x="991674" y="1343205"/>
            <a:ext cx="2067458" cy="194369"/>
          </a:xfrm>
          <a:prstGeom prst="rect">
            <a:avLst/>
          </a:prstGeom>
          <a:noFill/>
          <a:ln w="25400">
            <a:noFill/>
          </a:ln>
        </p:spPr>
        <p:txBody>
          <a:bodyPr rot="0" spcFirstLastPara="0" vertOverflow="overflow" horzOverflow="overflow" vert="horz" wrap="square" lIns="0" tIns="45414" rIns="0" bIns="454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cs typeface="+mn-cs"/>
              </a:rPr>
              <a:t>Корпоративный бизнес</a:t>
            </a:r>
          </a:p>
        </p:txBody>
      </p:sp>
      <p:sp>
        <p:nvSpPr>
          <p:cNvPr id="14" name="Прямоугольник 67"/>
          <p:cNvSpPr/>
          <p:nvPr/>
        </p:nvSpPr>
        <p:spPr>
          <a:xfrm>
            <a:off x="7102300" y="1334282"/>
            <a:ext cx="2067458" cy="203292"/>
          </a:xfrm>
          <a:prstGeom prst="rect">
            <a:avLst/>
          </a:prstGeom>
          <a:noFill/>
          <a:ln w="25400">
            <a:noFill/>
          </a:ln>
        </p:spPr>
        <p:txBody>
          <a:bodyPr rot="0" spcFirstLastPara="0" vertOverflow="overflow" horzOverflow="overflow" vert="horz" wrap="square" lIns="0" tIns="45414" rIns="0" bIns="454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defTabSz="943048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cs typeface="+mn-cs"/>
              </a:rPr>
              <a:t>Розничный бизнес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723912" y="3097747"/>
            <a:ext cx="7680960" cy="73152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Комплексное </a:t>
            </a:r>
            <a:r>
              <a:rPr lang="ru-RU" sz="1200" dirty="0" smtClean="0">
                <a:solidFill>
                  <a:srgbClr val="000000"/>
                </a:solidFill>
                <a:cs typeface="+mn-cs"/>
              </a:rPr>
              <a:t>повышение клиентоориентированности</a:t>
            </a:r>
          </a:p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Внедрение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методик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поведенческой и психографической сегментации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, основанных на анализе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«больших данных»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(в том числе посредством анализа социальных сетей), в дополнение к социальной и демографической методикам сегментации</a:t>
            </a:r>
            <a:endParaRPr lang="uk-UA" sz="1200" b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723912" y="3900149"/>
            <a:ext cx="7680960" cy="115108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Внедрение инновационных решений для улучшения </a:t>
            </a:r>
            <a:r>
              <a:rPr lang="ru-RU" sz="1200" dirty="0" smtClean="0">
                <a:solidFill>
                  <a:srgbClr val="000000"/>
                </a:solidFill>
                <a:cs typeface="+mn-cs"/>
              </a:rPr>
              <a:t>функционала продуктов и клиентского опыта</a:t>
            </a:r>
          </a:p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Развитие </a:t>
            </a:r>
            <a:r>
              <a:rPr lang="ru-RU" sz="1200" dirty="0" smtClean="0">
                <a:solidFill>
                  <a:srgbClr val="000000"/>
                </a:solidFill>
                <a:cs typeface="+mn-cs"/>
              </a:rPr>
              <a:t>«агрегаторов» </a:t>
            </a: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-  интернет-платформ, агрегирующих для использования в </a:t>
            </a:r>
            <a:r>
              <a:rPr lang="ru-RU" sz="1200" dirty="0" smtClean="0">
                <a:solidFill>
                  <a:srgbClr val="000000"/>
                </a:solidFill>
                <a:cs typeface="+mn-cs"/>
              </a:rPr>
              <a:t>«едином окне» </a:t>
            </a: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продуктов и услуг различных банков/небанковских компаний и обеспечивающих </a:t>
            </a:r>
            <a:r>
              <a:rPr lang="ru-RU" sz="1200" dirty="0" smtClean="0">
                <a:solidFill>
                  <a:srgbClr val="000000"/>
                </a:solidFill>
                <a:cs typeface="+mn-cs"/>
              </a:rPr>
              <a:t>синергию</a:t>
            </a: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 при одновременном их использовании</a:t>
            </a:r>
          </a:p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 smtClean="0">
                <a:solidFill>
                  <a:srgbClr val="000000"/>
                </a:solidFill>
                <a:cs typeface="+mn-cs"/>
              </a:rPr>
              <a:t>Переход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банковских продуктов в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«нематериальный формат»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(например, банковские карты в мобильном телефоне без физического носителя</a:t>
            </a:r>
            <a:r>
              <a:rPr lang="uk-UA" sz="1200" b="0" dirty="0">
                <a:solidFill>
                  <a:srgbClr val="000000"/>
                </a:solidFill>
                <a:cs typeface="+mn-cs"/>
              </a:rPr>
              <a:t>)</a:t>
            </a:r>
            <a:endParaRPr lang="ru-RU" sz="1200" b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723912" y="5130938"/>
            <a:ext cx="7680960" cy="148040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>
                <a:solidFill>
                  <a:srgbClr val="000000"/>
                </a:solidFill>
                <a:cs typeface="+mn-cs"/>
              </a:rPr>
              <a:t>Активное развитие и популяризация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дистанционных каналов продаж и обслуживания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(банк в мобильном телефоне с возможностью совершения полного спектра банковских операций) и уход от физических каналов (сокращение филиальной сети)</a:t>
            </a:r>
          </a:p>
          <a:p>
            <a:pPr marL="182880" indent="-182880" defTabSz="943048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b="0" dirty="0">
                <a:solidFill>
                  <a:srgbClr val="000000"/>
                </a:solidFill>
                <a:cs typeface="+mn-cs"/>
              </a:rPr>
              <a:t>Развитие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концепции </a:t>
            </a:r>
            <a:r>
              <a:rPr lang="en-US" sz="1200" dirty="0">
                <a:solidFill>
                  <a:srgbClr val="000000"/>
                </a:solidFill>
                <a:cs typeface="+mn-cs"/>
              </a:rPr>
              <a:t>omnichannel </a:t>
            </a:r>
            <a:r>
              <a:rPr lang="en-US" sz="1200" b="0" dirty="0">
                <a:solidFill>
                  <a:srgbClr val="000000"/>
                </a:solidFill>
                <a:cs typeface="+mn-cs"/>
              </a:rPr>
              <a:t>–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синхронизация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 </a:t>
            </a:r>
            <a:r>
              <a:rPr lang="en-US" sz="1200" b="0" dirty="0">
                <a:solidFill>
                  <a:srgbClr val="000000"/>
                </a:solidFill>
                <a:cs typeface="+mn-cs"/>
              </a:rPr>
              <a:t>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информации о клиенте, получаемой в различных каналах (в том числе в отделениях, контакт-центрах, интернет-банке, устройствах самообслуживания) и возможность бесшовного для клиента перехода между различными </a:t>
            </a:r>
            <a:r>
              <a:rPr lang="ru-RU" sz="1200" dirty="0">
                <a:solidFill>
                  <a:srgbClr val="000000"/>
                </a:solidFill>
                <a:cs typeface="+mn-cs"/>
              </a:rPr>
              <a:t>взаимосвязанными каналами </a:t>
            </a:r>
            <a:r>
              <a:rPr lang="ru-RU" sz="1200" b="0" dirty="0">
                <a:solidFill>
                  <a:srgbClr val="000000"/>
                </a:solidFill>
                <a:cs typeface="+mn-cs"/>
              </a:rPr>
              <a:t>при обслуживании (например, возможность консультации оператора контакт-центра через интерфейс интернет-банка)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98491" y="2823052"/>
            <a:ext cx="405585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r>
              <a:rPr lang="uk-UA" sz="1200" b="1" dirty="0">
                <a:cs typeface="+mn-cs"/>
              </a:rPr>
              <a:t>ТРАНСФОРМАЦИЯ ЭЛЕМЕНТОВ БИЗНЕС-МОДЕЛИ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98468" y="3573993"/>
            <a:ext cx="914400" cy="17275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b="1" dirty="0">
                <a:solidFill>
                  <a:schemeClr val="bg1"/>
                </a:solidFill>
                <a:cs typeface="+mn-cs"/>
              </a:rPr>
              <a:t>Клиент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98468" y="4697696"/>
            <a:ext cx="914400" cy="17275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b="1" dirty="0">
                <a:solidFill>
                  <a:schemeClr val="bg1"/>
                </a:solidFill>
                <a:cs typeface="+mn-cs"/>
              </a:rPr>
              <a:t>Продукты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98468" y="5959379"/>
            <a:ext cx="914400" cy="17275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b="1" dirty="0">
                <a:solidFill>
                  <a:schemeClr val="bg1"/>
                </a:solidFill>
                <a:cs typeface="+mn-cs"/>
              </a:rPr>
              <a:t>Каналы</a:t>
            </a:r>
          </a:p>
        </p:txBody>
      </p:sp>
      <p:cxnSp>
        <p:nvCxnSpPr>
          <p:cNvPr id="31" name="Straight Connector 30"/>
          <p:cNvCxnSpPr/>
          <p:nvPr/>
        </p:nvCxnSpPr>
        <p:spPr>
          <a:xfrm>
            <a:off x="1878460" y="3881526"/>
            <a:ext cx="7498080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878460" y="5100756"/>
            <a:ext cx="7498080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/>
          <p:cNvGrpSpPr>
            <a:grpSpLocks noChangeAspect="1"/>
          </p:cNvGrpSpPr>
          <p:nvPr/>
        </p:nvGrpSpPr>
        <p:grpSpPr>
          <a:xfrm>
            <a:off x="978795" y="3170048"/>
            <a:ext cx="542184" cy="384197"/>
            <a:chOff x="4038601" y="1608138"/>
            <a:chExt cx="719137" cy="509588"/>
          </a:xfrm>
          <a:solidFill>
            <a:schemeClr val="bg1"/>
          </a:solidFill>
        </p:grpSpPr>
        <p:sp>
          <p:nvSpPr>
            <p:cNvPr id="38" name="Freeform 356"/>
            <p:cNvSpPr>
              <a:spLocks/>
            </p:cNvSpPr>
            <p:nvPr/>
          </p:nvSpPr>
          <p:spPr bwMode="auto">
            <a:xfrm>
              <a:off x="4256088" y="1839913"/>
              <a:ext cx="52388" cy="460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7"/>
                </a:cxn>
                <a:cxn ang="0">
                  <a:pos x="14" y="3"/>
                </a:cxn>
                <a:cxn ang="0">
                  <a:pos x="4" y="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cubicBezTo>
                    <a:pt x="4" y="11"/>
                    <a:pt x="9" y="9"/>
                    <a:pt x="14" y="7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9" y="1"/>
                    <a:pt x="4" y="0"/>
                    <a:pt x="4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39" name="Freeform 357"/>
            <p:cNvSpPr>
              <a:spLocks/>
            </p:cNvSpPr>
            <p:nvPr/>
          </p:nvSpPr>
          <p:spPr bwMode="auto">
            <a:xfrm>
              <a:off x="4487863" y="1847850"/>
              <a:ext cx="30163" cy="254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8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8" h="7">
                  <a:moveTo>
                    <a:pt x="0" y="5"/>
                  </a:moveTo>
                  <a:cubicBezTo>
                    <a:pt x="1" y="6"/>
                    <a:pt x="3" y="6"/>
                    <a:pt x="4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0" name="Freeform 358"/>
            <p:cNvSpPr>
              <a:spLocks/>
            </p:cNvSpPr>
            <p:nvPr/>
          </p:nvSpPr>
          <p:spPr bwMode="auto">
            <a:xfrm>
              <a:off x="4203701" y="1858963"/>
              <a:ext cx="28575" cy="444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7" y="10"/>
                </a:cxn>
                <a:cxn ang="0">
                  <a:pos x="6" y="7"/>
                </a:cxn>
                <a:cxn ang="0">
                  <a:pos x="8" y="4"/>
                </a:cxn>
                <a:cxn ang="0">
                  <a:pos x="4" y="0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1"/>
                    <a:pt x="4" y="11"/>
                    <a:pt x="7" y="1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1" name="Freeform 359"/>
            <p:cNvSpPr>
              <a:spLocks/>
            </p:cNvSpPr>
            <p:nvPr/>
          </p:nvSpPr>
          <p:spPr bwMode="auto">
            <a:xfrm>
              <a:off x="4038601" y="1839913"/>
              <a:ext cx="149225" cy="157163"/>
            </a:xfrm>
            <a:custGeom>
              <a:avLst/>
              <a:gdLst/>
              <a:ahLst/>
              <a:cxnLst>
                <a:cxn ang="0">
                  <a:pos x="34" y="22"/>
                </a:cxn>
                <a:cxn ang="0">
                  <a:pos x="40" y="19"/>
                </a:cxn>
                <a:cxn ang="0">
                  <a:pos x="34" y="0"/>
                </a:cxn>
                <a:cxn ang="0">
                  <a:pos x="8" y="9"/>
                </a:cxn>
                <a:cxn ang="0">
                  <a:pos x="0" y="42"/>
                </a:cxn>
                <a:cxn ang="0">
                  <a:pos x="24" y="42"/>
                </a:cxn>
                <a:cxn ang="0">
                  <a:pos x="34" y="22"/>
                </a:cxn>
              </a:cxnLst>
              <a:rect l="0" t="0" r="r" b="b"/>
              <a:pathLst>
                <a:path w="40" h="42">
                  <a:moveTo>
                    <a:pt x="34" y="22"/>
                  </a:moveTo>
                  <a:cubicBezTo>
                    <a:pt x="35" y="21"/>
                    <a:pt x="36" y="21"/>
                    <a:pt x="40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10" y="7"/>
                    <a:pt x="8" y="9"/>
                  </a:cubicBezTo>
                  <a:cubicBezTo>
                    <a:pt x="5" y="12"/>
                    <a:pt x="0" y="30"/>
                    <a:pt x="0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34"/>
                    <a:pt x="31" y="25"/>
                    <a:pt x="34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2" name="Freeform 360"/>
            <p:cNvSpPr>
              <a:spLocks/>
            </p:cNvSpPr>
            <p:nvPr/>
          </p:nvSpPr>
          <p:spPr bwMode="auto">
            <a:xfrm>
              <a:off x="4611688" y="1847850"/>
              <a:ext cx="146050" cy="149225"/>
            </a:xfrm>
            <a:custGeom>
              <a:avLst/>
              <a:gdLst/>
              <a:ahLst/>
              <a:cxnLst>
                <a:cxn ang="0">
                  <a:pos x="31" y="10"/>
                </a:cxn>
                <a:cxn ang="0">
                  <a:pos x="7" y="0"/>
                </a:cxn>
                <a:cxn ang="0">
                  <a:pos x="17" y="16"/>
                </a:cxn>
                <a:cxn ang="0">
                  <a:pos x="1" y="16"/>
                </a:cxn>
                <a:cxn ang="0">
                  <a:pos x="0" y="17"/>
                </a:cxn>
                <a:cxn ang="0">
                  <a:pos x="5" y="20"/>
                </a:cxn>
                <a:cxn ang="0">
                  <a:pos x="15" y="40"/>
                </a:cxn>
                <a:cxn ang="0">
                  <a:pos x="39" y="40"/>
                </a:cxn>
                <a:cxn ang="0">
                  <a:pos x="31" y="10"/>
                </a:cxn>
              </a:cxnLst>
              <a:rect l="0" t="0" r="r" b="b"/>
              <a:pathLst>
                <a:path w="39" h="40">
                  <a:moveTo>
                    <a:pt x="31" y="10"/>
                  </a:moveTo>
                  <a:cubicBezTo>
                    <a:pt x="29" y="9"/>
                    <a:pt x="7" y="0"/>
                    <a:pt x="7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8" y="23"/>
                    <a:pt x="13" y="32"/>
                    <a:pt x="15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28"/>
                    <a:pt x="34" y="13"/>
                    <a:pt x="31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3" name="Freeform 361"/>
            <p:cNvSpPr>
              <a:spLocks/>
            </p:cNvSpPr>
            <p:nvPr/>
          </p:nvSpPr>
          <p:spPr bwMode="auto">
            <a:xfrm>
              <a:off x="4286251" y="1608138"/>
              <a:ext cx="223838" cy="300038"/>
            </a:xfrm>
            <a:custGeom>
              <a:avLst/>
              <a:gdLst/>
              <a:ahLst/>
              <a:cxnLst>
                <a:cxn ang="0">
                  <a:pos x="10" y="51"/>
                </a:cxn>
                <a:cxn ang="0">
                  <a:pos x="14" y="64"/>
                </a:cxn>
                <a:cxn ang="0">
                  <a:pos x="14" y="72"/>
                </a:cxn>
                <a:cxn ang="0">
                  <a:pos x="30" y="80"/>
                </a:cxn>
                <a:cxn ang="0">
                  <a:pos x="46" y="72"/>
                </a:cxn>
                <a:cxn ang="0">
                  <a:pos x="46" y="64"/>
                </a:cxn>
                <a:cxn ang="0">
                  <a:pos x="50" y="51"/>
                </a:cxn>
                <a:cxn ang="0">
                  <a:pos x="55" y="50"/>
                </a:cxn>
                <a:cxn ang="0">
                  <a:pos x="58" y="36"/>
                </a:cxn>
                <a:cxn ang="0">
                  <a:pos x="54" y="34"/>
                </a:cxn>
                <a:cxn ang="0">
                  <a:pos x="54" y="21"/>
                </a:cxn>
                <a:cxn ang="0">
                  <a:pos x="45" y="8"/>
                </a:cxn>
                <a:cxn ang="0">
                  <a:pos x="30" y="0"/>
                </a:cxn>
                <a:cxn ang="0">
                  <a:pos x="6" y="20"/>
                </a:cxn>
                <a:cxn ang="0">
                  <a:pos x="6" y="34"/>
                </a:cxn>
                <a:cxn ang="0">
                  <a:pos x="2" y="36"/>
                </a:cxn>
                <a:cxn ang="0">
                  <a:pos x="5" y="50"/>
                </a:cxn>
                <a:cxn ang="0">
                  <a:pos x="10" y="51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4" name="Freeform 362"/>
            <p:cNvSpPr>
              <a:spLocks/>
            </p:cNvSpPr>
            <p:nvPr/>
          </p:nvSpPr>
          <p:spPr bwMode="auto">
            <a:xfrm>
              <a:off x="4143376" y="1897063"/>
              <a:ext cx="509588" cy="22066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76" y="49"/>
                </a:cxn>
                <a:cxn ang="0">
                  <a:pos x="76" y="29"/>
                </a:cxn>
                <a:cxn ang="0">
                  <a:pos x="70" y="19"/>
                </a:cxn>
                <a:cxn ang="0">
                  <a:pos x="76" y="13"/>
                </a:cxn>
                <a:cxn ang="0">
                  <a:pos x="68" y="5"/>
                </a:cxn>
                <a:cxn ang="0">
                  <a:pos x="60" y="13"/>
                </a:cxn>
                <a:cxn ang="0">
                  <a:pos x="66" y="19"/>
                </a:cxn>
                <a:cxn ang="0">
                  <a:pos x="60" y="29"/>
                </a:cxn>
                <a:cxn ang="0">
                  <a:pos x="60" y="49"/>
                </a:cxn>
                <a:cxn ang="0">
                  <a:pos x="48" y="0"/>
                </a:cxn>
                <a:cxn ang="0">
                  <a:pos x="11" y="13"/>
                </a:cxn>
                <a:cxn ang="0">
                  <a:pos x="0" y="59"/>
                </a:cxn>
                <a:cxn ang="0">
                  <a:pos x="136" y="59"/>
                </a:cxn>
                <a:cxn ang="0">
                  <a:pos x="125" y="13"/>
                </a:cxn>
                <a:cxn ang="0">
                  <a:pos x="88" y="0"/>
                </a:cxn>
              </a:cxnLst>
              <a:rect l="0" t="0" r="r" b="b"/>
              <a:pathLst>
                <a:path w="136" h="59">
                  <a:moveTo>
                    <a:pt x="88" y="0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43"/>
                    <a:pt x="0" y="59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43"/>
                    <a:pt x="129" y="17"/>
                    <a:pt x="125" y="13"/>
                  </a:cubicBezTo>
                  <a:cubicBezTo>
                    <a:pt x="121" y="10"/>
                    <a:pt x="88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5" name="Freeform 363"/>
            <p:cNvSpPr>
              <a:spLocks/>
            </p:cNvSpPr>
            <p:nvPr/>
          </p:nvSpPr>
          <p:spPr bwMode="auto">
            <a:xfrm>
              <a:off x="4510088" y="1638300"/>
              <a:ext cx="150813" cy="261938"/>
            </a:xfrm>
            <a:custGeom>
              <a:avLst/>
              <a:gdLst/>
              <a:ahLst/>
              <a:cxnLst>
                <a:cxn ang="0">
                  <a:pos x="15" y="69"/>
                </a:cxn>
                <a:cxn ang="0">
                  <a:pos x="20" y="70"/>
                </a:cxn>
                <a:cxn ang="0">
                  <a:pos x="29" y="52"/>
                </a:cxn>
                <a:cxn ang="0">
                  <a:pos x="40" y="46"/>
                </a:cxn>
                <a:cxn ang="0">
                  <a:pos x="36" y="26"/>
                </a:cxn>
                <a:cxn ang="0">
                  <a:pos x="18" y="0"/>
                </a:cxn>
                <a:cxn ang="0">
                  <a:pos x="2" y="9"/>
                </a:cxn>
                <a:cxn ang="0">
                  <a:pos x="2" y="21"/>
                </a:cxn>
                <a:cxn ang="0">
                  <a:pos x="5" y="24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7" y="52"/>
                </a:cxn>
                <a:cxn ang="0">
                  <a:pos x="15" y="69"/>
                </a:cxn>
              </a:cxnLst>
              <a:rect l="0" t="0" r="r" b="b"/>
              <a:pathLst>
                <a:path w="40" h="70">
                  <a:moveTo>
                    <a:pt x="15" y="69"/>
                  </a:moveTo>
                  <a:cubicBezTo>
                    <a:pt x="17" y="69"/>
                    <a:pt x="19" y="70"/>
                    <a:pt x="20" y="7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5" y="39"/>
                    <a:pt x="36" y="26"/>
                    <a:pt x="36" y="26"/>
                  </a:cubicBezTo>
                  <a:cubicBezTo>
                    <a:pt x="36" y="15"/>
                    <a:pt x="36" y="0"/>
                    <a:pt x="18" y="0"/>
                  </a:cubicBezTo>
                  <a:cubicBezTo>
                    <a:pt x="9" y="0"/>
                    <a:pt x="4" y="4"/>
                    <a:pt x="2" y="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2"/>
                    <a:pt x="4" y="23"/>
                    <a:pt x="5" y="24"/>
                  </a:cubicBezTo>
                  <a:cubicBezTo>
                    <a:pt x="9" y="32"/>
                    <a:pt x="6" y="43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52"/>
                    <a:pt x="7" y="52"/>
                    <a:pt x="7" y="52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6" name="Freeform 364"/>
            <p:cNvSpPr>
              <a:spLocks/>
            </p:cNvSpPr>
            <p:nvPr/>
          </p:nvSpPr>
          <p:spPr bwMode="auto">
            <a:xfrm>
              <a:off x="4143376" y="1638300"/>
              <a:ext cx="134938" cy="209550"/>
            </a:xfrm>
            <a:custGeom>
              <a:avLst/>
              <a:gdLst/>
              <a:ahLst/>
              <a:cxnLst>
                <a:cxn ang="0">
                  <a:pos x="6" y="36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20" y="56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3" y="40"/>
                </a:cxn>
                <a:cxn ang="0">
                  <a:pos x="33" y="24"/>
                </a:cxn>
                <a:cxn ang="0">
                  <a:pos x="36" y="21"/>
                </a:cxn>
                <a:cxn ang="0">
                  <a:pos x="36" y="7"/>
                </a:cxn>
                <a:cxn ang="0">
                  <a:pos x="31" y="5"/>
                </a:cxn>
                <a:cxn ang="0">
                  <a:pos x="20" y="0"/>
                </a:cxn>
                <a:cxn ang="0">
                  <a:pos x="4" y="14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4" y="35"/>
                </a:cxn>
                <a:cxn ang="0">
                  <a:pos x="6" y="36"/>
                </a:cxn>
              </a:cxnLst>
              <a:rect l="0" t="0" r="r" b="b"/>
              <a:pathLst>
                <a:path w="36" h="56">
                  <a:moveTo>
                    <a:pt x="6" y="36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1" y="35"/>
                    <a:pt x="30" y="29"/>
                    <a:pt x="33" y="24"/>
                  </a:cubicBezTo>
                  <a:cubicBezTo>
                    <a:pt x="34" y="23"/>
                    <a:pt x="35" y="22"/>
                    <a:pt x="36" y="21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5" y="6"/>
                    <a:pt x="33" y="5"/>
                    <a:pt x="31" y="5"/>
                  </a:cubicBezTo>
                  <a:cubicBezTo>
                    <a:pt x="29" y="1"/>
                    <a:pt x="25" y="0"/>
                    <a:pt x="20" y="0"/>
                  </a:cubicBezTo>
                  <a:cubicBezTo>
                    <a:pt x="9" y="0"/>
                    <a:pt x="4" y="6"/>
                    <a:pt x="4" y="14"/>
                  </a:cubicBezTo>
                  <a:cubicBezTo>
                    <a:pt x="4" y="19"/>
                    <a:pt x="4" y="24"/>
                    <a:pt x="4" y="24"/>
                  </a:cubicBezTo>
                  <a:cubicBezTo>
                    <a:pt x="4" y="24"/>
                    <a:pt x="3" y="24"/>
                    <a:pt x="2" y="26"/>
                  </a:cubicBezTo>
                  <a:cubicBezTo>
                    <a:pt x="0" y="28"/>
                    <a:pt x="1" y="33"/>
                    <a:pt x="4" y="35"/>
                  </a:cubicBezTo>
                  <a:cubicBezTo>
                    <a:pt x="5" y="36"/>
                    <a:pt x="6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grpSp>
        <p:nvGrpSpPr>
          <p:cNvPr id="47" name="Group 46"/>
          <p:cNvGrpSpPr>
            <a:grpSpLocks noChangeAspect="1"/>
          </p:cNvGrpSpPr>
          <p:nvPr/>
        </p:nvGrpSpPr>
        <p:grpSpPr>
          <a:xfrm>
            <a:off x="1064036" y="1596680"/>
            <a:ext cx="454795" cy="322272"/>
            <a:chOff x="4038601" y="1608138"/>
            <a:chExt cx="719137" cy="509588"/>
          </a:xfrm>
          <a:solidFill>
            <a:schemeClr val="bg1"/>
          </a:solidFill>
        </p:grpSpPr>
        <p:sp>
          <p:nvSpPr>
            <p:cNvPr id="48" name="Freeform 356"/>
            <p:cNvSpPr>
              <a:spLocks/>
            </p:cNvSpPr>
            <p:nvPr/>
          </p:nvSpPr>
          <p:spPr bwMode="auto">
            <a:xfrm>
              <a:off x="4256088" y="1839913"/>
              <a:ext cx="52388" cy="460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7"/>
                </a:cxn>
                <a:cxn ang="0">
                  <a:pos x="14" y="3"/>
                </a:cxn>
                <a:cxn ang="0">
                  <a:pos x="4" y="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cubicBezTo>
                    <a:pt x="4" y="11"/>
                    <a:pt x="9" y="9"/>
                    <a:pt x="14" y="7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9" y="1"/>
                    <a:pt x="4" y="0"/>
                    <a:pt x="4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49" name="Freeform 357"/>
            <p:cNvSpPr>
              <a:spLocks/>
            </p:cNvSpPr>
            <p:nvPr/>
          </p:nvSpPr>
          <p:spPr bwMode="auto">
            <a:xfrm>
              <a:off x="4487863" y="1847850"/>
              <a:ext cx="30163" cy="254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8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8" h="7">
                  <a:moveTo>
                    <a:pt x="0" y="5"/>
                  </a:moveTo>
                  <a:cubicBezTo>
                    <a:pt x="1" y="6"/>
                    <a:pt x="3" y="6"/>
                    <a:pt x="4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0" name="Freeform 358"/>
            <p:cNvSpPr>
              <a:spLocks/>
            </p:cNvSpPr>
            <p:nvPr/>
          </p:nvSpPr>
          <p:spPr bwMode="auto">
            <a:xfrm>
              <a:off x="4203701" y="1858963"/>
              <a:ext cx="28575" cy="444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7" y="10"/>
                </a:cxn>
                <a:cxn ang="0">
                  <a:pos x="6" y="7"/>
                </a:cxn>
                <a:cxn ang="0">
                  <a:pos x="8" y="4"/>
                </a:cxn>
                <a:cxn ang="0">
                  <a:pos x="4" y="0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1"/>
                    <a:pt x="4" y="11"/>
                    <a:pt x="7" y="1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1" name="Freeform 359"/>
            <p:cNvSpPr>
              <a:spLocks/>
            </p:cNvSpPr>
            <p:nvPr/>
          </p:nvSpPr>
          <p:spPr bwMode="auto">
            <a:xfrm>
              <a:off x="4038601" y="1839913"/>
              <a:ext cx="149225" cy="157163"/>
            </a:xfrm>
            <a:custGeom>
              <a:avLst/>
              <a:gdLst/>
              <a:ahLst/>
              <a:cxnLst>
                <a:cxn ang="0">
                  <a:pos x="34" y="22"/>
                </a:cxn>
                <a:cxn ang="0">
                  <a:pos x="40" y="19"/>
                </a:cxn>
                <a:cxn ang="0">
                  <a:pos x="34" y="0"/>
                </a:cxn>
                <a:cxn ang="0">
                  <a:pos x="8" y="9"/>
                </a:cxn>
                <a:cxn ang="0">
                  <a:pos x="0" y="42"/>
                </a:cxn>
                <a:cxn ang="0">
                  <a:pos x="24" y="42"/>
                </a:cxn>
                <a:cxn ang="0">
                  <a:pos x="34" y="22"/>
                </a:cxn>
              </a:cxnLst>
              <a:rect l="0" t="0" r="r" b="b"/>
              <a:pathLst>
                <a:path w="40" h="42">
                  <a:moveTo>
                    <a:pt x="34" y="22"/>
                  </a:moveTo>
                  <a:cubicBezTo>
                    <a:pt x="35" y="21"/>
                    <a:pt x="36" y="21"/>
                    <a:pt x="40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10" y="7"/>
                    <a:pt x="8" y="9"/>
                  </a:cubicBezTo>
                  <a:cubicBezTo>
                    <a:pt x="5" y="12"/>
                    <a:pt x="0" y="30"/>
                    <a:pt x="0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34"/>
                    <a:pt x="31" y="25"/>
                    <a:pt x="34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2" name="Freeform 360"/>
            <p:cNvSpPr>
              <a:spLocks/>
            </p:cNvSpPr>
            <p:nvPr/>
          </p:nvSpPr>
          <p:spPr bwMode="auto">
            <a:xfrm>
              <a:off x="4611688" y="1847850"/>
              <a:ext cx="146050" cy="149225"/>
            </a:xfrm>
            <a:custGeom>
              <a:avLst/>
              <a:gdLst/>
              <a:ahLst/>
              <a:cxnLst>
                <a:cxn ang="0">
                  <a:pos x="31" y="10"/>
                </a:cxn>
                <a:cxn ang="0">
                  <a:pos x="7" y="0"/>
                </a:cxn>
                <a:cxn ang="0">
                  <a:pos x="17" y="16"/>
                </a:cxn>
                <a:cxn ang="0">
                  <a:pos x="1" y="16"/>
                </a:cxn>
                <a:cxn ang="0">
                  <a:pos x="0" y="17"/>
                </a:cxn>
                <a:cxn ang="0">
                  <a:pos x="5" y="20"/>
                </a:cxn>
                <a:cxn ang="0">
                  <a:pos x="15" y="40"/>
                </a:cxn>
                <a:cxn ang="0">
                  <a:pos x="39" y="40"/>
                </a:cxn>
                <a:cxn ang="0">
                  <a:pos x="31" y="10"/>
                </a:cxn>
              </a:cxnLst>
              <a:rect l="0" t="0" r="r" b="b"/>
              <a:pathLst>
                <a:path w="39" h="40">
                  <a:moveTo>
                    <a:pt x="31" y="10"/>
                  </a:moveTo>
                  <a:cubicBezTo>
                    <a:pt x="29" y="9"/>
                    <a:pt x="7" y="0"/>
                    <a:pt x="7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8" y="23"/>
                    <a:pt x="13" y="32"/>
                    <a:pt x="15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28"/>
                    <a:pt x="34" y="13"/>
                    <a:pt x="31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3" name="Freeform 361"/>
            <p:cNvSpPr>
              <a:spLocks/>
            </p:cNvSpPr>
            <p:nvPr/>
          </p:nvSpPr>
          <p:spPr bwMode="auto">
            <a:xfrm>
              <a:off x="4286251" y="1608138"/>
              <a:ext cx="223838" cy="300038"/>
            </a:xfrm>
            <a:custGeom>
              <a:avLst/>
              <a:gdLst/>
              <a:ahLst/>
              <a:cxnLst>
                <a:cxn ang="0">
                  <a:pos x="10" y="51"/>
                </a:cxn>
                <a:cxn ang="0">
                  <a:pos x="14" y="64"/>
                </a:cxn>
                <a:cxn ang="0">
                  <a:pos x="14" y="72"/>
                </a:cxn>
                <a:cxn ang="0">
                  <a:pos x="30" y="80"/>
                </a:cxn>
                <a:cxn ang="0">
                  <a:pos x="46" y="72"/>
                </a:cxn>
                <a:cxn ang="0">
                  <a:pos x="46" y="64"/>
                </a:cxn>
                <a:cxn ang="0">
                  <a:pos x="50" y="51"/>
                </a:cxn>
                <a:cxn ang="0">
                  <a:pos x="55" y="50"/>
                </a:cxn>
                <a:cxn ang="0">
                  <a:pos x="58" y="36"/>
                </a:cxn>
                <a:cxn ang="0">
                  <a:pos x="54" y="34"/>
                </a:cxn>
                <a:cxn ang="0">
                  <a:pos x="54" y="21"/>
                </a:cxn>
                <a:cxn ang="0">
                  <a:pos x="45" y="8"/>
                </a:cxn>
                <a:cxn ang="0">
                  <a:pos x="30" y="0"/>
                </a:cxn>
                <a:cxn ang="0">
                  <a:pos x="6" y="20"/>
                </a:cxn>
                <a:cxn ang="0">
                  <a:pos x="6" y="34"/>
                </a:cxn>
                <a:cxn ang="0">
                  <a:pos x="2" y="36"/>
                </a:cxn>
                <a:cxn ang="0">
                  <a:pos x="5" y="50"/>
                </a:cxn>
                <a:cxn ang="0">
                  <a:pos x="10" y="51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4" name="Freeform 362"/>
            <p:cNvSpPr>
              <a:spLocks/>
            </p:cNvSpPr>
            <p:nvPr/>
          </p:nvSpPr>
          <p:spPr bwMode="auto">
            <a:xfrm>
              <a:off x="4143376" y="1897063"/>
              <a:ext cx="509588" cy="22066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76" y="49"/>
                </a:cxn>
                <a:cxn ang="0">
                  <a:pos x="76" y="29"/>
                </a:cxn>
                <a:cxn ang="0">
                  <a:pos x="70" y="19"/>
                </a:cxn>
                <a:cxn ang="0">
                  <a:pos x="76" y="13"/>
                </a:cxn>
                <a:cxn ang="0">
                  <a:pos x="68" y="5"/>
                </a:cxn>
                <a:cxn ang="0">
                  <a:pos x="60" y="13"/>
                </a:cxn>
                <a:cxn ang="0">
                  <a:pos x="66" y="19"/>
                </a:cxn>
                <a:cxn ang="0">
                  <a:pos x="60" y="29"/>
                </a:cxn>
                <a:cxn ang="0">
                  <a:pos x="60" y="49"/>
                </a:cxn>
                <a:cxn ang="0">
                  <a:pos x="48" y="0"/>
                </a:cxn>
                <a:cxn ang="0">
                  <a:pos x="11" y="13"/>
                </a:cxn>
                <a:cxn ang="0">
                  <a:pos x="0" y="59"/>
                </a:cxn>
                <a:cxn ang="0">
                  <a:pos x="136" y="59"/>
                </a:cxn>
                <a:cxn ang="0">
                  <a:pos x="125" y="13"/>
                </a:cxn>
                <a:cxn ang="0">
                  <a:pos x="88" y="0"/>
                </a:cxn>
              </a:cxnLst>
              <a:rect l="0" t="0" r="r" b="b"/>
              <a:pathLst>
                <a:path w="136" h="59">
                  <a:moveTo>
                    <a:pt x="88" y="0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43"/>
                    <a:pt x="0" y="59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43"/>
                    <a:pt x="129" y="17"/>
                    <a:pt x="125" y="13"/>
                  </a:cubicBezTo>
                  <a:cubicBezTo>
                    <a:pt x="121" y="10"/>
                    <a:pt x="88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5" name="Freeform 363"/>
            <p:cNvSpPr>
              <a:spLocks/>
            </p:cNvSpPr>
            <p:nvPr/>
          </p:nvSpPr>
          <p:spPr bwMode="auto">
            <a:xfrm>
              <a:off x="4510088" y="1638300"/>
              <a:ext cx="150813" cy="261938"/>
            </a:xfrm>
            <a:custGeom>
              <a:avLst/>
              <a:gdLst/>
              <a:ahLst/>
              <a:cxnLst>
                <a:cxn ang="0">
                  <a:pos x="15" y="69"/>
                </a:cxn>
                <a:cxn ang="0">
                  <a:pos x="20" y="70"/>
                </a:cxn>
                <a:cxn ang="0">
                  <a:pos x="29" y="52"/>
                </a:cxn>
                <a:cxn ang="0">
                  <a:pos x="40" y="46"/>
                </a:cxn>
                <a:cxn ang="0">
                  <a:pos x="36" y="26"/>
                </a:cxn>
                <a:cxn ang="0">
                  <a:pos x="18" y="0"/>
                </a:cxn>
                <a:cxn ang="0">
                  <a:pos x="2" y="9"/>
                </a:cxn>
                <a:cxn ang="0">
                  <a:pos x="2" y="21"/>
                </a:cxn>
                <a:cxn ang="0">
                  <a:pos x="5" y="24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7" y="52"/>
                </a:cxn>
                <a:cxn ang="0">
                  <a:pos x="15" y="69"/>
                </a:cxn>
              </a:cxnLst>
              <a:rect l="0" t="0" r="r" b="b"/>
              <a:pathLst>
                <a:path w="40" h="70">
                  <a:moveTo>
                    <a:pt x="15" y="69"/>
                  </a:moveTo>
                  <a:cubicBezTo>
                    <a:pt x="17" y="69"/>
                    <a:pt x="19" y="70"/>
                    <a:pt x="20" y="7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5" y="39"/>
                    <a:pt x="36" y="26"/>
                    <a:pt x="36" y="26"/>
                  </a:cubicBezTo>
                  <a:cubicBezTo>
                    <a:pt x="36" y="15"/>
                    <a:pt x="36" y="0"/>
                    <a:pt x="18" y="0"/>
                  </a:cubicBezTo>
                  <a:cubicBezTo>
                    <a:pt x="9" y="0"/>
                    <a:pt x="4" y="4"/>
                    <a:pt x="2" y="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2"/>
                    <a:pt x="4" y="23"/>
                    <a:pt x="5" y="24"/>
                  </a:cubicBezTo>
                  <a:cubicBezTo>
                    <a:pt x="9" y="32"/>
                    <a:pt x="6" y="43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52"/>
                    <a:pt x="7" y="52"/>
                    <a:pt x="7" y="52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  <p:sp>
          <p:nvSpPr>
            <p:cNvPr id="56" name="Freeform 364"/>
            <p:cNvSpPr>
              <a:spLocks/>
            </p:cNvSpPr>
            <p:nvPr/>
          </p:nvSpPr>
          <p:spPr bwMode="auto">
            <a:xfrm>
              <a:off x="4143376" y="1638300"/>
              <a:ext cx="134938" cy="209550"/>
            </a:xfrm>
            <a:custGeom>
              <a:avLst/>
              <a:gdLst/>
              <a:ahLst/>
              <a:cxnLst>
                <a:cxn ang="0">
                  <a:pos x="6" y="36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20" y="56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3" y="40"/>
                </a:cxn>
                <a:cxn ang="0">
                  <a:pos x="33" y="24"/>
                </a:cxn>
                <a:cxn ang="0">
                  <a:pos x="36" y="21"/>
                </a:cxn>
                <a:cxn ang="0">
                  <a:pos x="36" y="7"/>
                </a:cxn>
                <a:cxn ang="0">
                  <a:pos x="31" y="5"/>
                </a:cxn>
                <a:cxn ang="0">
                  <a:pos x="20" y="0"/>
                </a:cxn>
                <a:cxn ang="0">
                  <a:pos x="4" y="14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4" y="35"/>
                </a:cxn>
                <a:cxn ang="0">
                  <a:pos x="6" y="36"/>
                </a:cxn>
              </a:cxnLst>
              <a:rect l="0" t="0" r="r" b="b"/>
              <a:pathLst>
                <a:path w="36" h="56">
                  <a:moveTo>
                    <a:pt x="6" y="36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1" y="35"/>
                    <a:pt x="30" y="29"/>
                    <a:pt x="33" y="24"/>
                  </a:cubicBezTo>
                  <a:cubicBezTo>
                    <a:pt x="34" y="23"/>
                    <a:pt x="35" y="22"/>
                    <a:pt x="36" y="21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5" y="6"/>
                    <a:pt x="33" y="5"/>
                    <a:pt x="31" y="5"/>
                  </a:cubicBezTo>
                  <a:cubicBezTo>
                    <a:pt x="29" y="1"/>
                    <a:pt x="25" y="0"/>
                    <a:pt x="20" y="0"/>
                  </a:cubicBezTo>
                  <a:cubicBezTo>
                    <a:pt x="9" y="0"/>
                    <a:pt x="4" y="6"/>
                    <a:pt x="4" y="14"/>
                  </a:cubicBezTo>
                  <a:cubicBezTo>
                    <a:pt x="4" y="19"/>
                    <a:pt x="4" y="24"/>
                    <a:pt x="4" y="24"/>
                  </a:cubicBezTo>
                  <a:cubicBezTo>
                    <a:pt x="4" y="24"/>
                    <a:pt x="3" y="24"/>
                    <a:pt x="2" y="26"/>
                  </a:cubicBezTo>
                  <a:cubicBezTo>
                    <a:pt x="0" y="28"/>
                    <a:pt x="1" y="33"/>
                    <a:pt x="4" y="35"/>
                  </a:cubicBezTo>
                  <a:cubicBezTo>
                    <a:pt x="5" y="36"/>
                    <a:pt x="6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74295" tIns="37148" rIns="74295" bIns="37148" numCol="1" anchor="t" anchorCtr="0" compatLnSpc="1">
              <a:prstTxWarp prst="textNoShape">
                <a:avLst/>
              </a:prstTxWarp>
            </a:bodyPr>
            <a:lstStyle/>
            <a:p>
              <a:endParaRPr lang="en-US" sz="1463">
                <a:solidFill>
                  <a:prstClr val="black"/>
                </a:solidFill>
              </a:endParaRPr>
            </a:p>
          </p:txBody>
        </p:sp>
      </p:grpSp>
      <p:grpSp>
        <p:nvGrpSpPr>
          <p:cNvPr id="57" name="Group 12"/>
          <p:cNvGrpSpPr>
            <a:grpSpLocks noChangeAspect="1"/>
          </p:cNvGrpSpPr>
          <p:nvPr/>
        </p:nvGrpSpPr>
        <p:grpSpPr bwMode="auto">
          <a:xfrm>
            <a:off x="1004553" y="4076187"/>
            <a:ext cx="457200" cy="452581"/>
            <a:chOff x="2722" y="1884"/>
            <a:chExt cx="495" cy="490"/>
          </a:xfrm>
          <a:solidFill>
            <a:schemeClr val="bg1"/>
          </a:solidFill>
        </p:grpSpPr>
        <p:sp>
          <p:nvSpPr>
            <p:cNvPr id="58" name="Freeform 13"/>
            <p:cNvSpPr>
              <a:spLocks/>
            </p:cNvSpPr>
            <p:nvPr/>
          </p:nvSpPr>
          <p:spPr bwMode="auto">
            <a:xfrm>
              <a:off x="2722" y="1884"/>
              <a:ext cx="495" cy="368"/>
            </a:xfrm>
            <a:custGeom>
              <a:avLst/>
              <a:gdLst>
                <a:gd name="T0" fmla="*/ 34 w 207"/>
                <a:gd name="T1" fmla="*/ 0 h 154"/>
                <a:gd name="T2" fmla="*/ 42 w 207"/>
                <a:gd name="T3" fmla="*/ 18 h 154"/>
                <a:gd name="T4" fmla="*/ 49 w 207"/>
                <a:gd name="T5" fmla="*/ 21 h 154"/>
                <a:gd name="T6" fmla="*/ 190 w 207"/>
                <a:gd name="T7" fmla="*/ 21 h 154"/>
                <a:gd name="T8" fmla="*/ 198 w 207"/>
                <a:gd name="T9" fmla="*/ 21 h 154"/>
                <a:gd name="T10" fmla="*/ 204 w 207"/>
                <a:gd name="T11" fmla="*/ 34 h 154"/>
                <a:gd name="T12" fmla="*/ 166 w 207"/>
                <a:gd name="T13" fmla="*/ 102 h 154"/>
                <a:gd name="T14" fmla="*/ 148 w 207"/>
                <a:gd name="T15" fmla="*/ 113 h 154"/>
                <a:gd name="T16" fmla="*/ 80 w 207"/>
                <a:gd name="T17" fmla="*/ 112 h 154"/>
                <a:gd name="T18" fmla="*/ 69 w 207"/>
                <a:gd name="T19" fmla="*/ 119 h 154"/>
                <a:gd name="T20" fmla="*/ 66 w 207"/>
                <a:gd name="T21" fmla="*/ 126 h 154"/>
                <a:gd name="T22" fmla="*/ 70 w 207"/>
                <a:gd name="T23" fmla="*/ 134 h 154"/>
                <a:gd name="T24" fmla="*/ 161 w 207"/>
                <a:gd name="T25" fmla="*/ 134 h 154"/>
                <a:gd name="T26" fmla="*/ 184 w 207"/>
                <a:gd name="T27" fmla="*/ 134 h 154"/>
                <a:gd name="T28" fmla="*/ 184 w 207"/>
                <a:gd name="T29" fmla="*/ 154 h 154"/>
                <a:gd name="T30" fmla="*/ 178 w 207"/>
                <a:gd name="T31" fmla="*/ 154 h 154"/>
                <a:gd name="T32" fmla="*/ 66 w 207"/>
                <a:gd name="T33" fmla="*/ 154 h 154"/>
                <a:gd name="T34" fmla="*/ 46 w 207"/>
                <a:gd name="T35" fmla="*/ 119 h 154"/>
                <a:gd name="T36" fmla="*/ 56 w 207"/>
                <a:gd name="T37" fmla="*/ 98 h 154"/>
                <a:gd name="T38" fmla="*/ 47 w 207"/>
                <a:gd name="T39" fmla="*/ 77 h 154"/>
                <a:gd name="T40" fmla="*/ 24 w 207"/>
                <a:gd name="T41" fmla="*/ 26 h 154"/>
                <a:gd name="T42" fmla="*/ 13 w 207"/>
                <a:gd name="T43" fmla="*/ 20 h 154"/>
                <a:gd name="T44" fmla="*/ 0 w 207"/>
                <a:gd name="T45" fmla="*/ 21 h 154"/>
                <a:gd name="T46" fmla="*/ 0 w 207"/>
                <a:gd name="T47" fmla="*/ 0 h 154"/>
                <a:gd name="T48" fmla="*/ 34 w 207"/>
                <a:gd name="T4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7" h="154">
                  <a:moveTo>
                    <a:pt x="34" y="0"/>
                  </a:moveTo>
                  <a:cubicBezTo>
                    <a:pt x="36" y="6"/>
                    <a:pt x="38" y="12"/>
                    <a:pt x="42" y="18"/>
                  </a:cubicBezTo>
                  <a:cubicBezTo>
                    <a:pt x="43" y="20"/>
                    <a:pt x="47" y="21"/>
                    <a:pt x="49" y="21"/>
                  </a:cubicBezTo>
                  <a:cubicBezTo>
                    <a:pt x="96" y="21"/>
                    <a:pt x="143" y="21"/>
                    <a:pt x="190" y="21"/>
                  </a:cubicBezTo>
                  <a:cubicBezTo>
                    <a:pt x="193" y="21"/>
                    <a:pt x="195" y="21"/>
                    <a:pt x="198" y="21"/>
                  </a:cubicBezTo>
                  <a:cubicBezTo>
                    <a:pt x="204" y="22"/>
                    <a:pt x="207" y="29"/>
                    <a:pt x="204" y="34"/>
                  </a:cubicBezTo>
                  <a:cubicBezTo>
                    <a:pt x="192" y="57"/>
                    <a:pt x="179" y="80"/>
                    <a:pt x="166" y="102"/>
                  </a:cubicBezTo>
                  <a:cubicBezTo>
                    <a:pt x="162" y="110"/>
                    <a:pt x="156" y="113"/>
                    <a:pt x="148" y="113"/>
                  </a:cubicBezTo>
                  <a:cubicBezTo>
                    <a:pt x="125" y="112"/>
                    <a:pt x="102" y="113"/>
                    <a:pt x="80" y="112"/>
                  </a:cubicBezTo>
                  <a:cubicBezTo>
                    <a:pt x="74" y="112"/>
                    <a:pt x="71" y="114"/>
                    <a:pt x="69" y="119"/>
                  </a:cubicBezTo>
                  <a:cubicBezTo>
                    <a:pt x="68" y="121"/>
                    <a:pt x="67" y="123"/>
                    <a:pt x="66" y="126"/>
                  </a:cubicBezTo>
                  <a:cubicBezTo>
                    <a:pt x="62" y="133"/>
                    <a:pt x="62" y="134"/>
                    <a:pt x="70" y="134"/>
                  </a:cubicBezTo>
                  <a:cubicBezTo>
                    <a:pt x="100" y="134"/>
                    <a:pt x="131" y="134"/>
                    <a:pt x="161" y="134"/>
                  </a:cubicBezTo>
                  <a:cubicBezTo>
                    <a:pt x="168" y="134"/>
                    <a:pt x="176" y="134"/>
                    <a:pt x="184" y="134"/>
                  </a:cubicBezTo>
                  <a:cubicBezTo>
                    <a:pt x="184" y="141"/>
                    <a:pt x="184" y="147"/>
                    <a:pt x="184" y="154"/>
                  </a:cubicBezTo>
                  <a:cubicBezTo>
                    <a:pt x="182" y="154"/>
                    <a:pt x="180" y="154"/>
                    <a:pt x="178" y="154"/>
                  </a:cubicBezTo>
                  <a:cubicBezTo>
                    <a:pt x="140" y="154"/>
                    <a:pt x="103" y="154"/>
                    <a:pt x="66" y="154"/>
                  </a:cubicBezTo>
                  <a:cubicBezTo>
                    <a:pt x="45" y="154"/>
                    <a:pt x="35" y="138"/>
                    <a:pt x="46" y="119"/>
                  </a:cubicBezTo>
                  <a:cubicBezTo>
                    <a:pt x="50" y="112"/>
                    <a:pt x="56" y="105"/>
                    <a:pt x="56" y="98"/>
                  </a:cubicBezTo>
                  <a:cubicBezTo>
                    <a:pt x="57" y="91"/>
                    <a:pt x="51" y="84"/>
                    <a:pt x="47" y="77"/>
                  </a:cubicBezTo>
                  <a:cubicBezTo>
                    <a:pt x="39" y="60"/>
                    <a:pt x="31" y="43"/>
                    <a:pt x="24" y="26"/>
                  </a:cubicBezTo>
                  <a:cubicBezTo>
                    <a:pt x="21" y="21"/>
                    <a:pt x="19" y="19"/>
                    <a:pt x="13" y="20"/>
                  </a:cubicBezTo>
                  <a:cubicBezTo>
                    <a:pt x="9" y="21"/>
                    <a:pt x="4" y="21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ubicBezTo>
                    <a:pt x="11" y="0"/>
                    <a:pt x="22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>
              <a:off x="2820" y="2279"/>
              <a:ext cx="98" cy="95"/>
            </a:xfrm>
            <a:custGeom>
              <a:avLst/>
              <a:gdLst>
                <a:gd name="T0" fmla="*/ 41 w 41"/>
                <a:gd name="T1" fmla="*/ 20 h 40"/>
                <a:gd name="T2" fmla="*/ 21 w 41"/>
                <a:gd name="T3" fmla="*/ 40 h 40"/>
                <a:gd name="T4" fmla="*/ 0 w 41"/>
                <a:gd name="T5" fmla="*/ 20 h 40"/>
                <a:gd name="T6" fmla="*/ 21 w 41"/>
                <a:gd name="T7" fmla="*/ 0 h 40"/>
                <a:gd name="T8" fmla="*/ 41 w 4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41" y="20"/>
                  </a:moveTo>
                  <a:cubicBezTo>
                    <a:pt x="41" y="31"/>
                    <a:pt x="32" y="40"/>
                    <a:pt x="21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>
              <a:off x="3066" y="2279"/>
              <a:ext cx="98" cy="95"/>
            </a:xfrm>
            <a:custGeom>
              <a:avLst/>
              <a:gdLst>
                <a:gd name="T0" fmla="*/ 21 w 41"/>
                <a:gd name="T1" fmla="*/ 0 h 40"/>
                <a:gd name="T2" fmla="*/ 40 w 41"/>
                <a:gd name="T3" fmla="*/ 20 h 40"/>
                <a:gd name="T4" fmla="*/ 20 w 41"/>
                <a:gd name="T5" fmla="*/ 40 h 40"/>
                <a:gd name="T6" fmla="*/ 0 w 41"/>
                <a:gd name="T7" fmla="*/ 20 h 40"/>
                <a:gd name="T8" fmla="*/ 21 w 4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21" y="0"/>
                  </a:moveTo>
                  <a:cubicBezTo>
                    <a:pt x="32" y="0"/>
                    <a:pt x="41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12"/>
          <p:cNvGrpSpPr>
            <a:grpSpLocks noChangeAspect="1"/>
          </p:cNvGrpSpPr>
          <p:nvPr/>
        </p:nvGrpSpPr>
        <p:grpSpPr bwMode="auto">
          <a:xfrm>
            <a:off x="1053923" y="2364099"/>
            <a:ext cx="324117" cy="320843"/>
            <a:chOff x="2722" y="1884"/>
            <a:chExt cx="495" cy="490"/>
          </a:xfrm>
          <a:solidFill>
            <a:schemeClr val="bg1"/>
          </a:solidFill>
        </p:grpSpPr>
        <p:sp>
          <p:nvSpPr>
            <p:cNvPr id="62" name="Freeform 13"/>
            <p:cNvSpPr>
              <a:spLocks/>
            </p:cNvSpPr>
            <p:nvPr/>
          </p:nvSpPr>
          <p:spPr bwMode="auto">
            <a:xfrm>
              <a:off x="2722" y="1884"/>
              <a:ext cx="495" cy="368"/>
            </a:xfrm>
            <a:custGeom>
              <a:avLst/>
              <a:gdLst>
                <a:gd name="T0" fmla="*/ 34 w 207"/>
                <a:gd name="T1" fmla="*/ 0 h 154"/>
                <a:gd name="T2" fmla="*/ 42 w 207"/>
                <a:gd name="T3" fmla="*/ 18 h 154"/>
                <a:gd name="T4" fmla="*/ 49 w 207"/>
                <a:gd name="T5" fmla="*/ 21 h 154"/>
                <a:gd name="T6" fmla="*/ 190 w 207"/>
                <a:gd name="T7" fmla="*/ 21 h 154"/>
                <a:gd name="T8" fmla="*/ 198 w 207"/>
                <a:gd name="T9" fmla="*/ 21 h 154"/>
                <a:gd name="T10" fmla="*/ 204 w 207"/>
                <a:gd name="T11" fmla="*/ 34 h 154"/>
                <a:gd name="T12" fmla="*/ 166 w 207"/>
                <a:gd name="T13" fmla="*/ 102 h 154"/>
                <a:gd name="T14" fmla="*/ 148 w 207"/>
                <a:gd name="T15" fmla="*/ 113 h 154"/>
                <a:gd name="T16" fmla="*/ 80 w 207"/>
                <a:gd name="T17" fmla="*/ 112 h 154"/>
                <a:gd name="T18" fmla="*/ 69 w 207"/>
                <a:gd name="T19" fmla="*/ 119 h 154"/>
                <a:gd name="T20" fmla="*/ 66 w 207"/>
                <a:gd name="T21" fmla="*/ 126 h 154"/>
                <a:gd name="T22" fmla="*/ 70 w 207"/>
                <a:gd name="T23" fmla="*/ 134 h 154"/>
                <a:gd name="T24" fmla="*/ 161 w 207"/>
                <a:gd name="T25" fmla="*/ 134 h 154"/>
                <a:gd name="T26" fmla="*/ 184 w 207"/>
                <a:gd name="T27" fmla="*/ 134 h 154"/>
                <a:gd name="T28" fmla="*/ 184 w 207"/>
                <a:gd name="T29" fmla="*/ 154 h 154"/>
                <a:gd name="T30" fmla="*/ 178 w 207"/>
                <a:gd name="T31" fmla="*/ 154 h 154"/>
                <a:gd name="T32" fmla="*/ 66 w 207"/>
                <a:gd name="T33" fmla="*/ 154 h 154"/>
                <a:gd name="T34" fmla="*/ 46 w 207"/>
                <a:gd name="T35" fmla="*/ 119 h 154"/>
                <a:gd name="T36" fmla="*/ 56 w 207"/>
                <a:gd name="T37" fmla="*/ 98 h 154"/>
                <a:gd name="T38" fmla="*/ 47 w 207"/>
                <a:gd name="T39" fmla="*/ 77 h 154"/>
                <a:gd name="T40" fmla="*/ 24 w 207"/>
                <a:gd name="T41" fmla="*/ 26 h 154"/>
                <a:gd name="T42" fmla="*/ 13 w 207"/>
                <a:gd name="T43" fmla="*/ 20 h 154"/>
                <a:gd name="T44" fmla="*/ 0 w 207"/>
                <a:gd name="T45" fmla="*/ 21 h 154"/>
                <a:gd name="T46" fmla="*/ 0 w 207"/>
                <a:gd name="T47" fmla="*/ 0 h 154"/>
                <a:gd name="T48" fmla="*/ 34 w 207"/>
                <a:gd name="T49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7" h="154">
                  <a:moveTo>
                    <a:pt x="34" y="0"/>
                  </a:moveTo>
                  <a:cubicBezTo>
                    <a:pt x="36" y="6"/>
                    <a:pt x="38" y="12"/>
                    <a:pt x="42" y="18"/>
                  </a:cubicBezTo>
                  <a:cubicBezTo>
                    <a:pt x="43" y="20"/>
                    <a:pt x="47" y="21"/>
                    <a:pt x="49" y="21"/>
                  </a:cubicBezTo>
                  <a:cubicBezTo>
                    <a:pt x="96" y="21"/>
                    <a:pt x="143" y="21"/>
                    <a:pt x="190" y="21"/>
                  </a:cubicBezTo>
                  <a:cubicBezTo>
                    <a:pt x="193" y="21"/>
                    <a:pt x="195" y="21"/>
                    <a:pt x="198" y="21"/>
                  </a:cubicBezTo>
                  <a:cubicBezTo>
                    <a:pt x="204" y="22"/>
                    <a:pt x="207" y="29"/>
                    <a:pt x="204" y="34"/>
                  </a:cubicBezTo>
                  <a:cubicBezTo>
                    <a:pt x="192" y="57"/>
                    <a:pt x="179" y="80"/>
                    <a:pt x="166" y="102"/>
                  </a:cubicBezTo>
                  <a:cubicBezTo>
                    <a:pt x="162" y="110"/>
                    <a:pt x="156" y="113"/>
                    <a:pt x="148" y="113"/>
                  </a:cubicBezTo>
                  <a:cubicBezTo>
                    <a:pt x="125" y="112"/>
                    <a:pt x="102" y="113"/>
                    <a:pt x="80" y="112"/>
                  </a:cubicBezTo>
                  <a:cubicBezTo>
                    <a:pt x="74" y="112"/>
                    <a:pt x="71" y="114"/>
                    <a:pt x="69" y="119"/>
                  </a:cubicBezTo>
                  <a:cubicBezTo>
                    <a:pt x="68" y="121"/>
                    <a:pt x="67" y="123"/>
                    <a:pt x="66" y="126"/>
                  </a:cubicBezTo>
                  <a:cubicBezTo>
                    <a:pt x="62" y="133"/>
                    <a:pt x="62" y="134"/>
                    <a:pt x="70" y="134"/>
                  </a:cubicBezTo>
                  <a:cubicBezTo>
                    <a:pt x="100" y="134"/>
                    <a:pt x="131" y="134"/>
                    <a:pt x="161" y="134"/>
                  </a:cubicBezTo>
                  <a:cubicBezTo>
                    <a:pt x="168" y="134"/>
                    <a:pt x="176" y="134"/>
                    <a:pt x="184" y="134"/>
                  </a:cubicBezTo>
                  <a:cubicBezTo>
                    <a:pt x="184" y="141"/>
                    <a:pt x="184" y="147"/>
                    <a:pt x="184" y="154"/>
                  </a:cubicBezTo>
                  <a:cubicBezTo>
                    <a:pt x="182" y="154"/>
                    <a:pt x="180" y="154"/>
                    <a:pt x="178" y="154"/>
                  </a:cubicBezTo>
                  <a:cubicBezTo>
                    <a:pt x="140" y="154"/>
                    <a:pt x="103" y="154"/>
                    <a:pt x="66" y="154"/>
                  </a:cubicBezTo>
                  <a:cubicBezTo>
                    <a:pt x="45" y="154"/>
                    <a:pt x="35" y="138"/>
                    <a:pt x="46" y="119"/>
                  </a:cubicBezTo>
                  <a:cubicBezTo>
                    <a:pt x="50" y="112"/>
                    <a:pt x="56" y="105"/>
                    <a:pt x="56" y="98"/>
                  </a:cubicBezTo>
                  <a:cubicBezTo>
                    <a:pt x="57" y="91"/>
                    <a:pt x="51" y="84"/>
                    <a:pt x="47" y="77"/>
                  </a:cubicBezTo>
                  <a:cubicBezTo>
                    <a:pt x="39" y="60"/>
                    <a:pt x="31" y="43"/>
                    <a:pt x="24" y="26"/>
                  </a:cubicBezTo>
                  <a:cubicBezTo>
                    <a:pt x="21" y="21"/>
                    <a:pt x="19" y="19"/>
                    <a:pt x="13" y="20"/>
                  </a:cubicBezTo>
                  <a:cubicBezTo>
                    <a:pt x="9" y="21"/>
                    <a:pt x="4" y="21"/>
                    <a:pt x="0" y="21"/>
                  </a:cubicBezTo>
                  <a:cubicBezTo>
                    <a:pt x="0" y="14"/>
                    <a:pt x="0" y="7"/>
                    <a:pt x="0" y="0"/>
                  </a:cubicBezTo>
                  <a:cubicBezTo>
                    <a:pt x="11" y="0"/>
                    <a:pt x="22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4"/>
            <p:cNvSpPr>
              <a:spLocks/>
            </p:cNvSpPr>
            <p:nvPr/>
          </p:nvSpPr>
          <p:spPr bwMode="auto">
            <a:xfrm>
              <a:off x="2820" y="2279"/>
              <a:ext cx="98" cy="95"/>
            </a:xfrm>
            <a:custGeom>
              <a:avLst/>
              <a:gdLst>
                <a:gd name="T0" fmla="*/ 41 w 41"/>
                <a:gd name="T1" fmla="*/ 20 h 40"/>
                <a:gd name="T2" fmla="*/ 21 w 41"/>
                <a:gd name="T3" fmla="*/ 40 h 40"/>
                <a:gd name="T4" fmla="*/ 0 w 41"/>
                <a:gd name="T5" fmla="*/ 20 h 40"/>
                <a:gd name="T6" fmla="*/ 21 w 41"/>
                <a:gd name="T7" fmla="*/ 0 h 40"/>
                <a:gd name="T8" fmla="*/ 41 w 4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41" y="20"/>
                  </a:moveTo>
                  <a:cubicBezTo>
                    <a:pt x="41" y="31"/>
                    <a:pt x="32" y="40"/>
                    <a:pt x="21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ubicBezTo>
                    <a:pt x="32" y="0"/>
                    <a:pt x="41" y="9"/>
                    <a:pt x="4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15"/>
            <p:cNvSpPr>
              <a:spLocks/>
            </p:cNvSpPr>
            <p:nvPr/>
          </p:nvSpPr>
          <p:spPr bwMode="auto">
            <a:xfrm>
              <a:off x="3066" y="2279"/>
              <a:ext cx="98" cy="95"/>
            </a:xfrm>
            <a:custGeom>
              <a:avLst/>
              <a:gdLst>
                <a:gd name="T0" fmla="*/ 21 w 41"/>
                <a:gd name="T1" fmla="*/ 0 h 40"/>
                <a:gd name="T2" fmla="*/ 40 w 41"/>
                <a:gd name="T3" fmla="*/ 20 h 40"/>
                <a:gd name="T4" fmla="*/ 20 w 41"/>
                <a:gd name="T5" fmla="*/ 40 h 40"/>
                <a:gd name="T6" fmla="*/ 0 w 41"/>
                <a:gd name="T7" fmla="*/ 20 h 40"/>
                <a:gd name="T8" fmla="*/ 21 w 41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40">
                  <a:moveTo>
                    <a:pt x="21" y="0"/>
                  </a:moveTo>
                  <a:cubicBezTo>
                    <a:pt x="32" y="0"/>
                    <a:pt x="41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ubicBezTo>
                    <a:pt x="9" y="40"/>
                    <a:pt x="0" y="31"/>
                    <a:pt x="0" y="20"/>
                  </a:cubicBezTo>
                  <a:cubicBezTo>
                    <a:pt x="1" y="9"/>
                    <a:pt x="9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1" name="Freeform 20"/>
          <p:cNvSpPr>
            <a:spLocks noChangeAspect="1" noEditPoints="1"/>
          </p:cNvSpPr>
          <p:nvPr/>
        </p:nvSpPr>
        <p:spPr bwMode="auto">
          <a:xfrm>
            <a:off x="5527543" y="2332481"/>
            <a:ext cx="416082" cy="372082"/>
          </a:xfrm>
          <a:custGeom>
            <a:avLst/>
            <a:gdLst/>
            <a:ahLst/>
            <a:cxnLst>
              <a:cxn ang="0">
                <a:pos x="225" y="138"/>
              </a:cxn>
              <a:cxn ang="0">
                <a:pos x="182" y="158"/>
              </a:cxn>
              <a:cxn ang="0">
                <a:pos x="182" y="157"/>
              </a:cxn>
              <a:cxn ang="0">
                <a:pos x="149" y="132"/>
              </a:cxn>
              <a:cxn ang="0">
                <a:pos x="149" y="112"/>
              </a:cxn>
              <a:cxn ang="0">
                <a:pos x="197" y="56"/>
              </a:cxn>
              <a:cxn ang="0">
                <a:pos x="141" y="0"/>
              </a:cxn>
              <a:cxn ang="0">
                <a:pos x="84" y="56"/>
              </a:cxn>
              <a:cxn ang="0">
                <a:pos x="133" y="112"/>
              </a:cxn>
              <a:cxn ang="0">
                <a:pos x="133" y="132"/>
              </a:cxn>
              <a:cxn ang="0">
                <a:pos x="100" y="157"/>
              </a:cxn>
              <a:cxn ang="0">
                <a:pos x="99" y="158"/>
              </a:cxn>
              <a:cxn ang="0">
                <a:pos x="56" y="138"/>
              </a:cxn>
              <a:cxn ang="0">
                <a:pos x="0" y="195"/>
              </a:cxn>
              <a:cxn ang="0">
                <a:pos x="56" y="251"/>
              </a:cxn>
              <a:cxn ang="0">
                <a:pos x="113" y="195"/>
              </a:cxn>
              <a:cxn ang="0">
                <a:pos x="108" y="173"/>
              </a:cxn>
              <a:cxn ang="0">
                <a:pos x="111" y="172"/>
              </a:cxn>
              <a:cxn ang="0">
                <a:pos x="141" y="149"/>
              </a:cxn>
              <a:cxn ang="0">
                <a:pos x="170" y="172"/>
              </a:cxn>
              <a:cxn ang="0">
                <a:pos x="173" y="173"/>
              </a:cxn>
              <a:cxn ang="0">
                <a:pos x="169" y="195"/>
              </a:cxn>
              <a:cxn ang="0">
                <a:pos x="225" y="251"/>
              </a:cxn>
              <a:cxn ang="0">
                <a:pos x="281" y="195"/>
              </a:cxn>
              <a:cxn ang="0">
                <a:pos x="225" y="138"/>
              </a:cxn>
              <a:cxn ang="0">
                <a:pos x="56" y="225"/>
              </a:cxn>
              <a:cxn ang="0">
                <a:pos x="26" y="217"/>
              </a:cxn>
              <a:cxn ang="0">
                <a:pos x="47" y="191"/>
              </a:cxn>
              <a:cxn ang="0">
                <a:pos x="47" y="191"/>
              </a:cxn>
              <a:cxn ang="0">
                <a:pos x="50" y="184"/>
              </a:cxn>
              <a:cxn ang="0">
                <a:pos x="50" y="184"/>
              </a:cxn>
              <a:cxn ang="0">
                <a:pos x="56" y="159"/>
              </a:cxn>
              <a:cxn ang="0">
                <a:pos x="63" y="184"/>
              </a:cxn>
              <a:cxn ang="0">
                <a:pos x="63" y="184"/>
              </a:cxn>
              <a:cxn ang="0">
                <a:pos x="66" y="191"/>
              </a:cxn>
              <a:cxn ang="0">
                <a:pos x="87" y="217"/>
              </a:cxn>
              <a:cxn ang="0">
                <a:pos x="56" y="225"/>
              </a:cxn>
              <a:cxn ang="0">
                <a:pos x="110" y="79"/>
              </a:cxn>
              <a:cxn ang="0">
                <a:pos x="131" y="52"/>
              </a:cxn>
              <a:cxn ang="0">
                <a:pos x="131" y="52"/>
              </a:cxn>
              <a:cxn ang="0">
                <a:pos x="134" y="45"/>
              </a:cxn>
              <a:cxn ang="0">
                <a:pos x="134" y="45"/>
              </a:cxn>
              <a:cxn ang="0">
                <a:pos x="141" y="20"/>
              </a:cxn>
              <a:cxn ang="0">
                <a:pos x="147" y="45"/>
              </a:cxn>
              <a:cxn ang="0">
                <a:pos x="147" y="45"/>
              </a:cxn>
              <a:cxn ang="0">
                <a:pos x="150" y="52"/>
              </a:cxn>
              <a:cxn ang="0">
                <a:pos x="171" y="79"/>
              </a:cxn>
              <a:cxn ang="0">
                <a:pos x="141" y="86"/>
              </a:cxn>
              <a:cxn ang="0">
                <a:pos x="110" y="79"/>
              </a:cxn>
              <a:cxn ang="0">
                <a:pos x="225" y="225"/>
              </a:cxn>
              <a:cxn ang="0">
                <a:pos x="194" y="217"/>
              </a:cxn>
              <a:cxn ang="0">
                <a:pos x="216" y="191"/>
              </a:cxn>
              <a:cxn ang="0">
                <a:pos x="216" y="191"/>
              </a:cxn>
              <a:cxn ang="0">
                <a:pos x="219" y="184"/>
              </a:cxn>
              <a:cxn ang="0">
                <a:pos x="218" y="184"/>
              </a:cxn>
              <a:cxn ang="0">
                <a:pos x="225" y="159"/>
              </a:cxn>
              <a:cxn ang="0">
                <a:pos x="232" y="184"/>
              </a:cxn>
              <a:cxn ang="0">
                <a:pos x="231" y="184"/>
              </a:cxn>
              <a:cxn ang="0">
                <a:pos x="234" y="191"/>
              </a:cxn>
              <a:cxn ang="0">
                <a:pos x="256" y="217"/>
              </a:cxn>
              <a:cxn ang="0">
                <a:pos x="225" y="225"/>
              </a:cxn>
            </a:cxnLst>
            <a:rect l="0" t="0" r="r" b="b"/>
            <a:pathLst>
              <a:path w="281" h="251">
                <a:moveTo>
                  <a:pt x="225" y="138"/>
                </a:moveTo>
                <a:cubicBezTo>
                  <a:pt x="208" y="138"/>
                  <a:pt x="193" y="146"/>
                  <a:pt x="182" y="158"/>
                </a:cubicBezTo>
                <a:cubicBezTo>
                  <a:pt x="182" y="158"/>
                  <a:pt x="182" y="157"/>
                  <a:pt x="182" y="157"/>
                </a:cubicBezTo>
                <a:cubicBezTo>
                  <a:pt x="149" y="132"/>
                  <a:pt x="149" y="132"/>
                  <a:pt x="149" y="132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76" y="108"/>
                  <a:pt x="197" y="84"/>
                  <a:pt x="197" y="56"/>
                </a:cubicBezTo>
                <a:cubicBezTo>
                  <a:pt x="197" y="25"/>
                  <a:pt x="172" y="0"/>
                  <a:pt x="141" y="0"/>
                </a:cubicBezTo>
                <a:cubicBezTo>
                  <a:pt x="110" y="0"/>
                  <a:pt x="84" y="25"/>
                  <a:pt x="84" y="56"/>
                </a:cubicBezTo>
                <a:cubicBezTo>
                  <a:pt x="84" y="84"/>
                  <a:pt x="105" y="108"/>
                  <a:pt x="133" y="11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00" y="157"/>
                  <a:pt x="100" y="157"/>
                  <a:pt x="100" y="157"/>
                </a:cubicBezTo>
                <a:cubicBezTo>
                  <a:pt x="99" y="157"/>
                  <a:pt x="99" y="158"/>
                  <a:pt x="99" y="158"/>
                </a:cubicBezTo>
                <a:cubicBezTo>
                  <a:pt x="89" y="146"/>
                  <a:pt x="73" y="138"/>
                  <a:pt x="56" y="138"/>
                </a:cubicBezTo>
                <a:cubicBezTo>
                  <a:pt x="25" y="138"/>
                  <a:pt x="0" y="164"/>
                  <a:pt x="0" y="195"/>
                </a:cubicBezTo>
                <a:cubicBezTo>
                  <a:pt x="0" y="226"/>
                  <a:pt x="25" y="251"/>
                  <a:pt x="56" y="251"/>
                </a:cubicBezTo>
                <a:cubicBezTo>
                  <a:pt x="88" y="251"/>
                  <a:pt x="113" y="226"/>
                  <a:pt x="113" y="195"/>
                </a:cubicBezTo>
                <a:cubicBezTo>
                  <a:pt x="113" y="187"/>
                  <a:pt x="111" y="180"/>
                  <a:pt x="108" y="173"/>
                </a:cubicBezTo>
                <a:cubicBezTo>
                  <a:pt x="109" y="173"/>
                  <a:pt x="110" y="172"/>
                  <a:pt x="111" y="172"/>
                </a:cubicBezTo>
                <a:cubicBezTo>
                  <a:pt x="141" y="149"/>
                  <a:pt x="141" y="149"/>
                  <a:pt x="141" y="149"/>
                </a:cubicBezTo>
                <a:cubicBezTo>
                  <a:pt x="170" y="172"/>
                  <a:pt x="170" y="172"/>
                  <a:pt x="170" y="172"/>
                </a:cubicBezTo>
                <a:cubicBezTo>
                  <a:pt x="171" y="172"/>
                  <a:pt x="172" y="173"/>
                  <a:pt x="173" y="173"/>
                </a:cubicBezTo>
                <a:cubicBezTo>
                  <a:pt x="170" y="180"/>
                  <a:pt x="169" y="187"/>
                  <a:pt x="169" y="195"/>
                </a:cubicBezTo>
                <a:cubicBezTo>
                  <a:pt x="169" y="226"/>
                  <a:pt x="194" y="251"/>
                  <a:pt x="225" y="251"/>
                </a:cubicBezTo>
                <a:cubicBezTo>
                  <a:pt x="256" y="251"/>
                  <a:pt x="281" y="226"/>
                  <a:pt x="281" y="195"/>
                </a:cubicBezTo>
                <a:cubicBezTo>
                  <a:pt x="281" y="164"/>
                  <a:pt x="256" y="138"/>
                  <a:pt x="225" y="138"/>
                </a:cubicBezTo>
                <a:close/>
                <a:moveTo>
                  <a:pt x="56" y="225"/>
                </a:moveTo>
                <a:cubicBezTo>
                  <a:pt x="56" y="225"/>
                  <a:pt x="26" y="226"/>
                  <a:pt x="26" y="217"/>
                </a:cubicBezTo>
                <a:cubicBezTo>
                  <a:pt x="26" y="198"/>
                  <a:pt x="38" y="193"/>
                  <a:pt x="47" y="191"/>
                </a:cubicBezTo>
                <a:cubicBezTo>
                  <a:pt x="47" y="191"/>
                  <a:pt x="47" y="191"/>
                  <a:pt x="47" y="191"/>
                </a:cubicBezTo>
                <a:cubicBezTo>
                  <a:pt x="53" y="189"/>
                  <a:pt x="51" y="185"/>
                  <a:pt x="50" y="184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45" y="179"/>
                  <a:pt x="41" y="159"/>
                  <a:pt x="56" y="159"/>
                </a:cubicBezTo>
                <a:cubicBezTo>
                  <a:pt x="72" y="159"/>
                  <a:pt x="68" y="179"/>
                  <a:pt x="63" y="184"/>
                </a:cubicBezTo>
                <a:cubicBezTo>
                  <a:pt x="63" y="184"/>
                  <a:pt x="63" y="184"/>
                  <a:pt x="63" y="184"/>
                </a:cubicBezTo>
                <a:cubicBezTo>
                  <a:pt x="62" y="185"/>
                  <a:pt x="60" y="189"/>
                  <a:pt x="66" y="191"/>
                </a:cubicBezTo>
                <a:cubicBezTo>
                  <a:pt x="74" y="193"/>
                  <a:pt x="87" y="198"/>
                  <a:pt x="87" y="217"/>
                </a:cubicBezTo>
                <a:cubicBezTo>
                  <a:pt x="87" y="226"/>
                  <a:pt x="56" y="225"/>
                  <a:pt x="56" y="225"/>
                </a:cubicBezTo>
                <a:close/>
                <a:moveTo>
                  <a:pt x="110" y="79"/>
                </a:moveTo>
                <a:cubicBezTo>
                  <a:pt x="110" y="59"/>
                  <a:pt x="123" y="54"/>
                  <a:pt x="131" y="52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37" y="50"/>
                  <a:pt x="135" y="47"/>
                  <a:pt x="134" y="45"/>
                </a:cubicBezTo>
                <a:cubicBezTo>
                  <a:pt x="134" y="45"/>
                  <a:pt x="134" y="45"/>
                  <a:pt x="134" y="45"/>
                </a:cubicBezTo>
                <a:cubicBezTo>
                  <a:pt x="129" y="40"/>
                  <a:pt x="125" y="20"/>
                  <a:pt x="141" y="20"/>
                </a:cubicBezTo>
                <a:cubicBezTo>
                  <a:pt x="157" y="20"/>
                  <a:pt x="152" y="40"/>
                  <a:pt x="147" y="45"/>
                </a:cubicBezTo>
                <a:cubicBezTo>
                  <a:pt x="147" y="45"/>
                  <a:pt x="147" y="45"/>
                  <a:pt x="147" y="45"/>
                </a:cubicBezTo>
                <a:cubicBezTo>
                  <a:pt x="146" y="47"/>
                  <a:pt x="144" y="50"/>
                  <a:pt x="150" y="52"/>
                </a:cubicBezTo>
                <a:cubicBezTo>
                  <a:pt x="159" y="54"/>
                  <a:pt x="171" y="59"/>
                  <a:pt x="171" y="79"/>
                </a:cubicBezTo>
                <a:cubicBezTo>
                  <a:pt x="171" y="87"/>
                  <a:pt x="141" y="86"/>
                  <a:pt x="141" y="86"/>
                </a:cubicBezTo>
                <a:cubicBezTo>
                  <a:pt x="141" y="86"/>
                  <a:pt x="110" y="87"/>
                  <a:pt x="110" y="79"/>
                </a:cubicBezTo>
                <a:close/>
                <a:moveTo>
                  <a:pt x="225" y="225"/>
                </a:moveTo>
                <a:cubicBezTo>
                  <a:pt x="225" y="225"/>
                  <a:pt x="194" y="226"/>
                  <a:pt x="194" y="217"/>
                </a:cubicBezTo>
                <a:cubicBezTo>
                  <a:pt x="194" y="198"/>
                  <a:pt x="207" y="193"/>
                  <a:pt x="216" y="191"/>
                </a:cubicBezTo>
                <a:cubicBezTo>
                  <a:pt x="216" y="191"/>
                  <a:pt x="216" y="191"/>
                  <a:pt x="216" y="191"/>
                </a:cubicBezTo>
                <a:cubicBezTo>
                  <a:pt x="221" y="189"/>
                  <a:pt x="220" y="185"/>
                  <a:pt x="219" y="184"/>
                </a:cubicBezTo>
                <a:cubicBezTo>
                  <a:pt x="219" y="184"/>
                  <a:pt x="218" y="184"/>
                  <a:pt x="218" y="184"/>
                </a:cubicBezTo>
                <a:cubicBezTo>
                  <a:pt x="213" y="179"/>
                  <a:pt x="209" y="159"/>
                  <a:pt x="225" y="159"/>
                </a:cubicBezTo>
                <a:cubicBezTo>
                  <a:pt x="241" y="159"/>
                  <a:pt x="237" y="179"/>
                  <a:pt x="232" y="184"/>
                </a:cubicBezTo>
                <a:cubicBezTo>
                  <a:pt x="232" y="184"/>
                  <a:pt x="231" y="184"/>
                  <a:pt x="231" y="184"/>
                </a:cubicBezTo>
                <a:cubicBezTo>
                  <a:pt x="230" y="185"/>
                  <a:pt x="228" y="189"/>
                  <a:pt x="234" y="191"/>
                </a:cubicBezTo>
                <a:cubicBezTo>
                  <a:pt x="243" y="193"/>
                  <a:pt x="256" y="198"/>
                  <a:pt x="256" y="217"/>
                </a:cubicBezTo>
                <a:cubicBezTo>
                  <a:pt x="256" y="226"/>
                  <a:pt x="225" y="225"/>
                  <a:pt x="225" y="22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>
              <a:solidFill>
                <a:prstClr val="black"/>
              </a:solidFill>
            </a:endParaRPr>
          </a:p>
        </p:txBody>
      </p:sp>
      <p:sp>
        <p:nvSpPr>
          <p:cNvPr id="82" name="Freeform 20"/>
          <p:cNvSpPr>
            <a:spLocks noChangeAspect="1" noEditPoints="1"/>
          </p:cNvSpPr>
          <p:nvPr/>
        </p:nvSpPr>
        <p:spPr bwMode="auto">
          <a:xfrm>
            <a:off x="940517" y="5266719"/>
            <a:ext cx="640080" cy="572392"/>
          </a:xfrm>
          <a:custGeom>
            <a:avLst/>
            <a:gdLst/>
            <a:ahLst/>
            <a:cxnLst>
              <a:cxn ang="0">
                <a:pos x="225" y="138"/>
              </a:cxn>
              <a:cxn ang="0">
                <a:pos x="182" y="158"/>
              </a:cxn>
              <a:cxn ang="0">
                <a:pos x="182" y="157"/>
              </a:cxn>
              <a:cxn ang="0">
                <a:pos x="149" y="132"/>
              </a:cxn>
              <a:cxn ang="0">
                <a:pos x="149" y="112"/>
              </a:cxn>
              <a:cxn ang="0">
                <a:pos x="197" y="56"/>
              </a:cxn>
              <a:cxn ang="0">
                <a:pos x="141" y="0"/>
              </a:cxn>
              <a:cxn ang="0">
                <a:pos x="84" y="56"/>
              </a:cxn>
              <a:cxn ang="0">
                <a:pos x="133" y="112"/>
              </a:cxn>
              <a:cxn ang="0">
                <a:pos x="133" y="132"/>
              </a:cxn>
              <a:cxn ang="0">
                <a:pos x="100" y="157"/>
              </a:cxn>
              <a:cxn ang="0">
                <a:pos x="99" y="158"/>
              </a:cxn>
              <a:cxn ang="0">
                <a:pos x="56" y="138"/>
              </a:cxn>
              <a:cxn ang="0">
                <a:pos x="0" y="195"/>
              </a:cxn>
              <a:cxn ang="0">
                <a:pos x="56" y="251"/>
              </a:cxn>
              <a:cxn ang="0">
                <a:pos x="113" y="195"/>
              </a:cxn>
              <a:cxn ang="0">
                <a:pos x="108" y="173"/>
              </a:cxn>
              <a:cxn ang="0">
                <a:pos x="111" y="172"/>
              </a:cxn>
              <a:cxn ang="0">
                <a:pos x="141" y="149"/>
              </a:cxn>
              <a:cxn ang="0">
                <a:pos x="170" y="172"/>
              </a:cxn>
              <a:cxn ang="0">
                <a:pos x="173" y="173"/>
              </a:cxn>
              <a:cxn ang="0">
                <a:pos x="169" y="195"/>
              </a:cxn>
              <a:cxn ang="0">
                <a:pos x="225" y="251"/>
              </a:cxn>
              <a:cxn ang="0">
                <a:pos x="281" y="195"/>
              </a:cxn>
              <a:cxn ang="0">
                <a:pos x="225" y="138"/>
              </a:cxn>
              <a:cxn ang="0">
                <a:pos x="56" y="225"/>
              </a:cxn>
              <a:cxn ang="0">
                <a:pos x="26" y="217"/>
              </a:cxn>
              <a:cxn ang="0">
                <a:pos x="47" y="191"/>
              </a:cxn>
              <a:cxn ang="0">
                <a:pos x="47" y="191"/>
              </a:cxn>
              <a:cxn ang="0">
                <a:pos x="50" y="184"/>
              </a:cxn>
              <a:cxn ang="0">
                <a:pos x="50" y="184"/>
              </a:cxn>
              <a:cxn ang="0">
                <a:pos x="56" y="159"/>
              </a:cxn>
              <a:cxn ang="0">
                <a:pos x="63" y="184"/>
              </a:cxn>
              <a:cxn ang="0">
                <a:pos x="63" y="184"/>
              </a:cxn>
              <a:cxn ang="0">
                <a:pos x="66" y="191"/>
              </a:cxn>
              <a:cxn ang="0">
                <a:pos x="87" y="217"/>
              </a:cxn>
              <a:cxn ang="0">
                <a:pos x="56" y="225"/>
              </a:cxn>
              <a:cxn ang="0">
                <a:pos x="110" y="79"/>
              </a:cxn>
              <a:cxn ang="0">
                <a:pos x="131" y="52"/>
              </a:cxn>
              <a:cxn ang="0">
                <a:pos x="131" y="52"/>
              </a:cxn>
              <a:cxn ang="0">
                <a:pos x="134" y="45"/>
              </a:cxn>
              <a:cxn ang="0">
                <a:pos x="134" y="45"/>
              </a:cxn>
              <a:cxn ang="0">
                <a:pos x="141" y="20"/>
              </a:cxn>
              <a:cxn ang="0">
                <a:pos x="147" y="45"/>
              </a:cxn>
              <a:cxn ang="0">
                <a:pos x="147" y="45"/>
              </a:cxn>
              <a:cxn ang="0">
                <a:pos x="150" y="52"/>
              </a:cxn>
              <a:cxn ang="0">
                <a:pos x="171" y="79"/>
              </a:cxn>
              <a:cxn ang="0">
                <a:pos x="141" y="86"/>
              </a:cxn>
              <a:cxn ang="0">
                <a:pos x="110" y="79"/>
              </a:cxn>
              <a:cxn ang="0">
                <a:pos x="225" y="225"/>
              </a:cxn>
              <a:cxn ang="0">
                <a:pos x="194" y="217"/>
              </a:cxn>
              <a:cxn ang="0">
                <a:pos x="216" y="191"/>
              </a:cxn>
              <a:cxn ang="0">
                <a:pos x="216" y="191"/>
              </a:cxn>
              <a:cxn ang="0">
                <a:pos x="219" y="184"/>
              </a:cxn>
              <a:cxn ang="0">
                <a:pos x="218" y="184"/>
              </a:cxn>
              <a:cxn ang="0">
                <a:pos x="225" y="159"/>
              </a:cxn>
              <a:cxn ang="0">
                <a:pos x="232" y="184"/>
              </a:cxn>
              <a:cxn ang="0">
                <a:pos x="231" y="184"/>
              </a:cxn>
              <a:cxn ang="0">
                <a:pos x="234" y="191"/>
              </a:cxn>
              <a:cxn ang="0">
                <a:pos x="256" y="217"/>
              </a:cxn>
              <a:cxn ang="0">
                <a:pos x="225" y="225"/>
              </a:cxn>
            </a:cxnLst>
            <a:rect l="0" t="0" r="r" b="b"/>
            <a:pathLst>
              <a:path w="281" h="251">
                <a:moveTo>
                  <a:pt x="225" y="138"/>
                </a:moveTo>
                <a:cubicBezTo>
                  <a:pt x="208" y="138"/>
                  <a:pt x="193" y="146"/>
                  <a:pt x="182" y="158"/>
                </a:cubicBezTo>
                <a:cubicBezTo>
                  <a:pt x="182" y="158"/>
                  <a:pt x="182" y="157"/>
                  <a:pt x="182" y="157"/>
                </a:cubicBezTo>
                <a:cubicBezTo>
                  <a:pt x="149" y="132"/>
                  <a:pt x="149" y="132"/>
                  <a:pt x="149" y="132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76" y="108"/>
                  <a:pt x="197" y="84"/>
                  <a:pt x="197" y="56"/>
                </a:cubicBezTo>
                <a:cubicBezTo>
                  <a:pt x="197" y="25"/>
                  <a:pt x="172" y="0"/>
                  <a:pt x="141" y="0"/>
                </a:cubicBezTo>
                <a:cubicBezTo>
                  <a:pt x="110" y="0"/>
                  <a:pt x="84" y="25"/>
                  <a:pt x="84" y="56"/>
                </a:cubicBezTo>
                <a:cubicBezTo>
                  <a:pt x="84" y="84"/>
                  <a:pt x="105" y="108"/>
                  <a:pt x="133" y="112"/>
                </a:cubicBezTo>
                <a:cubicBezTo>
                  <a:pt x="133" y="132"/>
                  <a:pt x="133" y="132"/>
                  <a:pt x="133" y="132"/>
                </a:cubicBezTo>
                <a:cubicBezTo>
                  <a:pt x="100" y="157"/>
                  <a:pt x="100" y="157"/>
                  <a:pt x="100" y="157"/>
                </a:cubicBezTo>
                <a:cubicBezTo>
                  <a:pt x="99" y="157"/>
                  <a:pt x="99" y="158"/>
                  <a:pt x="99" y="158"/>
                </a:cubicBezTo>
                <a:cubicBezTo>
                  <a:pt x="89" y="146"/>
                  <a:pt x="73" y="138"/>
                  <a:pt x="56" y="138"/>
                </a:cubicBezTo>
                <a:cubicBezTo>
                  <a:pt x="25" y="138"/>
                  <a:pt x="0" y="164"/>
                  <a:pt x="0" y="195"/>
                </a:cubicBezTo>
                <a:cubicBezTo>
                  <a:pt x="0" y="226"/>
                  <a:pt x="25" y="251"/>
                  <a:pt x="56" y="251"/>
                </a:cubicBezTo>
                <a:cubicBezTo>
                  <a:pt x="88" y="251"/>
                  <a:pt x="113" y="226"/>
                  <a:pt x="113" y="195"/>
                </a:cubicBezTo>
                <a:cubicBezTo>
                  <a:pt x="113" y="187"/>
                  <a:pt x="111" y="180"/>
                  <a:pt x="108" y="173"/>
                </a:cubicBezTo>
                <a:cubicBezTo>
                  <a:pt x="109" y="173"/>
                  <a:pt x="110" y="172"/>
                  <a:pt x="111" y="172"/>
                </a:cubicBezTo>
                <a:cubicBezTo>
                  <a:pt x="141" y="149"/>
                  <a:pt x="141" y="149"/>
                  <a:pt x="141" y="149"/>
                </a:cubicBezTo>
                <a:cubicBezTo>
                  <a:pt x="170" y="172"/>
                  <a:pt x="170" y="172"/>
                  <a:pt x="170" y="172"/>
                </a:cubicBezTo>
                <a:cubicBezTo>
                  <a:pt x="171" y="172"/>
                  <a:pt x="172" y="173"/>
                  <a:pt x="173" y="173"/>
                </a:cubicBezTo>
                <a:cubicBezTo>
                  <a:pt x="170" y="180"/>
                  <a:pt x="169" y="187"/>
                  <a:pt x="169" y="195"/>
                </a:cubicBezTo>
                <a:cubicBezTo>
                  <a:pt x="169" y="226"/>
                  <a:pt x="194" y="251"/>
                  <a:pt x="225" y="251"/>
                </a:cubicBezTo>
                <a:cubicBezTo>
                  <a:pt x="256" y="251"/>
                  <a:pt x="281" y="226"/>
                  <a:pt x="281" y="195"/>
                </a:cubicBezTo>
                <a:cubicBezTo>
                  <a:pt x="281" y="164"/>
                  <a:pt x="256" y="138"/>
                  <a:pt x="225" y="138"/>
                </a:cubicBezTo>
                <a:close/>
                <a:moveTo>
                  <a:pt x="56" y="225"/>
                </a:moveTo>
                <a:cubicBezTo>
                  <a:pt x="56" y="225"/>
                  <a:pt x="26" y="226"/>
                  <a:pt x="26" y="217"/>
                </a:cubicBezTo>
                <a:cubicBezTo>
                  <a:pt x="26" y="198"/>
                  <a:pt x="38" y="193"/>
                  <a:pt x="47" y="191"/>
                </a:cubicBezTo>
                <a:cubicBezTo>
                  <a:pt x="47" y="191"/>
                  <a:pt x="47" y="191"/>
                  <a:pt x="47" y="191"/>
                </a:cubicBezTo>
                <a:cubicBezTo>
                  <a:pt x="53" y="189"/>
                  <a:pt x="51" y="185"/>
                  <a:pt x="50" y="184"/>
                </a:cubicBezTo>
                <a:cubicBezTo>
                  <a:pt x="50" y="184"/>
                  <a:pt x="50" y="184"/>
                  <a:pt x="50" y="184"/>
                </a:cubicBezTo>
                <a:cubicBezTo>
                  <a:pt x="45" y="179"/>
                  <a:pt x="41" y="159"/>
                  <a:pt x="56" y="159"/>
                </a:cubicBezTo>
                <a:cubicBezTo>
                  <a:pt x="72" y="159"/>
                  <a:pt x="68" y="179"/>
                  <a:pt x="63" y="184"/>
                </a:cubicBezTo>
                <a:cubicBezTo>
                  <a:pt x="63" y="184"/>
                  <a:pt x="63" y="184"/>
                  <a:pt x="63" y="184"/>
                </a:cubicBezTo>
                <a:cubicBezTo>
                  <a:pt x="62" y="185"/>
                  <a:pt x="60" y="189"/>
                  <a:pt x="66" y="191"/>
                </a:cubicBezTo>
                <a:cubicBezTo>
                  <a:pt x="74" y="193"/>
                  <a:pt x="87" y="198"/>
                  <a:pt x="87" y="217"/>
                </a:cubicBezTo>
                <a:cubicBezTo>
                  <a:pt x="87" y="226"/>
                  <a:pt x="56" y="225"/>
                  <a:pt x="56" y="225"/>
                </a:cubicBezTo>
                <a:close/>
                <a:moveTo>
                  <a:pt x="110" y="79"/>
                </a:moveTo>
                <a:cubicBezTo>
                  <a:pt x="110" y="59"/>
                  <a:pt x="123" y="54"/>
                  <a:pt x="131" y="52"/>
                </a:cubicBezTo>
                <a:cubicBezTo>
                  <a:pt x="131" y="52"/>
                  <a:pt x="131" y="52"/>
                  <a:pt x="131" y="52"/>
                </a:cubicBezTo>
                <a:cubicBezTo>
                  <a:pt x="137" y="50"/>
                  <a:pt x="135" y="47"/>
                  <a:pt x="134" y="45"/>
                </a:cubicBezTo>
                <a:cubicBezTo>
                  <a:pt x="134" y="45"/>
                  <a:pt x="134" y="45"/>
                  <a:pt x="134" y="45"/>
                </a:cubicBezTo>
                <a:cubicBezTo>
                  <a:pt x="129" y="40"/>
                  <a:pt x="125" y="20"/>
                  <a:pt x="141" y="20"/>
                </a:cubicBezTo>
                <a:cubicBezTo>
                  <a:pt x="157" y="20"/>
                  <a:pt x="152" y="40"/>
                  <a:pt x="147" y="45"/>
                </a:cubicBezTo>
                <a:cubicBezTo>
                  <a:pt x="147" y="45"/>
                  <a:pt x="147" y="45"/>
                  <a:pt x="147" y="45"/>
                </a:cubicBezTo>
                <a:cubicBezTo>
                  <a:pt x="146" y="47"/>
                  <a:pt x="144" y="50"/>
                  <a:pt x="150" y="52"/>
                </a:cubicBezTo>
                <a:cubicBezTo>
                  <a:pt x="159" y="54"/>
                  <a:pt x="171" y="59"/>
                  <a:pt x="171" y="79"/>
                </a:cubicBezTo>
                <a:cubicBezTo>
                  <a:pt x="171" y="87"/>
                  <a:pt x="141" y="86"/>
                  <a:pt x="141" y="86"/>
                </a:cubicBezTo>
                <a:cubicBezTo>
                  <a:pt x="141" y="86"/>
                  <a:pt x="110" y="87"/>
                  <a:pt x="110" y="79"/>
                </a:cubicBezTo>
                <a:close/>
                <a:moveTo>
                  <a:pt x="225" y="225"/>
                </a:moveTo>
                <a:cubicBezTo>
                  <a:pt x="225" y="225"/>
                  <a:pt x="194" y="226"/>
                  <a:pt x="194" y="217"/>
                </a:cubicBezTo>
                <a:cubicBezTo>
                  <a:pt x="194" y="198"/>
                  <a:pt x="207" y="193"/>
                  <a:pt x="216" y="191"/>
                </a:cubicBezTo>
                <a:cubicBezTo>
                  <a:pt x="216" y="191"/>
                  <a:pt x="216" y="191"/>
                  <a:pt x="216" y="191"/>
                </a:cubicBezTo>
                <a:cubicBezTo>
                  <a:pt x="221" y="189"/>
                  <a:pt x="220" y="185"/>
                  <a:pt x="219" y="184"/>
                </a:cubicBezTo>
                <a:cubicBezTo>
                  <a:pt x="219" y="184"/>
                  <a:pt x="218" y="184"/>
                  <a:pt x="218" y="184"/>
                </a:cubicBezTo>
                <a:cubicBezTo>
                  <a:pt x="213" y="179"/>
                  <a:pt x="209" y="159"/>
                  <a:pt x="225" y="159"/>
                </a:cubicBezTo>
                <a:cubicBezTo>
                  <a:pt x="241" y="159"/>
                  <a:pt x="237" y="179"/>
                  <a:pt x="232" y="184"/>
                </a:cubicBezTo>
                <a:cubicBezTo>
                  <a:pt x="232" y="184"/>
                  <a:pt x="231" y="184"/>
                  <a:pt x="231" y="184"/>
                </a:cubicBezTo>
                <a:cubicBezTo>
                  <a:pt x="230" y="185"/>
                  <a:pt x="228" y="189"/>
                  <a:pt x="234" y="191"/>
                </a:cubicBezTo>
                <a:cubicBezTo>
                  <a:pt x="243" y="193"/>
                  <a:pt x="256" y="198"/>
                  <a:pt x="256" y="217"/>
                </a:cubicBezTo>
                <a:cubicBezTo>
                  <a:pt x="256" y="226"/>
                  <a:pt x="225" y="225"/>
                  <a:pt x="225" y="225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en-US" sz="1463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17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/>
          <p:nvPr/>
        </p:nvSpPr>
        <p:spPr>
          <a:xfrm>
            <a:off x="832836" y="5602311"/>
            <a:ext cx="1005840" cy="875761"/>
          </a:xfrm>
          <a:prstGeom prst="rect">
            <a:avLst/>
          </a:prstGeom>
          <a:solidFill>
            <a:srgbClr val="0091DA"/>
          </a:solidFill>
          <a:ln>
            <a:solidFill>
              <a:srgbClr val="009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832836" y="4739426"/>
            <a:ext cx="1005840" cy="77273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32836" y="3348507"/>
            <a:ext cx="1005840" cy="1307978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err="1"/>
              <a:t>FinTech</a:t>
            </a:r>
            <a:r>
              <a:rPr lang="ru-RU" sz="2800" dirty="0"/>
              <a:t> является предпосылками текущей и потенциальной трансформации различных элементов бизнес-модели и операционной модели (1/2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50007" y="1168141"/>
            <a:ext cx="8693238" cy="1922789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headEnd/>
            <a:tailEnd/>
          </a:ln>
          <a:effectLst/>
        </p:spPr>
        <p:txBody>
          <a:bodyPr wrap="none" lIns="92672" tIns="46336" rIns="92672" bIns="46336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kern="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991674" y="2458226"/>
            <a:ext cx="3931920" cy="385299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2672" tIns="71519" rIns="92672" bIns="46336" anchor="ctr"/>
          <a:lstStyle/>
          <a:p>
            <a:pPr marL="529826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kern="0" dirty="0" smtClean="0">
                <a:solidFill>
                  <a:srgbClr val="FFFFFF"/>
                </a:solidFill>
              </a:rPr>
              <a:t>ПЕРСОНАЛ</a:t>
            </a:r>
            <a:endParaRPr lang="uk-UA" sz="1200" b="1" kern="0" dirty="0">
              <a:solidFill>
                <a:srgbClr val="FFFFFF"/>
              </a:solidFill>
            </a:endParaRPr>
          </a:p>
        </p:txBody>
      </p:sp>
      <p:sp>
        <p:nvSpPr>
          <p:cNvPr id="6" name="Rectangle 14"/>
          <p:cNvSpPr>
            <a:spLocks noChangeArrowheads="1"/>
          </p:cNvSpPr>
          <p:nvPr/>
        </p:nvSpPr>
        <p:spPr bwMode="auto">
          <a:xfrm>
            <a:off x="5521172" y="2457364"/>
            <a:ext cx="3931920" cy="386161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lIns="92672" tIns="71519" rIns="92672" bIns="46336" anchor="ctr"/>
          <a:lstStyle/>
          <a:p>
            <a:pPr marL="356371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sz="1200" b="1" kern="0" dirty="0">
                <a:solidFill>
                  <a:srgbClr val="FFFFFF"/>
                </a:solidFill>
              </a:rPr>
              <a:t>     </a:t>
            </a:r>
            <a:r>
              <a:rPr lang="uk-UA" sz="1200" b="1" kern="0" dirty="0" smtClean="0">
                <a:solidFill>
                  <a:srgbClr val="FFFFFF"/>
                </a:solidFill>
              </a:rPr>
              <a:t>БИЗНЕС-ПРОЦЕССЫ</a:t>
            </a:r>
            <a:endParaRPr lang="uk-UA" sz="1200" b="1" kern="0" dirty="0">
              <a:solidFill>
                <a:srgbClr val="FFFFFF"/>
              </a:solidFill>
            </a:endParaRP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 bwMode="auto">
          <a:xfrm>
            <a:off x="991673" y="1988546"/>
            <a:ext cx="8461419" cy="386161"/>
          </a:xfrm>
          <a:prstGeom prst="rect">
            <a:avLst/>
          </a:prstGeom>
          <a:solidFill>
            <a:schemeClr val="tx2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2672" tIns="71519" rIns="92672" bIns="46336" anchor="ctr"/>
          <a:lstStyle>
            <a:defPPr>
              <a:defRPr lang="en-US"/>
            </a:defPPr>
            <a:lvl1pPr>
              <a:defRPr sz="1200" b="1">
                <a:solidFill>
                  <a:schemeClr val="bg1"/>
                </a:solidFill>
                <a:latin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</a:defRPr>
            </a:lvl5pPr>
            <a:lvl6pPr>
              <a:defRPr>
                <a:solidFill>
                  <a:schemeClr val="tx1"/>
                </a:solidFill>
                <a:latin typeface="Arial" charset="0"/>
              </a:defRPr>
            </a:lvl6pPr>
            <a:lvl7pPr>
              <a:defRPr>
                <a:solidFill>
                  <a:schemeClr val="tx1"/>
                </a:solidFill>
                <a:latin typeface="Arial" charset="0"/>
              </a:defRPr>
            </a:lvl7pPr>
            <a:lvl8pPr>
              <a:defRPr>
                <a:solidFill>
                  <a:schemeClr val="tx1"/>
                </a:solidFill>
                <a:latin typeface="Arial" charset="0"/>
              </a:defRPr>
            </a:lvl8pPr>
            <a:lvl9pPr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4304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uk-UA" kern="0" dirty="0" smtClean="0">
                <a:solidFill>
                  <a:srgbClr val="FFFFFF"/>
                </a:solidFill>
                <a:latin typeface="+mn-lt"/>
              </a:rPr>
              <a:t>ОРГАНИЗАЦИОННО-ФУНКЦИОНАЛЬНАЯ МОДЕЛЬ</a:t>
            </a:r>
            <a:endParaRPr lang="uk-UA" kern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553733" y="1237460"/>
            <a:ext cx="3029210" cy="2127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uk-UA" sz="1200" b="1" dirty="0" smtClean="0">
                <a:solidFill>
                  <a:srgbClr val="000000"/>
                </a:solidFill>
                <a:cs typeface="+mn-cs"/>
              </a:rPr>
              <a:t>ОПЕРАЦИОННАЯ МОДЕЛЬ</a:t>
            </a:r>
            <a:endParaRPr lang="uk-UA" sz="1200" b="1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Right Arrow 8"/>
          <p:cNvSpPr/>
          <p:nvPr/>
        </p:nvSpPr>
        <p:spPr bwMode="ltGray">
          <a:xfrm rot="16200000" flipV="1">
            <a:off x="5728181" y="1396209"/>
            <a:ext cx="274320" cy="365760"/>
          </a:xfrm>
          <a:prstGeom prst="rightArrow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29014" y="1748255"/>
            <a:ext cx="2468880" cy="1828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uk-UA" sz="1200" b="1" dirty="0">
                <a:solidFill>
                  <a:srgbClr val="000000"/>
                </a:solidFill>
              </a:rPr>
              <a:t>ф</a:t>
            </a:r>
            <a:r>
              <a:rPr lang="uk-UA" sz="1200" b="1" dirty="0" smtClean="0">
                <a:solidFill>
                  <a:srgbClr val="000000"/>
                </a:solidFill>
              </a:rPr>
              <a:t>ункцональные возможности</a:t>
            </a:r>
            <a:endParaRPr lang="uk-UA" sz="1200" b="1" dirty="0">
              <a:solidFill>
                <a:srgbClr val="000000"/>
              </a:solidFill>
            </a:endParaRPr>
          </a:p>
        </p:txBody>
      </p:sp>
      <p:sp>
        <p:nvSpPr>
          <p:cNvPr id="11" name="Right Arrow 10"/>
          <p:cNvSpPr/>
          <p:nvPr/>
        </p:nvSpPr>
        <p:spPr bwMode="ltGray">
          <a:xfrm rot="16200000" flipV="1">
            <a:off x="4023728" y="1396209"/>
            <a:ext cx="274320" cy="365760"/>
          </a:xfrm>
          <a:prstGeom prst="rightArrow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endParaRPr lang="uk-UA" sz="1887" b="0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3" name="Прямоугольник 4"/>
          <p:cNvSpPr/>
          <p:nvPr/>
        </p:nvSpPr>
        <p:spPr>
          <a:xfrm>
            <a:off x="1812502" y="2862914"/>
            <a:ext cx="2067458" cy="194369"/>
          </a:xfrm>
          <a:prstGeom prst="rect">
            <a:avLst/>
          </a:prstGeom>
          <a:noFill/>
          <a:ln w="25400">
            <a:noFill/>
          </a:ln>
        </p:spPr>
        <p:txBody>
          <a:bodyPr rot="0" spcFirstLastPara="0" vertOverflow="overflow" horzOverflow="overflow" vert="horz" wrap="square" lIns="0" tIns="45414" rIns="0" bIns="454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качество</a:t>
            </a:r>
            <a:endParaRPr lang="ru-RU" sz="1200" dirty="0">
              <a:cs typeface="+mn-cs"/>
            </a:endParaRPr>
          </a:p>
        </p:txBody>
      </p:sp>
      <p:sp>
        <p:nvSpPr>
          <p:cNvPr id="14" name="Прямоугольник 67"/>
          <p:cNvSpPr/>
          <p:nvPr/>
        </p:nvSpPr>
        <p:spPr>
          <a:xfrm>
            <a:off x="6509872" y="2853992"/>
            <a:ext cx="2067458" cy="203292"/>
          </a:xfrm>
          <a:prstGeom prst="rect">
            <a:avLst/>
          </a:prstGeom>
          <a:noFill/>
          <a:ln w="25400">
            <a:noFill/>
          </a:ln>
        </p:spPr>
        <p:txBody>
          <a:bodyPr rot="0" spcFirstLastPara="0" vertOverflow="overflow" horzOverflow="overflow" vert="horz" wrap="square" lIns="0" tIns="45414" rIns="0" bIns="4541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43048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cs typeface="+mn-cs"/>
              </a:rPr>
              <a:t>эффективность</a:t>
            </a:r>
            <a:endParaRPr lang="ru-RU" sz="1200" dirty="0"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898289" y="3387144"/>
            <a:ext cx="7589520" cy="12403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</a:rPr>
              <a:t>Внедрение гибких организационно-функциональных моделей, способных быстро адаптироваться к меняющейся бизнес-среде, таких как, методология </a:t>
            </a:r>
            <a:r>
              <a:rPr lang="ru-RU" sz="1200" dirty="0" err="1">
                <a:solidFill>
                  <a:srgbClr val="000000"/>
                </a:solidFill>
              </a:rPr>
              <a:t>Agile</a:t>
            </a:r>
            <a:r>
              <a:rPr lang="ru-RU" sz="1200" dirty="0">
                <a:solidFill>
                  <a:srgbClr val="000000"/>
                </a:solidFill>
              </a:rPr>
              <a:t> (система управления, основанная на динамическом формировании требований и самоорганизующихся рабочих группах) а так же концепция «бирюзовой организации», основанной на организованном самоуправлении, внутреннем консультировании и постановке эволюционных, социально ответственных целей</a:t>
            </a:r>
          </a:p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</a:rPr>
              <a:t>Возможное изменение традиционных банковских технологий, за счет внедрения инновационных решений (например «</a:t>
            </a:r>
            <a:r>
              <a:rPr lang="ru-RU" sz="1200" dirty="0" err="1">
                <a:solidFill>
                  <a:srgbClr val="000000"/>
                </a:solidFill>
              </a:rPr>
              <a:t>blockchain</a:t>
            </a:r>
            <a:r>
              <a:rPr lang="ru-RU" sz="1200" dirty="0">
                <a:solidFill>
                  <a:srgbClr val="000000"/>
                </a:solidFill>
              </a:rPr>
              <a:t>»), в том числе в части </a:t>
            </a:r>
            <a:r>
              <a:rPr lang="ru-RU" sz="1200" dirty="0" err="1">
                <a:solidFill>
                  <a:srgbClr val="000000"/>
                </a:solidFill>
              </a:rPr>
              <a:t>мидл</a:t>
            </a:r>
            <a:r>
              <a:rPr lang="ru-RU" sz="1200" dirty="0">
                <a:solidFill>
                  <a:srgbClr val="000000"/>
                </a:solidFill>
              </a:rPr>
              <a:t> и </a:t>
            </a:r>
            <a:r>
              <a:rPr lang="ru-RU" sz="1200" dirty="0" err="1">
                <a:solidFill>
                  <a:srgbClr val="000000"/>
                </a:solidFill>
              </a:rPr>
              <a:t>бэк</a:t>
            </a:r>
            <a:r>
              <a:rPr lang="ru-RU" sz="1200" dirty="0">
                <a:solidFill>
                  <a:srgbClr val="000000"/>
                </a:solidFill>
              </a:rPr>
              <a:t>-офиса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898289" y="4853189"/>
            <a:ext cx="7589520" cy="4985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</a:rPr>
              <a:t>Оптимизация численности сотрудников, за счет использования удаленных каналов продаж обслуживание и снижение потребности в офисных площадях, за счет уменьшения необходимости присутствия сотрудников на территории офиса (например, развитие возможности удаленной работы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898289" y="5697608"/>
            <a:ext cx="7589520" cy="5262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82880" indent="-182880" defTabSz="943048" fontAlgn="auto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0000"/>
                </a:solidFill>
              </a:rPr>
              <a:t>Внедрение облачных сервисов в сквозные процессы банка, в том числе для хранения клиентских данных и обеспечения взаимосвязанности каналов, хранения программного обеспечения  для контакт-центров и корпоративных сетей, а так же в части CRM-систем 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98491" y="3080632"/>
            <a:ext cx="4734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43048" fontAlgn="auto">
              <a:spcBef>
                <a:spcPts val="0"/>
              </a:spcBef>
              <a:spcAft>
                <a:spcPts val="0"/>
              </a:spcAft>
            </a:pPr>
            <a:r>
              <a:rPr lang="uk-UA" sz="1200" b="1" dirty="0">
                <a:cs typeface="+mn-cs"/>
              </a:rPr>
              <a:t>ТРАНСФОРМАЦИЯ ЭЛЕМЕНТОВ </a:t>
            </a:r>
            <a:r>
              <a:rPr lang="uk-UA" sz="1200" b="1" dirty="0" smtClean="0"/>
              <a:t>ОПЕРАЦИОННОЙ МОДЕЛИ</a:t>
            </a:r>
            <a:endParaRPr lang="uk-UA" sz="1200" b="1" dirty="0"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73201" y="5312644"/>
            <a:ext cx="914400" cy="17275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indent="-272482" algn="ctr" defTabSz="943048" fontAlgn="auto">
              <a:spcBef>
                <a:spcPts val="0"/>
              </a:spcBef>
              <a:spcAft>
                <a:spcPts val="894"/>
              </a:spcAft>
            </a:pPr>
            <a:r>
              <a:rPr lang="ru-RU" sz="1200" b="1" dirty="0" smtClean="0">
                <a:solidFill>
                  <a:schemeClr val="bg1"/>
                </a:solidFill>
                <a:cs typeface="+mn-cs"/>
              </a:rPr>
              <a:t>Персонал</a:t>
            </a:r>
            <a:endParaRPr lang="ru-RU" sz="1200" b="1" dirty="0">
              <a:solidFill>
                <a:schemeClr val="bg1"/>
              </a:solidFill>
              <a:cs typeface="+mn-cs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>
            <a:off x="1878460" y="4706619"/>
            <a:ext cx="7498080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878460" y="5563549"/>
            <a:ext cx="7498080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1066709" y="2459865"/>
            <a:ext cx="375726" cy="360609"/>
            <a:chOff x="4084638" y="5133306"/>
            <a:chExt cx="722313" cy="720725"/>
          </a:xfrm>
          <a:solidFill>
            <a:schemeClr val="bg1"/>
          </a:solidFill>
        </p:grpSpPr>
        <p:sp>
          <p:nvSpPr>
            <p:cNvPr id="66" name="Freeform 93"/>
            <p:cNvSpPr>
              <a:spLocks/>
            </p:cNvSpPr>
            <p:nvPr/>
          </p:nvSpPr>
          <p:spPr bwMode="auto">
            <a:xfrm>
              <a:off x="4356101" y="5493668"/>
              <a:ext cx="179388" cy="120650"/>
            </a:xfrm>
            <a:custGeom>
              <a:avLst/>
              <a:gdLst>
                <a:gd name="T0" fmla="*/ 47 w 113"/>
                <a:gd name="T1" fmla="*/ 0 h 76"/>
                <a:gd name="T2" fmla="*/ 47 w 113"/>
                <a:gd name="T3" fmla="*/ 57 h 76"/>
                <a:gd name="T4" fmla="*/ 0 w 113"/>
                <a:gd name="T5" fmla="*/ 57 h 76"/>
                <a:gd name="T6" fmla="*/ 0 w 113"/>
                <a:gd name="T7" fmla="*/ 76 h 76"/>
                <a:gd name="T8" fmla="*/ 113 w 113"/>
                <a:gd name="T9" fmla="*/ 76 h 76"/>
                <a:gd name="T10" fmla="*/ 113 w 113"/>
                <a:gd name="T11" fmla="*/ 57 h 76"/>
                <a:gd name="T12" fmla="*/ 66 w 113"/>
                <a:gd name="T13" fmla="*/ 57 h 76"/>
                <a:gd name="T14" fmla="*/ 66 w 113"/>
                <a:gd name="T15" fmla="*/ 0 h 76"/>
                <a:gd name="T16" fmla="*/ 47 w 113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76">
                  <a:moveTo>
                    <a:pt x="47" y="0"/>
                  </a:moveTo>
                  <a:lnTo>
                    <a:pt x="47" y="57"/>
                  </a:lnTo>
                  <a:lnTo>
                    <a:pt x="0" y="57"/>
                  </a:lnTo>
                  <a:lnTo>
                    <a:pt x="0" y="76"/>
                  </a:lnTo>
                  <a:lnTo>
                    <a:pt x="113" y="76"/>
                  </a:lnTo>
                  <a:lnTo>
                    <a:pt x="113" y="57"/>
                  </a:lnTo>
                  <a:lnTo>
                    <a:pt x="66" y="57"/>
                  </a:lnTo>
                  <a:lnTo>
                    <a:pt x="66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94"/>
            <p:cNvSpPr>
              <a:spLocks/>
            </p:cNvSpPr>
            <p:nvPr/>
          </p:nvSpPr>
          <p:spPr bwMode="auto">
            <a:xfrm>
              <a:off x="4375151" y="5133306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95"/>
            <p:cNvSpPr>
              <a:spLocks/>
            </p:cNvSpPr>
            <p:nvPr/>
          </p:nvSpPr>
          <p:spPr bwMode="auto">
            <a:xfrm>
              <a:off x="4279901" y="5320631"/>
              <a:ext cx="331788" cy="142875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96"/>
            <p:cNvSpPr>
              <a:spLocks/>
            </p:cNvSpPr>
            <p:nvPr/>
          </p:nvSpPr>
          <p:spPr bwMode="auto">
            <a:xfrm>
              <a:off x="4178301" y="5523831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97"/>
            <p:cNvSpPr>
              <a:spLocks/>
            </p:cNvSpPr>
            <p:nvPr/>
          </p:nvSpPr>
          <p:spPr bwMode="auto">
            <a:xfrm>
              <a:off x="4084638" y="5712743"/>
              <a:ext cx="331788" cy="141288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98"/>
            <p:cNvSpPr>
              <a:spLocks/>
            </p:cNvSpPr>
            <p:nvPr/>
          </p:nvSpPr>
          <p:spPr bwMode="auto">
            <a:xfrm>
              <a:off x="4570413" y="5523831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99"/>
            <p:cNvSpPr>
              <a:spLocks/>
            </p:cNvSpPr>
            <p:nvPr/>
          </p:nvSpPr>
          <p:spPr bwMode="auto">
            <a:xfrm>
              <a:off x="4476751" y="5712743"/>
              <a:ext cx="330200" cy="141288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898134" y="3683356"/>
            <a:ext cx="914400" cy="965917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200" b="1" dirty="0" smtClean="0">
                <a:solidFill>
                  <a:schemeClr val="bg1"/>
                </a:solidFill>
              </a:rPr>
              <a:t>Организационно-</a:t>
            </a:r>
            <a:r>
              <a:rPr lang="ru-RU" sz="1200" b="1" dirty="0" err="1" smtClean="0">
                <a:solidFill>
                  <a:schemeClr val="bg1"/>
                </a:solidFill>
              </a:rPr>
              <a:t>функцио</a:t>
            </a:r>
            <a:r>
              <a:rPr lang="ru-RU" sz="1200" b="1" dirty="0" smtClean="0">
                <a:solidFill>
                  <a:schemeClr val="bg1"/>
                </a:solidFill>
              </a:rPr>
              <a:t>-</a:t>
            </a:r>
            <a:r>
              <a:rPr lang="ru-RU" sz="1200" b="1" dirty="0" err="1" smtClean="0">
                <a:solidFill>
                  <a:schemeClr val="bg1"/>
                </a:solidFill>
              </a:rPr>
              <a:t>нальная</a:t>
            </a:r>
            <a:r>
              <a:rPr lang="ru-RU" sz="1200" b="1" dirty="0" smtClean="0">
                <a:solidFill>
                  <a:schemeClr val="bg1"/>
                </a:solidFill>
              </a:rPr>
              <a:t> модель</a:t>
            </a:r>
          </a:p>
        </p:txBody>
      </p:sp>
      <p:grpSp>
        <p:nvGrpSpPr>
          <p:cNvPr id="73" name="Group 72"/>
          <p:cNvGrpSpPr/>
          <p:nvPr/>
        </p:nvGrpSpPr>
        <p:grpSpPr>
          <a:xfrm>
            <a:off x="1062019" y="4774244"/>
            <a:ext cx="548640" cy="548640"/>
            <a:chOff x="4084638" y="5133306"/>
            <a:chExt cx="722313" cy="720725"/>
          </a:xfrm>
          <a:solidFill>
            <a:schemeClr val="bg1"/>
          </a:solidFill>
        </p:grpSpPr>
        <p:sp>
          <p:nvSpPr>
            <p:cNvPr id="74" name="Freeform 93"/>
            <p:cNvSpPr>
              <a:spLocks/>
            </p:cNvSpPr>
            <p:nvPr/>
          </p:nvSpPr>
          <p:spPr bwMode="auto">
            <a:xfrm>
              <a:off x="4356101" y="5493668"/>
              <a:ext cx="179388" cy="120650"/>
            </a:xfrm>
            <a:custGeom>
              <a:avLst/>
              <a:gdLst>
                <a:gd name="T0" fmla="*/ 47 w 113"/>
                <a:gd name="T1" fmla="*/ 0 h 76"/>
                <a:gd name="T2" fmla="*/ 47 w 113"/>
                <a:gd name="T3" fmla="*/ 57 h 76"/>
                <a:gd name="T4" fmla="*/ 0 w 113"/>
                <a:gd name="T5" fmla="*/ 57 h 76"/>
                <a:gd name="T6" fmla="*/ 0 w 113"/>
                <a:gd name="T7" fmla="*/ 76 h 76"/>
                <a:gd name="T8" fmla="*/ 113 w 113"/>
                <a:gd name="T9" fmla="*/ 76 h 76"/>
                <a:gd name="T10" fmla="*/ 113 w 113"/>
                <a:gd name="T11" fmla="*/ 57 h 76"/>
                <a:gd name="T12" fmla="*/ 66 w 113"/>
                <a:gd name="T13" fmla="*/ 57 h 76"/>
                <a:gd name="T14" fmla="*/ 66 w 113"/>
                <a:gd name="T15" fmla="*/ 0 h 76"/>
                <a:gd name="T16" fmla="*/ 47 w 113"/>
                <a:gd name="T17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3" h="76">
                  <a:moveTo>
                    <a:pt x="47" y="0"/>
                  </a:moveTo>
                  <a:lnTo>
                    <a:pt x="47" y="57"/>
                  </a:lnTo>
                  <a:lnTo>
                    <a:pt x="0" y="57"/>
                  </a:lnTo>
                  <a:lnTo>
                    <a:pt x="0" y="76"/>
                  </a:lnTo>
                  <a:lnTo>
                    <a:pt x="113" y="76"/>
                  </a:lnTo>
                  <a:lnTo>
                    <a:pt x="113" y="57"/>
                  </a:lnTo>
                  <a:lnTo>
                    <a:pt x="66" y="57"/>
                  </a:lnTo>
                  <a:lnTo>
                    <a:pt x="66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94"/>
            <p:cNvSpPr>
              <a:spLocks/>
            </p:cNvSpPr>
            <p:nvPr/>
          </p:nvSpPr>
          <p:spPr bwMode="auto">
            <a:xfrm>
              <a:off x="4375151" y="5133306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95"/>
            <p:cNvSpPr>
              <a:spLocks/>
            </p:cNvSpPr>
            <p:nvPr/>
          </p:nvSpPr>
          <p:spPr bwMode="auto">
            <a:xfrm>
              <a:off x="4279901" y="5320631"/>
              <a:ext cx="331788" cy="142875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96"/>
            <p:cNvSpPr>
              <a:spLocks/>
            </p:cNvSpPr>
            <p:nvPr/>
          </p:nvSpPr>
          <p:spPr bwMode="auto">
            <a:xfrm>
              <a:off x="4178301" y="5523831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97"/>
            <p:cNvSpPr>
              <a:spLocks/>
            </p:cNvSpPr>
            <p:nvPr/>
          </p:nvSpPr>
          <p:spPr bwMode="auto">
            <a:xfrm>
              <a:off x="4084638" y="5712743"/>
              <a:ext cx="331788" cy="141288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98"/>
            <p:cNvSpPr>
              <a:spLocks/>
            </p:cNvSpPr>
            <p:nvPr/>
          </p:nvSpPr>
          <p:spPr bwMode="auto">
            <a:xfrm>
              <a:off x="4570413" y="5523831"/>
              <a:ext cx="142875" cy="195263"/>
            </a:xfrm>
            <a:custGeom>
              <a:avLst/>
              <a:gdLst>
                <a:gd name="T0" fmla="*/ 6 w 38"/>
                <a:gd name="T1" fmla="*/ 33 h 52"/>
                <a:gd name="T2" fmla="*/ 11 w 38"/>
                <a:gd name="T3" fmla="*/ 43 h 52"/>
                <a:gd name="T4" fmla="*/ 11 w 38"/>
                <a:gd name="T5" fmla="*/ 48 h 52"/>
                <a:gd name="T6" fmla="*/ 19 w 38"/>
                <a:gd name="T7" fmla="*/ 52 h 52"/>
                <a:gd name="T8" fmla="*/ 27 w 38"/>
                <a:gd name="T9" fmla="*/ 48 h 52"/>
                <a:gd name="T10" fmla="*/ 27 w 38"/>
                <a:gd name="T11" fmla="*/ 43 h 52"/>
                <a:gd name="T12" fmla="*/ 32 w 38"/>
                <a:gd name="T13" fmla="*/ 33 h 52"/>
                <a:gd name="T14" fmla="*/ 35 w 38"/>
                <a:gd name="T15" fmla="*/ 32 h 52"/>
                <a:gd name="T16" fmla="*/ 37 w 38"/>
                <a:gd name="T17" fmla="*/ 24 h 52"/>
                <a:gd name="T18" fmla="*/ 35 w 38"/>
                <a:gd name="T19" fmla="*/ 22 h 52"/>
                <a:gd name="T20" fmla="*/ 35 w 38"/>
                <a:gd name="T21" fmla="*/ 14 h 52"/>
                <a:gd name="T22" fmla="*/ 29 w 38"/>
                <a:gd name="T23" fmla="*/ 5 h 52"/>
                <a:gd name="T24" fmla="*/ 19 w 38"/>
                <a:gd name="T25" fmla="*/ 0 h 52"/>
                <a:gd name="T26" fmla="*/ 3 w 38"/>
                <a:gd name="T27" fmla="*/ 13 h 52"/>
                <a:gd name="T28" fmla="*/ 3 w 38"/>
                <a:gd name="T29" fmla="*/ 22 h 52"/>
                <a:gd name="T30" fmla="*/ 1 w 38"/>
                <a:gd name="T31" fmla="*/ 24 h 52"/>
                <a:gd name="T32" fmla="*/ 3 w 38"/>
                <a:gd name="T33" fmla="*/ 32 h 52"/>
                <a:gd name="T34" fmla="*/ 6 w 38"/>
                <a:gd name="T35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52">
                  <a:moveTo>
                    <a:pt x="6" y="33"/>
                  </a:moveTo>
                  <a:cubicBezTo>
                    <a:pt x="11" y="43"/>
                    <a:pt x="11" y="43"/>
                    <a:pt x="11" y="43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33"/>
                    <a:pt x="34" y="33"/>
                    <a:pt x="35" y="32"/>
                  </a:cubicBezTo>
                  <a:cubicBezTo>
                    <a:pt x="37" y="30"/>
                    <a:pt x="38" y="26"/>
                    <a:pt x="37" y="24"/>
                  </a:cubicBezTo>
                  <a:cubicBezTo>
                    <a:pt x="36" y="22"/>
                    <a:pt x="35" y="22"/>
                    <a:pt x="35" y="22"/>
                  </a:cubicBezTo>
                  <a:cubicBezTo>
                    <a:pt x="35" y="22"/>
                    <a:pt x="35" y="18"/>
                    <a:pt x="35" y="14"/>
                  </a:cubicBezTo>
                  <a:cubicBezTo>
                    <a:pt x="35" y="8"/>
                    <a:pt x="33" y="5"/>
                    <a:pt x="29" y="5"/>
                  </a:cubicBezTo>
                  <a:cubicBezTo>
                    <a:pt x="27" y="2"/>
                    <a:pt x="24" y="0"/>
                    <a:pt x="19" y="0"/>
                  </a:cubicBezTo>
                  <a:cubicBezTo>
                    <a:pt x="9" y="0"/>
                    <a:pt x="3" y="6"/>
                    <a:pt x="3" y="13"/>
                  </a:cubicBezTo>
                  <a:cubicBezTo>
                    <a:pt x="3" y="18"/>
                    <a:pt x="3" y="22"/>
                    <a:pt x="3" y="22"/>
                  </a:cubicBezTo>
                  <a:cubicBezTo>
                    <a:pt x="3" y="22"/>
                    <a:pt x="2" y="22"/>
                    <a:pt x="1" y="24"/>
                  </a:cubicBezTo>
                  <a:cubicBezTo>
                    <a:pt x="0" y="26"/>
                    <a:pt x="1" y="30"/>
                    <a:pt x="3" y="32"/>
                  </a:cubicBezTo>
                  <a:cubicBezTo>
                    <a:pt x="4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99"/>
            <p:cNvSpPr>
              <a:spLocks/>
            </p:cNvSpPr>
            <p:nvPr/>
          </p:nvSpPr>
          <p:spPr bwMode="auto">
            <a:xfrm>
              <a:off x="4476751" y="5712743"/>
              <a:ext cx="330200" cy="141288"/>
            </a:xfrm>
            <a:custGeom>
              <a:avLst/>
              <a:gdLst>
                <a:gd name="T0" fmla="*/ 57 w 88"/>
                <a:gd name="T1" fmla="*/ 0 h 38"/>
                <a:gd name="T2" fmla="*/ 48 w 88"/>
                <a:gd name="T3" fmla="*/ 32 h 38"/>
                <a:gd name="T4" fmla="*/ 48 w 88"/>
                <a:gd name="T5" fmla="*/ 16 h 38"/>
                <a:gd name="T6" fmla="*/ 46 w 88"/>
                <a:gd name="T7" fmla="*/ 11 h 38"/>
                <a:gd name="T8" fmla="*/ 48 w 88"/>
                <a:gd name="T9" fmla="*/ 8 h 38"/>
                <a:gd name="T10" fmla="*/ 44 w 88"/>
                <a:gd name="T11" fmla="*/ 4 h 38"/>
                <a:gd name="T12" fmla="*/ 40 w 88"/>
                <a:gd name="T13" fmla="*/ 8 h 38"/>
                <a:gd name="T14" fmla="*/ 42 w 88"/>
                <a:gd name="T15" fmla="*/ 11 h 38"/>
                <a:gd name="T16" fmla="*/ 40 w 88"/>
                <a:gd name="T17" fmla="*/ 16 h 38"/>
                <a:gd name="T18" fmla="*/ 40 w 88"/>
                <a:gd name="T19" fmla="*/ 32 h 38"/>
                <a:gd name="T20" fmla="*/ 31 w 88"/>
                <a:gd name="T21" fmla="*/ 0 h 38"/>
                <a:gd name="T22" fmla="*/ 7 w 88"/>
                <a:gd name="T23" fmla="*/ 8 h 38"/>
                <a:gd name="T24" fmla="*/ 0 w 88"/>
                <a:gd name="T25" fmla="*/ 38 h 38"/>
                <a:gd name="T26" fmla="*/ 88 w 88"/>
                <a:gd name="T27" fmla="*/ 38 h 38"/>
                <a:gd name="T28" fmla="*/ 81 w 88"/>
                <a:gd name="T29" fmla="*/ 8 h 38"/>
                <a:gd name="T30" fmla="*/ 57 w 88"/>
                <a:gd name="T3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8" h="38">
                  <a:moveTo>
                    <a:pt x="57" y="0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0" y="8"/>
                    <a:pt x="40" y="8"/>
                    <a:pt x="40" y="8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10" y="6"/>
                    <a:pt x="7" y="8"/>
                  </a:cubicBezTo>
                  <a:cubicBezTo>
                    <a:pt x="4" y="10"/>
                    <a:pt x="0" y="29"/>
                    <a:pt x="0" y="38"/>
                  </a:cubicBezTo>
                  <a:cubicBezTo>
                    <a:pt x="88" y="38"/>
                    <a:pt x="88" y="38"/>
                    <a:pt x="88" y="38"/>
                  </a:cubicBezTo>
                  <a:cubicBezTo>
                    <a:pt x="88" y="29"/>
                    <a:pt x="84" y="10"/>
                    <a:pt x="81" y="8"/>
                  </a:cubicBezTo>
                  <a:cubicBezTo>
                    <a:pt x="78" y="6"/>
                    <a:pt x="57" y="0"/>
                    <a:pt x="5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3" name="TextBox 82"/>
          <p:cNvSpPr txBox="1"/>
          <p:nvPr/>
        </p:nvSpPr>
        <p:spPr>
          <a:xfrm>
            <a:off x="895140" y="6065949"/>
            <a:ext cx="914400" cy="38636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200" b="1" dirty="0" smtClean="0">
                <a:solidFill>
                  <a:schemeClr val="bg1"/>
                </a:solidFill>
              </a:rPr>
              <a:t>Бизнес-процессы</a:t>
            </a:r>
          </a:p>
        </p:txBody>
      </p:sp>
      <p:grpSp>
        <p:nvGrpSpPr>
          <p:cNvPr id="84" name="Group 47"/>
          <p:cNvGrpSpPr>
            <a:grpSpLocks noChangeAspect="1"/>
          </p:cNvGrpSpPr>
          <p:nvPr/>
        </p:nvGrpSpPr>
        <p:grpSpPr bwMode="auto">
          <a:xfrm>
            <a:off x="1105049" y="5649970"/>
            <a:ext cx="526334" cy="464412"/>
            <a:chOff x="1949" y="3252"/>
            <a:chExt cx="680" cy="600"/>
          </a:xfrm>
          <a:solidFill>
            <a:schemeClr val="bg1"/>
          </a:solidFill>
        </p:grpSpPr>
        <p:sp>
          <p:nvSpPr>
            <p:cNvPr id="85" name="Freeform 48"/>
            <p:cNvSpPr>
              <a:spLocks/>
            </p:cNvSpPr>
            <p:nvPr/>
          </p:nvSpPr>
          <p:spPr bwMode="auto">
            <a:xfrm>
              <a:off x="2195" y="3252"/>
              <a:ext cx="188" cy="179"/>
            </a:xfrm>
            <a:custGeom>
              <a:avLst/>
              <a:gdLst>
                <a:gd name="T0" fmla="*/ 8 w 79"/>
                <a:gd name="T1" fmla="*/ 75 h 75"/>
                <a:gd name="T2" fmla="*/ 70 w 79"/>
                <a:gd name="T3" fmla="*/ 75 h 75"/>
                <a:gd name="T4" fmla="*/ 79 w 79"/>
                <a:gd name="T5" fmla="*/ 66 h 75"/>
                <a:gd name="T6" fmla="*/ 79 w 79"/>
                <a:gd name="T7" fmla="*/ 9 h 75"/>
                <a:gd name="T8" fmla="*/ 70 w 79"/>
                <a:gd name="T9" fmla="*/ 0 h 75"/>
                <a:gd name="T10" fmla="*/ 8 w 79"/>
                <a:gd name="T11" fmla="*/ 0 h 75"/>
                <a:gd name="T12" fmla="*/ 0 w 79"/>
                <a:gd name="T13" fmla="*/ 9 h 75"/>
                <a:gd name="T14" fmla="*/ 0 w 79"/>
                <a:gd name="T15" fmla="*/ 66 h 75"/>
                <a:gd name="T16" fmla="*/ 8 w 79"/>
                <a:gd name="T1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8" y="75"/>
                  </a:move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49"/>
            <p:cNvSpPr>
              <a:spLocks/>
            </p:cNvSpPr>
            <p:nvPr/>
          </p:nvSpPr>
          <p:spPr bwMode="auto">
            <a:xfrm>
              <a:off x="2195" y="3673"/>
              <a:ext cx="188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50"/>
            <p:cNvSpPr>
              <a:spLocks/>
            </p:cNvSpPr>
            <p:nvPr/>
          </p:nvSpPr>
          <p:spPr bwMode="auto">
            <a:xfrm>
              <a:off x="2441" y="3673"/>
              <a:ext cx="188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51"/>
            <p:cNvSpPr>
              <a:spLocks/>
            </p:cNvSpPr>
            <p:nvPr/>
          </p:nvSpPr>
          <p:spPr bwMode="auto">
            <a:xfrm>
              <a:off x="1949" y="3673"/>
              <a:ext cx="189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52"/>
            <p:cNvSpPr>
              <a:spLocks/>
            </p:cNvSpPr>
            <p:nvPr/>
          </p:nvSpPr>
          <p:spPr bwMode="auto">
            <a:xfrm>
              <a:off x="2018" y="3460"/>
              <a:ext cx="542" cy="186"/>
            </a:xfrm>
            <a:custGeom>
              <a:avLst/>
              <a:gdLst>
                <a:gd name="T0" fmla="*/ 10 w 227"/>
                <a:gd name="T1" fmla="*/ 77 h 78"/>
                <a:gd name="T2" fmla="*/ 11 w 227"/>
                <a:gd name="T3" fmla="*/ 77 h 78"/>
                <a:gd name="T4" fmla="*/ 21 w 227"/>
                <a:gd name="T5" fmla="*/ 67 h 78"/>
                <a:gd name="T6" fmla="*/ 21 w 227"/>
                <a:gd name="T7" fmla="*/ 38 h 78"/>
                <a:gd name="T8" fmla="*/ 103 w 227"/>
                <a:gd name="T9" fmla="*/ 38 h 78"/>
                <a:gd name="T10" fmla="*/ 103 w 227"/>
                <a:gd name="T11" fmla="*/ 68 h 78"/>
                <a:gd name="T12" fmla="*/ 113 w 227"/>
                <a:gd name="T13" fmla="*/ 78 h 78"/>
                <a:gd name="T14" fmla="*/ 114 w 227"/>
                <a:gd name="T15" fmla="*/ 78 h 78"/>
                <a:gd name="T16" fmla="*/ 124 w 227"/>
                <a:gd name="T17" fmla="*/ 68 h 78"/>
                <a:gd name="T18" fmla="*/ 124 w 227"/>
                <a:gd name="T19" fmla="*/ 38 h 78"/>
                <a:gd name="T20" fmla="*/ 206 w 227"/>
                <a:gd name="T21" fmla="*/ 38 h 78"/>
                <a:gd name="T22" fmla="*/ 206 w 227"/>
                <a:gd name="T23" fmla="*/ 67 h 78"/>
                <a:gd name="T24" fmla="*/ 216 w 227"/>
                <a:gd name="T25" fmla="*/ 77 h 78"/>
                <a:gd name="T26" fmla="*/ 217 w 227"/>
                <a:gd name="T27" fmla="*/ 77 h 78"/>
                <a:gd name="T28" fmla="*/ 227 w 227"/>
                <a:gd name="T29" fmla="*/ 67 h 78"/>
                <a:gd name="T30" fmla="*/ 227 w 227"/>
                <a:gd name="T31" fmla="*/ 27 h 78"/>
                <a:gd name="T32" fmla="*/ 217 w 227"/>
                <a:gd name="T33" fmla="*/ 17 h 78"/>
                <a:gd name="T34" fmla="*/ 124 w 227"/>
                <a:gd name="T35" fmla="*/ 17 h 78"/>
                <a:gd name="T36" fmla="*/ 124 w 227"/>
                <a:gd name="T37" fmla="*/ 10 h 78"/>
                <a:gd name="T38" fmla="*/ 114 w 227"/>
                <a:gd name="T39" fmla="*/ 0 h 78"/>
                <a:gd name="T40" fmla="*/ 113 w 227"/>
                <a:gd name="T41" fmla="*/ 0 h 78"/>
                <a:gd name="T42" fmla="*/ 103 w 227"/>
                <a:gd name="T43" fmla="*/ 10 h 78"/>
                <a:gd name="T44" fmla="*/ 103 w 227"/>
                <a:gd name="T45" fmla="*/ 17 h 78"/>
                <a:gd name="T46" fmla="*/ 10 w 227"/>
                <a:gd name="T47" fmla="*/ 17 h 78"/>
                <a:gd name="T48" fmla="*/ 0 w 227"/>
                <a:gd name="T49" fmla="*/ 27 h 78"/>
                <a:gd name="T50" fmla="*/ 0 w 227"/>
                <a:gd name="T51" fmla="*/ 67 h 78"/>
                <a:gd name="T52" fmla="*/ 10 w 227"/>
                <a:gd name="T53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7" h="78">
                  <a:moveTo>
                    <a:pt x="10" y="77"/>
                  </a:moveTo>
                  <a:cubicBezTo>
                    <a:pt x="11" y="77"/>
                    <a:pt x="11" y="77"/>
                    <a:pt x="11" y="77"/>
                  </a:cubicBezTo>
                  <a:cubicBezTo>
                    <a:pt x="16" y="77"/>
                    <a:pt x="21" y="73"/>
                    <a:pt x="21" y="67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68"/>
                    <a:pt x="103" y="68"/>
                    <a:pt x="103" y="68"/>
                  </a:cubicBezTo>
                  <a:cubicBezTo>
                    <a:pt x="103" y="73"/>
                    <a:pt x="107" y="78"/>
                    <a:pt x="113" y="78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9" y="78"/>
                    <a:pt x="124" y="73"/>
                    <a:pt x="124" y="6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206" y="38"/>
                    <a:pt x="206" y="38"/>
                    <a:pt x="206" y="38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73"/>
                    <a:pt x="210" y="77"/>
                    <a:pt x="216" y="77"/>
                  </a:cubicBezTo>
                  <a:cubicBezTo>
                    <a:pt x="217" y="77"/>
                    <a:pt x="217" y="77"/>
                    <a:pt x="217" y="77"/>
                  </a:cubicBezTo>
                  <a:cubicBezTo>
                    <a:pt x="222" y="77"/>
                    <a:pt x="227" y="73"/>
                    <a:pt x="227" y="6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1"/>
                    <a:pt x="222" y="17"/>
                    <a:pt x="217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4" y="5"/>
                    <a:pt x="119" y="0"/>
                    <a:pt x="11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7" y="0"/>
                    <a:pt x="103" y="5"/>
                    <a:pt x="103" y="10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4" y="17"/>
                    <a:pt x="0" y="21"/>
                    <a:pt x="0" y="2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10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47"/>
          <p:cNvGrpSpPr>
            <a:grpSpLocks noChangeAspect="1"/>
          </p:cNvGrpSpPr>
          <p:nvPr/>
        </p:nvGrpSpPr>
        <p:grpSpPr bwMode="auto">
          <a:xfrm>
            <a:off x="5576106" y="2475455"/>
            <a:ext cx="399691" cy="352668"/>
            <a:chOff x="1949" y="3252"/>
            <a:chExt cx="680" cy="600"/>
          </a:xfrm>
          <a:solidFill>
            <a:schemeClr val="bg1"/>
          </a:solidFill>
        </p:grpSpPr>
        <p:sp>
          <p:nvSpPr>
            <p:cNvPr id="91" name="Freeform 48"/>
            <p:cNvSpPr>
              <a:spLocks/>
            </p:cNvSpPr>
            <p:nvPr/>
          </p:nvSpPr>
          <p:spPr bwMode="auto">
            <a:xfrm>
              <a:off x="2195" y="3252"/>
              <a:ext cx="188" cy="179"/>
            </a:xfrm>
            <a:custGeom>
              <a:avLst/>
              <a:gdLst>
                <a:gd name="T0" fmla="*/ 8 w 79"/>
                <a:gd name="T1" fmla="*/ 75 h 75"/>
                <a:gd name="T2" fmla="*/ 70 w 79"/>
                <a:gd name="T3" fmla="*/ 75 h 75"/>
                <a:gd name="T4" fmla="*/ 79 w 79"/>
                <a:gd name="T5" fmla="*/ 66 h 75"/>
                <a:gd name="T6" fmla="*/ 79 w 79"/>
                <a:gd name="T7" fmla="*/ 9 h 75"/>
                <a:gd name="T8" fmla="*/ 70 w 79"/>
                <a:gd name="T9" fmla="*/ 0 h 75"/>
                <a:gd name="T10" fmla="*/ 8 w 79"/>
                <a:gd name="T11" fmla="*/ 0 h 75"/>
                <a:gd name="T12" fmla="*/ 0 w 79"/>
                <a:gd name="T13" fmla="*/ 9 h 75"/>
                <a:gd name="T14" fmla="*/ 0 w 79"/>
                <a:gd name="T15" fmla="*/ 66 h 75"/>
                <a:gd name="T16" fmla="*/ 8 w 79"/>
                <a:gd name="T17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8" y="75"/>
                  </a:move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49"/>
            <p:cNvSpPr>
              <a:spLocks/>
            </p:cNvSpPr>
            <p:nvPr/>
          </p:nvSpPr>
          <p:spPr bwMode="auto">
            <a:xfrm>
              <a:off x="2195" y="3673"/>
              <a:ext cx="188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50"/>
            <p:cNvSpPr>
              <a:spLocks/>
            </p:cNvSpPr>
            <p:nvPr/>
          </p:nvSpPr>
          <p:spPr bwMode="auto">
            <a:xfrm>
              <a:off x="2441" y="3673"/>
              <a:ext cx="188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51"/>
            <p:cNvSpPr>
              <a:spLocks/>
            </p:cNvSpPr>
            <p:nvPr/>
          </p:nvSpPr>
          <p:spPr bwMode="auto">
            <a:xfrm>
              <a:off x="1949" y="3673"/>
              <a:ext cx="189" cy="179"/>
            </a:xfrm>
            <a:custGeom>
              <a:avLst/>
              <a:gdLst>
                <a:gd name="T0" fmla="*/ 70 w 79"/>
                <a:gd name="T1" fmla="*/ 0 h 75"/>
                <a:gd name="T2" fmla="*/ 8 w 79"/>
                <a:gd name="T3" fmla="*/ 0 h 75"/>
                <a:gd name="T4" fmla="*/ 0 w 79"/>
                <a:gd name="T5" fmla="*/ 9 h 75"/>
                <a:gd name="T6" fmla="*/ 0 w 79"/>
                <a:gd name="T7" fmla="*/ 66 h 75"/>
                <a:gd name="T8" fmla="*/ 8 w 79"/>
                <a:gd name="T9" fmla="*/ 75 h 75"/>
                <a:gd name="T10" fmla="*/ 70 w 79"/>
                <a:gd name="T11" fmla="*/ 75 h 75"/>
                <a:gd name="T12" fmla="*/ 79 w 79"/>
                <a:gd name="T13" fmla="*/ 66 h 75"/>
                <a:gd name="T14" fmla="*/ 79 w 79"/>
                <a:gd name="T15" fmla="*/ 9 h 75"/>
                <a:gd name="T16" fmla="*/ 70 w 79"/>
                <a:gd name="T17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5">
                  <a:moveTo>
                    <a:pt x="7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1"/>
                    <a:pt x="3" y="75"/>
                    <a:pt x="8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5" y="75"/>
                    <a:pt x="79" y="71"/>
                    <a:pt x="79" y="66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52"/>
            <p:cNvSpPr>
              <a:spLocks/>
            </p:cNvSpPr>
            <p:nvPr/>
          </p:nvSpPr>
          <p:spPr bwMode="auto">
            <a:xfrm>
              <a:off x="2018" y="3460"/>
              <a:ext cx="542" cy="186"/>
            </a:xfrm>
            <a:custGeom>
              <a:avLst/>
              <a:gdLst>
                <a:gd name="T0" fmla="*/ 10 w 227"/>
                <a:gd name="T1" fmla="*/ 77 h 78"/>
                <a:gd name="T2" fmla="*/ 11 w 227"/>
                <a:gd name="T3" fmla="*/ 77 h 78"/>
                <a:gd name="T4" fmla="*/ 21 w 227"/>
                <a:gd name="T5" fmla="*/ 67 h 78"/>
                <a:gd name="T6" fmla="*/ 21 w 227"/>
                <a:gd name="T7" fmla="*/ 38 h 78"/>
                <a:gd name="T8" fmla="*/ 103 w 227"/>
                <a:gd name="T9" fmla="*/ 38 h 78"/>
                <a:gd name="T10" fmla="*/ 103 w 227"/>
                <a:gd name="T11" fmla="*/ 68 h 78"/>
                <a:gd name="T12" fmla="*/ 113 w 227"/>
                <a:gd name="T13" fmla="*/ 78 h 78"/>
                <a:gd name="T14" fmla="*/ 114 w 227"/>
                <a:gd name="T15" fmla="*/ 78 h 78"/>
                <a:gd name="T16" fmla="*/ 124 w 227"/>
                <a:gd name="T17" fmla="*/ 68 h 78"/>
                <a:gd name="T18" fmla="*/ 124 w 227"/>
                <a:gd name="T19" fmla="*/ 38 h 78"/>
                <a:gd name="T20" fmla="*/ 206 w 227"/>
                <a:gd name="T21" fmla="*/ 38 h 78"/>
                <a:gd name="T22" fmla="*/ 206 w 227"/>
                <a:gd name="T23" fmla="*/ 67 h 78"/>
                <a:gd name="T24" fmla="*/ 216 w 227"/>
                <a:gd name="T25" fmla="*/ 77 h 78"/>
                <a:gd name="T26" fmla="*/ 217 w 227"/>
                <a:gd name="T27" fmla="*/ 77 h 78"/>
                <a:gd name="T28" fmla="*/ 227 w 227"/>
                <a:gd name="T29" fmla="*/ 67 h 78"/>
                <a:gd name="T30" fmla="*/ 227 w 227"/>
                <a:gd name="T31" fmla="*/ 27 h 78"/>
                <a:gd name="T32" fmla="*/ 217 w 227"/>
                <a:gd name="T33" fmla="*/ 17 h 78"/>
                <a:gd name="T34" fmla="*/ 124 w 227"/>
                <a:gd name="T35" fmla="*/ 17 h 78"/>
                <a:gd name="T36" fmla="*/ 124 w 227"/>
                <a:gd name="T37" fmla="*/ 10 h 78"/>
                <a:gd name="T38" fmla="*/ 114 w 227"/>
                <a:gd name="T39" fmla="*/ 0 h 78"/>
                <a:gd name="T40" fmla="*/ 113 w 227"/>
                <a:gd name="T41" fmla="*/ 0 h 78"/>
                <a:gd name="T42" fmla="*/ 103 w 227"/>
                <a:gd name="T43" fmla="*/ 10 h 78"/>
                <a:gd name="T44" fmla="*/ 103 w 227"/>
                <a:gd name="T45" fmla="*/ 17 h 78"/>
                <a:gd name="T46" fmla="*/ 10 w 227"/>
                <a:gd name="T47" fmla="*/ 17 h 78"/>
                <a:gd name="T48" fmla="*/ 0 w 227"/>
                <a:gd name="T49" fmla="*/ 27 h 78"/>
                <a:gd name="T50" fmla="*/ 0 w 227"/>
                <a:gd name="T51" fmla="*/ 67 h 78"/>
                <a:gd name="T52" fmla="*/ 10 w 227"/>
                <a:gd name="T53" fmla="*/ 77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7" h="78">
                  <a:moveTo>
                    <a:pt x="10" y="77"/>
                  </a:moveTo>
                  <a:cubicBezTo>
                    <a:pt x="11" y="77"/>
                    <a:pt x="11" y="77"/>
                    <a:pt x="11" y="77"/>
                  </a:cubicBezTo>
                  <a:cubicBezTo>
                    <a:pt x="16" y="77"/>
                    <a:pt x="21" y="73"/>
                    <a:pt x="21" y="67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68"/>
                    <a:pt x="103" y="68"/>
                    <a:pt x="103" y="68"/>
                  </a:cubicBezTo>
                  <a:cubicBezTo>
                    <a:pt x="103" y="73"/>
                    <a:pt x="107" y="78"/>
                    <a:pt x="113" y="78"/>
                  </a:cubicBezTo>
                  <a:cubicBezTo>
                    <a:pt x="114" y="78"/>
                    <a:pt x="114" y="78"/>
                    <a:pt x="114" y="78"/>
                  </a:cubicBezTo>
                  <a:cubicBezTo>
                    <a:pt x="119" y="78"/>
                    <a:pt x="124" y="73"/>
                    <a:pt x="124" y="6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206" y="38"/>
                    <a:pt x="206" y="38"/>
                    <a:pt x="206" y="38"/>
                  </a:cubicBezTo>
                  <a:cubicBezTo>
                    <a:pt x="206" y="67"/>
                    <a:pt x="206" y="67"/>
                    <a:pt x="206" y="67"/>
                  </a:cubicBezTo>
                  <a:cubicBezTo>
                    <a:pt x="206" y="73"/>
                    <a:pt x="210" y="77"/>
                    <a:pt x="216" y="77"/>
                  </a:cubicBezTo>
                  <a:cubicBezTo>
                    <a:pt x="217" y="77"/>
                    <a:pt x="217" y="77"/>
                    <a:pt x="217" y="77"/>
                  </a:cubicBezTo>
                  <a:cubicBezTo>
                    <a:pt x="222" y="77"/>
                    <a:pt x="227" y="73"/>
                    <a:pt x="227" y="67"/>
                  </a:cubicBezTo>
                  <a:cubicBezTo>
                    <a:pt x="227" y="27"/>
                    <a:pt x="227" y="27"/>
                    <a:pt x="227" y="27"/>
                  </a:cubicBezTo>
                  <a:cubicBezTo>
                    <a:pt x="227" y="21"/>
                    <a:pt x="222" y="17"/>
                    <a:pt x="217" y="17"/>
                  </a:cubicBezTo>
                  <a:cubicBezTo>
                    <a:pt x="124" y="17"/>
                    <a:pt x="124" y="17"/>
                    <a:pt x="124" y="1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4" y="5"/>
                    <a:pt x="119" y="0"/>
                    <a:pt x="114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7" y="0"/>
                    <a:pt x="103" y="5"/>
                    <a:pt x="103" y="10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4" y="17"/>
                    <a:pt x="0" y="21"/>
                    <a:pt x="0" y="27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73"/>
                    <a:pt x="4" y="77"/>
                    <a:pt x="10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1094276" y="3374265"/>
            <a:ext cx="512196" cy="362441"/>
            <a:chOff x="3511550" y="2828925"/>
            <a:chExt cx="577850" cy="457201"/>
          </a:xfrm>
          <a:solidFill>
            <a:schemeClr val="bg1"/>
          </a:solidFill>
        </p:grpSpPr>
        <p:sp>
          <p:nvSpPr>
            <p:cNvPr id="97" name="Freeform 232"/>
            <p:cNvSpPr>
              <a:spLocks noEditPoints="1"/>
            </p:cNvSpPr>
            <p:nvPr/>
          </p:nvSpPr>
          <p:spPr bwMode="auto">
            <a:xfrm>
              <a:off x="3841750" y="2943225"/>
              <a:ext cx="136525" cy="136525"/>
            </a:xfrm>
            <a:custGeom>
              <a:avLst/>
              <a:gdLst>
                <a:gd name="T0" fmla="*/ 79 w 79"/>
                <a:gd name="T1" fmla="*/ 44 h 79"/>
                <a:gd name="T2" fmla="*/ 79 w 79"/>
                <a:gd name="T3" fmla="*/ 35 h 79"/>
                <a:gd name="T4" fmla="*/ 71 w 79"/>
                <a:gd name="T5" fmla="*/ 32 h 79"/>
                <a:gd name="T6" fmla="*/ 67 w 79"/>
                <a:gd name="T7" fmla="*/ 22 h 79"/>
                <a:gd name="T8" fmla="*/ 70 w 79"/>
                <a:gd name="T9" fmla="*/ 15 h 79"/>
                <a:gd name="T10" fmla="*/ 64 w 79"/>
                <a:gd name="T11" fmla="*/ 8 h 79"/>
                <a:gd name="T12" fmla="*/ 57 w 79"/>
                <a:gd name="T13" fmla="*/ 12 h 79"/>
                <a:gd name="T14" fmla="*/ 47 w 79"/>
                <a:gd name="T15" fmla="*/ 8 h 79"/>
                <a:gd name="T16" fmla="*/ 44 w 79"/>
                <a:gd name="T17" fmla="*/ 0 h 79"/>
                <a:gd name="T18" fmla="*/ 35 w 79"/>
                <a:gd name="T19" fmla="*/ 0 h 79"/>
                <a:gd name="T20" fmla="*/ 32 w 79"/>
                <a:gd name="T21" fmla="*/ 8 h 79"/>
                <a:gd name="T22" fmla="*/ 22 w 79"/>
                <a:gd name="T23" fmla="*/ 12 h 79"/>
                <a:gd name="T24" fmla="*/ 15 w 79"/>
                <a:gd name="T25" fmla="*/ 8 h 79"/>
                <a:gd name="T26" fmla="*/ 8 w 79"/>
                <a:gd name="T27" fmla="*/ 15 h 79"/>
                <a:gd name="T28" fmla="*/ 12 w 79"/>
                <a:gd name="T29" fmla="*/ 22 h 79"/>
                <a:gd name="T30" fmla="*/ 8 w 79"/>
                <a:gd name="T31" fmla="*/ 32 h 79"/>
                <a:gd name="T32" fmla="*/ 0 w 79"/>
                <a:gd name="T33" fmla="*/ 35 h 79"/>
                <a:gd name="T34" fmla="*/ 0 w 79"/>
                <a:gd name="T35" fmla="*/ 44 h 79"/>
                <a:gd name="T36" fmla="*/ 8 w 79"/>
                <a:gd name="T37" fmla="*/ 47 h 79"/>
                <a:gd name="T38" fmla="*/ 12 w 79"/>
                <a:gd name="T39" fmla="*/ 57 h 79"/>
                <a:gd name="T40" fmla="*/ 8 w 79"/>
                <a:gd name="T41" fmla="*/ 64 h 79"/>
                <a:gd name="T42" fmla="*/ 15 w 79"/>
                <a:gd name="T43" fmla="*/ 70 h 79"/>
                <a:gd name="T44" fmla="*/ 22 w 79"/>
                <a:gd name="T45" fmla="*/ 67 h 79"/>
                <a:gd name="T46" fmla="*/ 32 w 79"/>
                <a:gd name="T47" fmla="*/ 71 h 79"/>
                <a:gd name="T48" fmla="*/ 35 w 79"/>
                <a:gd name="T49" fmla="*/ 79 h 79"/>
                <a:gd name="T50" fmla="*/ 44 w 79"/>
                <a:gd name="T51" fmla="*/ 79 h 79"/>
                <a:gd name="T52" fmla="*/ 47 w 79"/>
                <a:gd name="T53" fmla="*/ 71 h 79"/>
                <a:gd name="T54" fmla="*/ 57 w 79"/>
                <a:gd name="T55" fmla="*/ 67 h 79"/>
                <a:gd name="T56" fmla="*/ 64 w 79"/>
                <a:gd name="T57" fmla="*/ 70 h 79"/>
                <a:gd name="T58" fmla="*/ 70 w 79"/>
                <a:gd name="T59" fmla="*/ 64 h 79"/>
                <a:gd name="T60" fmla="*/ 67 w 79"/>
                <a:gd name="T61" fmla="*/ 57 h 79"/>
                <a:gd name="T62" fmla="*/ 71 w 79"/>
                <a:gd name="T63" fmla="*/ 47 h 79"/>
                <a:gd name="T64" fmla="*/ 79 w 79"/>
                <a:gd name="T65" fmla="*/ 44 h 79"/>
                <a:gd name="T66" fmla="*/ 39 w 79"/>
                <a:gd name="T67" fmla="*/ 57 h 79"/>
                <a:gd name="T68" fmla="*/ 22 w 79"/>
                <a:gd name="T69" fmla="*/ 39 h 79"/>
                <a:gd name="T70" fmla="*/ 39 w 79"/>
                <a:gd name="T71" fmla="*/ 22 h 79"/>
                <a:gd name="T72" fmla="*/ 57 w 79"/>
                <a:gd name="T73" fmla="*/ 39 h 79"/>
                <a:gd name="T74" fmla="*/ 39 w 79"/>
                <a:gd name="T75" fmla="*/ 5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" h="79">
                  <a:moveTo>
                    <a:pt x="79" y="44"/>
                  </a:moveTo>
                  <a:cubicBezTo>
                    <a:pt x="79" y="35"/>
                    <a:pt x="79" y="35"/>
                    <a:pt x="79" y="35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0" y="29"/>
                    <a:pt x="69" y="25"/>
                    <a:pt x="67" y="22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4" y="10"/>
                    <a:pt x="50" y="9"/>
                    <a:pt x="47" y="8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9" y="9"/>
                    <a:pt x="25" y="10"/>
                    <a:pt x="22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0" y="25"/>
                    <a:pt x="9" y="29"/>
                    <a:pt x="8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50"/>
                    <a:pt x="10" y="54"/>
                    <a:pt x="12" y="57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5" y="69"/>
                    <a:pt x="29" y="70"/>
                    <a:pt x="32" y="71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50" y="70"/>
                    <a:pt x="54" y="69"/>
                    <a:pt x="57" y="67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9" y="54"/>
                    <a:pt x="70" y="50"/>
                    <a:pt x="71" y="47"/>
                  </a:cubicBezTo>
                  <a:lnTo>
                    <a:pt x="79" y="44"/>
                  </a:lnTo>
                  <a:close/>
                  <a:moveTo>
                    <a:pt x="39" y="57"/>
                  </a:moveTo>
                  <a:cubicBezTo>
                    <a:pt x="30" y="57"/>
                    <a:pt x="22" y="49"/>
                    <a:pt x="22" y="39"/>
                  </a:cubicBezTo>
                  <a:cubicBezTo>
                    <a:pt x="22" y="30"/>
                    <a:pt x="30" y="22"/>
                    <a:pt x="39" y="22"/>
                  </a:cubicBezTo>
                  <a:cubicBezTo>
                    <a:pt x="49" y="22"/>
                    <a:pt x="57" y="30"/>
                    <a:pt x="57" y="39"/>
                  </a:cubicBezTo>
                  <a:cubicBezTo>
                    <a:pt x="57" y="49"/>
                    <a:pt x="49" y="57"/>
                    <a:pt x="39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33"/>
            <p:cNvSpPr>
              <a:spLocks noEditPoints="1"/>
            </p:cNvSpPr>
            <p:nvPr/>
          </p:nvSpPr>
          <p:spPr bwMode="auto">
            <a:xfrm>
              <a:off x="3632200" y="2905125"/>
              <a:ext cx="212725" cy="214313"/>
            </a:xfrm>
            <a:custGeom>
              <a:avLst/>
              <a:gdLst>
                <a:gd name="T0" fmla="*/ 118 w 124"/>
                <a:gd name="T1" fmla="*/ 92 h 124"/>
                <a:gd name="T2" fmla="*/ 124 w 124"/>
                <a:gd name="T3" fmla="*/ 78 h 124"/>
                <a:gd name="T4" fmla="*/ 113 w 124"/>
                <a:gd name="T5" fmla="*/ 70 h 124"/>
                <a:gd name="T6" fmla="*/ 113 w 124"/>
                <a:gd name="T7" fmla="*/ 52 h 124"/>
                <a:gd name="T8" fmla="*/ 123 w 124"/>
                <a:gd name="T9" fmla="*/ 43 h 124"/>
                <a:gd name="T10" fmla="*/ 117 w 124"/>
                <a:gd name="T11" fmla="*/ 30 h 124"/>
                <a:gd name="T12" fmla="*/ 103 w 124"/>
                <a:gd name="T13" fmla="*/ 31 h 124"/>
                <a:gd name="T14" fmla="*/ 91 w 124"/>
                <a:gd name="T15" fmla="*/ 19 h 124"/>
                <a:gd name="T16" fmla="*/ 91 w 124"/>
                <a:gd name="T17" fmla="*/ 6 h 124"/>
                <a:gd name="T18" fmla="*/ 78 w 124"/>
                <a:gd name="T19" fmla="*/ 0 h 124"/>
                <a:gd name="T20" fmla="*/ 69 w 124"/>
                <a:gd name="T21" fmla="*/ 11 h 124"/>
                <a:gd name="T22" fmla="*/ 52 w 124"/>
                <a:gd name="T23" fmla="*/ 11 h 124"/>
                <a:gd name="T24" fmla="*/ 43 w 124"/>
                <a:gd name="T25" fmla="*/ 1 h 124"/>
                <a:gd name="T26" fmla="*/ 29 w 124"/>
                <a:gd name="T27" fmla="*/ 7 h 124"/>
                <a:gd name="T28" fmla="*/ 30 w 124"/>
                <a:gd name="T29" fmla="*/ 21 h 124"/>
                <a:gd name="T30" fmla="*/ 18 w 124"/>
                <a:gd name="T31" fmla="*/ 33 h 124"/>
                <a:gd name="T32" fmla="*/ 5 w 124"/>
                <a:gd name="T33" fmla="*/ 33 h 124"/>
                <a:gd name="T34" fmla="*/ 0 w 124"/>
                <a:gd name="T35" fmla="*/ 46 h 124"/>
                <a:gd name="T36" fmla="*/ 10 w 124"/>
                <a:gd name="T37" fmla="*/ 55 h 124"/>
                <a:gd name="T38" fmla="*/ 10 w 124"/>
                <a:gd name="T39" fmla="*/ 72 h 124"/>
                <a:gd name="T40" fmla="*/ 1 w 124"/>
                <a:gd name="T41" fmla="*/ 81 h 124"/>
                <a:gd name="T42" fmla="*/ 7 w 124"/>
                <a:gd name="T43" fmla="*/ 95 h 124"/>
                <a:gd name="T44" fmla="*/ 20 w 124"/>
                <a:gd name="T45" fmla="*/ 94 h 124"/>
                <a:gd name="T46" fmla="*/ 33 w 124"/>
                <a:gd name="T47" fmla="*/ 106 h 124"/>
                <a:gd name="T48" fmla="*/ 32 w 124"/>
                <a:gd name="T49" fmla="*/ 119 h 124"/>
                <a:gd name="T50" fmla="*/ 46 w 124"/>
                <a:gd name="T51" fmla="*/ 124 h 124"/>
                <a:gd name="T52" fmla="*/ 54 w 124"/>
                <a:gd name="T53" fmla="*/ 114 h 124"/>
                <a:gd name="T54" fmla="*/ 72 w 124"/>
                <a:gd name="T55" fmla="*/ 114 h 124"/>
                <a:gd name="T56" fmla="*/ 81 w 124"/>
                <a:gd name="T57" fmla="*/ 123 h 124"/>
                <a:gd name="T58" fmla="*/ 94 w 124"/>
                <a:gd name="T59" fmla="*/ 117 h 124"/>
                <a:gd name="T60" fmla="*/ 93 w 124"/>
                <a:gd name="T61" fmla="*/ 104 h 124"/>
                <a:gd name="T62" fmla="*/ 105 w 124"/>
                <a:gd name="T63" fmla="*/ 91 h 124"/>
                <a:gd name="T64" fmla="*/ 118 w 124"/>
                <a:gd name="T65" fmla="*/ 92 h 124"/>
                <a:gd name="T66" fmla="*/ 48 w 124"/>
                <a:gd name="T67" fmla="*/ 97 h 124"/>
                <a:gd name="T68" fmla="*/ 27 w 124"/>
                <a:gd name="T69" fmla="*/ 49 h 124"/>
                <a:gd name="T70" fmla="*/ 75 w 124"/>
                <a:gd name="T71" fmla="*/ 28 h 124"/>
                <a:gd name="T72" fmla="*/ 96 w 124"/>
                <a:gd name="T73" fmla="*/ 76 h 124"/>
                <a:gd name="T74" fmla="*/ 48 w 124"/>
                <a:gd name="T75" fmla="*/ 9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124">
                  <a:moveTo>
                    <a:pt x="118" y="92"/>
                  </a:moveTo>
                  <a:cubicBezTo>
                    <a:pt x="124" y="78"/>
                    <a:pt x="124" y="78"/>
                    <a:pt x="124" y="78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4" y="64"/>
                    <a:pt x="114" y="58"/>
                    <a:pt x="113" y="52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0" y="26"/>
                    <a:pt x="96" y="22"/>
                    <a:pt x="91" y="19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3" y="10"/>
                    <a:pt x="57" y="10"/>
                    <a:pt x="52" y="1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24"/>
                    <a:pt x="22" y="28"/>
                    <a:pt x="18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61"/>
                    <a:pt x="9" y="67"/>
                    <a:pt x="10" y="72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3" y="98"/>
                    <a:pt x="28" y="102"/>
                    <a:pt x="33" y="106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60" y="115"/>
                    <a:pt x="66" y="115"/>
                    <a:pt x="72" y="114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8" y="101"/>
                    <a:pt x="102" y="96"/>
                    <a:pt x="105" y="91"/>
                  </a:cubicBezTo>
                  <a:lnTo>
                    <a:pt x="118" y="92"/>
                  </a:lnTo>
                  <a:close/>
                  <a:moveTo>
                    <a:pt x="48" y="97"/>
                  </a:moveTo>
                  <a:cubicBezTo>
                    <a:pt x="29" y="90"/>
                    <a:pt x="20" y="68"/>
                    <a:pt x="27" y="49"/>
                  </a:cubicBezTo>
                  <a:cubicBezTo>
                    <a:pt x="34" y="30"/>
                    <a:pt x="56" y="20"/>
                    <a:pt x="75" y="28"/>
                  </a:cubicBezTo>
                  <a:cubicBezTo>
                    <a:pt x="94" y="35"/>
                    <a:pt x="104" y="57"/>
                    <a:pt x="96" y="76"/>
                  </a:cubicBezTo>
                  <a:cubicBezTo>
                    <a:pt x="89" y="95"/>
                    <a:pt x="67" y="104"/>
                    <a:pt x="48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34"/>
            <p:cNvSpPr>
              <a:spLocks noEditPoints="1"/>
            </p:cNvSpPr>
            <p:nvPr/>
          </p:nvSpPr>
          <p:spPr bwMode="auto">
            <a:xfrm>
              <a:off x="3530600" y="2828925"/>
              <a:ext cx="541338" cy="366713"/>
            </a:xfrm>
            <a:custGeom>
              <a:avLst/>
              <a:gdLst>
                <a:gd name="T0" fmla="*/ 41 w 313"/>
                <a:gd name="T1" fmla="*/ 212 h 212"/>
                <a:gd name="T2" fmla="*/ 272 w 313"/>
                <a:gd name="T3" fmla="*/ 212 h 212"/>
                <a:gd name="T4" fmla="*/ 313 w 313"/>
                <a:gd name="T5" fmla="*/ 175 h 212"/>
                <a:gd name="T6" fmla="*/ 313 w 313"/>
                <a:gd name="T7" fmla="*/ 171 h 212"/>
                <a:gd name="T8" fmla="*/ 313 w 313"/>
                <a:gd name="T9" fmla="*/ 41 h 212"/>
                <a:gd name="T10" fmla="*/ 272 w 313"/>
                <a:gd name="T11" fmla="*/ 0 h 212"/>
                <a:gd name="T12" fmla="*/ 245 w 313"/>
                <a:gd name="T13" fmla="*/ 0 h 212"/>
                <a:gd name="T14" fmla="*/ 229 w 313"/>
                <a:gd name="T15" fmla="*/ 0 h 212"/>
                <a:gd name="T16" fmla="*/ 41 w 313"/>
                <a:gd name="T17" fmla="*/ 0 h 212"/>
                <a:gd name="T18" fmla="*/ 0 w 313"/>
                <a:gd name="T19" fmla="*/ 41 h 212"/>
                <a:gd name="T20" fmla="*/ 0 w 313"/>
                <a:gd name="T21" fmla="*/ 171 h 212"/>
                <a:gd name="T22" fmla="*/ 0 w 313"/>
                <a:gd name="T23" fmla="*/ 175 h 212"/>
                <a:gd name="T24" fmla="*/ 41 w 313"/>
                <a:gd name="T25" fmla="*/ 212 h 212"/>
                <a:gd name="T26" fmla="*/ 35 w 313"/>
                <a:gd name="T27" fmla="*/ 30 h 212"/>
                <a:gd name="T28" fmla="*/ 245 w 313"/>
                <a:gd name="T29" fmla="*/ 30 h 212"/>
                <a:gd name="T30" fmla="*/ 269 w 313"/>
                <a:gd name="T31" fmla="*/ 30 h 212"/>
                <a:gd name="T32" fmla="*/ 278 w 313"/>
                <a:gd name="T33" fmla="*/ 30 h 212"/>
                <a:gd name="T34" fmla="*/ 278 w 313"/>
                <a:gd name="T35" fmla="*/ 128 h 212"/>
                <a:gd name="T36" fmla="*/ 278 w 313"/>
                <a:gd name="T37" fmla="*/ 128 h 212"/>
                <a:gd name="T38" fmla="*/ 278 w 313"/>
                <a:gd name="T39" fmla="*/ 182 h 212"/>
                <a:gd name="T40" fmla="*/ 35 w 313"/>
                <a:gd name="T41" fmla="*/ 182 h 212"/>
                <a:gd name="T42" fmla="*/ 35 w 313"/>
                <a:gd name="T43" fmla="*/ 128 h 212"/>
                <a:gd name="T44" fmla="*/ 35 w 313"/>
                <a:gd name="T45" fmla="*/ 128 h 212"/>
                <a:gd name="T46" fmla="*/ 35 w 313"/>
                <a:gd name="T47" fmla="*/ 3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3" h="212">
                  <a:moveTo>
                    <a:pt x="41" y="212"/>
                  </a:moveTo>
                  <a:cubicBezTo>
                    <a:pt x="272" y="212"/>
                    <a:pt x="272" y="212"/>
                    <a:pt x="272" y="212"/>
                  </a:cubicBezTo>
                  <a:cubicBezTo>
                    <a:pt x="293" y="212"/>
                    <a:pt x="311" y="196"/>
                    <a:pt x="313" y="175"/>
                  </a:cubicBezTo>
                  <a:cubicBezTo>
                    <a:pt x="313" y="174"/>
                    <a:pt x="313" y="173"/>
                    <a:pt x="313" y="171"/>
                  </a:cubicBezTo>
                  <a:cubicBezTo>
                    <a:pt x="313" y="41"/>
                    <a:pt x="313" y="41"/>
                    <a:pt x="313" y="41"/>
                  </a:cubicBezTo>
                  <a:cubicBezTo>
                    <a:pt x="313" y="18"/>
                    <a:pt x="295" y="0"/>
                    <a:pt x="272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3"/>
                    <a:pt x="0" y="174"/>
                    <a:pt x="0" y="175"/>
                  </a:cubicBezTo>
                  <a:cubicBezTo>
                    <a:pt x="2" y="196"/>
                    <a:pt x="20" y="212"/>
                    <a:pt x="41" y="212"/>
                  </a:cubicBezTo>
                  <a:close/>
                  <a:moveTo>
                    <a:pt x="35" y="30"/>
                  </a:moveTo>
                  <a:cubicBezTo>
                    <a:pt x="245" y="30"/>
                    <a:pt x="245" y="30"/>
                    <a:pt x="245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82"/>
                    <a:pt x="278" y="182"/>
                    <a:pt x="278" y="182"/>
                  </a:cubicBezTo>
                  <a:cubicBezTo>
                    <a:pt x="35" y="182"/>
                    <a:pt x="35" y="182"/>
                    <a:pt x="35" y="182"/>
                  </a:cubicBezTo>
                  <a:cubicBezTo>
                    <a:pt x="35" y="128"/>
                    <a:pt x="35" y="128"/>
                    <a:pt x="35" y="128"/>
                  </a:cubicBezTo>
                  <a:cubicBezTo>
                    <a:pt x="35" y="128"/>
                    <a:pt x="35" y="128"/>
                    <a:pt x="35" y="128"/>
                  </a:cubicBezTo>
                  <a:lnTo>
                    <a:pt x="3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35"/>
            <p:cNvSpPr>
              <a:spLocks noEditPoints="1"/>
            </p:cNvSpPr>
            <p:nvPr/>
          </p:nvSpPr>
          <p:spPr bwMode="auto">
            <a:xfrm>
              <a:off x="3511550" y="3221038"/>
              <a:ext cx="577850" cy="65088"/>
            </a:xfrm>
            <a:custGeom>
              <a:avLst/>
              <a:gdLst>
                <a:gd name="T0" fmla="*/ 197 w 334"/>
                <a:gd name="T1" fmla="*/ 0 h 37"/>
                <a:gd name="T2" fmla="*/ 197 w 334"/>
                <a:gd name="T3" fmla="*/ 11 h 37"/>
                <a:gd name="T4" fmla="*/ 131 w 334"/>
                <a:gd name="T5" fmla="*/ 11 h 37"/>
                <a:gd name="T6" fmla="*/ 131 w 334"/>
                <a:gd name="T7" fmla="*/ 0 h 37"/>
                <a:gd name="T8" fmla="*/ 0 w 334"/>
                <a:gd name="T9" fmla="*/ 0 h 37"/>
                <a:gd name="T10" fmla="*/ 29 w 334"/>
                <a:gd name="T11" fmla="*/ 37 h 37"/>
                <a:gd name="T12" fmla="*/ 305 w 334"/>
                <a:gd name="T13" fmla="*/ 37 h 37"/>
                <a:gd name="T14" fmla="*/ 334 w 334"/>
                <a:gd name="T15" fmla="*/ 0 h 37"/>
                <a:gd name="T16" fmla="*/ 197 w 334"/>
                <a:gd name="T17" fmla="*/ 0 h 37"/>
                <a:gd name="T18" fmla="*/ 270 w 334"/>
                <a:gd name="T19" fmla="*/ 24 h 37"/>
                <a:gd name="T20" fmla="*/ 240 w 334"/>
                <a:gd name="T21" fmla="*/ 24 h 37"/>
                <a:gd name="T22" fmla="*/ 240 w 334"/>
                <a:gd name="T23" fmla="*/ 14 h 37"/>
                <a:gd name="T24" fmla="*/ 270 w 334"/>
                <a:gd name="T25" fmla="*/ 14 h 37"/>
                <a:gd name="T26" fmla="*/ 270 w 334"/>
                <a:gd name="T27" fmla="*/ 24 h 37"/>
                <a:gd name="T28" fmla="*/ 311 w 334"/>
                <a:gd name="T29" fmla="*/ 24 h 37"/>
                <a:gd name="T30" fmla="*/ 281 w 334"/>
                <a:gd name="T31" fmla="*/ 24 h 37"/>
                <a:gd name="T32" fmla="*/ 281 w 334"/>
                <a:gd name="T33" fmla="*/ 14 h 37"/>
                <a:gd name="T34" fmla="*/ 311 w 334"/>
                <a:gd name="T35" fmla="*/ 14 h 37"/>
                <a:gd name="T36" fmla="*/ 311 w 334"/>
                <a:gd name="T3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4" h="37">
                  <a:moveTo>
                    <a:pt x="197" y="0"/>
                  </a:moveTo>
                  <a:cubicBezTo>
                    <a:pt x="197" y="11"/>
                    <a:pt x="197" y="11"/>
                    <a:pt x="197" y="11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13" y="37"/>
                    <a:pt x="29" y="37"/>
                  </a:cubicBezTo>
                  <a:cubicBezTo>
                    <a:pt x="305" y="37"/>
                    <a:pt x="305" y="37"/>
                    <a:pt x="305" y="37"/>
                  </a:cubicBezTo>
                  <a:cubicBezTo>
                    <a:pt x="321" y="37"/>
                    <a:pt x="333" y="19"/>
                    <a:pt x="334" y="0"/>
                  </a:cubicBezTo>
                  <a:lnTo>
                    <a:pt x="197" y="0"/>
                  </a:lnTo>
                  <a:close/>
                  <a:moveTo>
                    <a:pt x="270" y="24"/>
                  </a:moveTo>
                  <a:cubicBezTo>
                    <a:pt x="240" y="24"/>
                    <a:pt x="240" y="24"/>
                    <a:pt x="240" y="24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70" y="14"/>
                    <a:pt x="270" y="14"/>
                    <a:pt x="270" y="14"/>
                  </a:cubicBezTo>
                  <a:lnTo>
                    <a:pt x="270" y="24"/>
                  </a:lnTo>
                  <a:close/>
                  <a:moveTo>
                    <a:pt x="311" y="24"/>
                  </a:moveTo>
                  <a:cubicBezTo>
                    <a:pt x="281" y="24"/>
                    <a:pt x="281" y="24"/>
                    <a:pt x="281" y="24"/>
                  </a:cubicBezTo>
                  <a:cubicBezTo>
                    <a:pt x="281" y="14"/>
                    <a:pt x="281" y="14"/>
                    <a:pt x="281" y="14"/>
                  </a:cubicBezTo>
                  <a:cubicBezTo>
                    <a:pt x="311" y="14"/>
                    <a:pt x="311" y="14"/>
                    <a:pt x="311" y="14"/>
                  </a:cubicBezTo>
                  <a:lnTo>
                    <a:pt x="3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1082638" y="2019837"/>
            <a:ext cx="437069" cy="311239"/>
            <a:chOff x="3511550" y="2828925"/>
            <a:chExt cx="577850" cy="457201"/>
          </a:xfrm>
          <a:solidFill>
            <a:schemeClr val="bg1"/>
          </a:solidFill>
        </p:grpSpPr>
        <p:sp>
          <p:nvSpPr>
            <p:cNvPr id="102" name="Freeform 232"/>
            <p:cNvSpPr>
              <a:spLocks noEditPoints="1"/>
            </p:cNvSpPr>
            <p:nvPr/>
          </p:nvSpPr>
          <p:spPr bwMode="auto">
            <a:xfrm>
              <a:off x="3841750" y="2943225"/>
              <a:ext cx="136525" cy="136525"/>
            </a:xfrm>
            <a:custGeom>
              <a:avLst/>
              <a:gdLst>
                <a:gd name="T0" fmla="*/ 79 w 79"/>
                <a:gd name="T1" fmla="*/ 44 h 79"/>
                <a:gd name="T2" fmla="*/ 79 w 79"/>
                <a:gd name="T3" fmla="*/ 35 h 79"/>
                <a:gd name="T4" fmla="*/ 71 w 79"/>
                <a:gd name="T5" fmla="*/ 32 h 79"/>
                <a:gd name="T6" fmla="*/ 67 w 79"/>
                <a:gd name="T7" fmla="*/ 22 h 79"/>
                <a:gd name="T8" fmla="*/ 70 w 79"/>
                <a:gd name="T9" fmla="*/ 15 h 79"/>
                <a:gd name="T10" fmla="*/ 64 w 79"/>
                <a:gd name="T11" fmla="*/ 8 h 79"/>
                <a:gd name="T12" fmla="*/ 57 w 79"/>
                <a:gd name="T13" fmla="*/ 12 h 79"/>
                <a:gd name="T14" fmla="*/ 47 w 79"/>
                <a:gd name="T15" fmla="*/ 8 h 79"/>
                <a:gd name="T16" fmla="*/ 44 w 79"/>
                <a:gd name="T17" fmla="*/ 0 h 79"/>
                <a:gd name="T18" fmla="*/ 35 w 79"/>
                <a:gd name="T19" fmla="*/ 0 h 79"/>
                <a:gd name="T20" fmla="*/ 32 w 79"/>
                <a:gd name="T21" fmla="*/ 8 h 79"/>
                <a:gd name="T22" fmla="*/ 22 w 79"/>
                <a:gd name="T23" fmla="*/ 12 h 79"/>
                <a:gd name="T24" fmla="*/ 15 w 79"/>
                <a:gd name="T25" fmla="*/ 8 h 79"/>
                <a:gd name="T26" fmla="*/ 8 w 79"/>
                <a:gd name="T27" fmla="*/ 15 h 79"/>
                <a:gd name="T28" fmla="*/ 12 w 79"/>
                <a:gd name="T29" fmla="*/ 22 h 79"/>
                <a:gd name="T30" fmla="*/ 8 w 79"/>
                <a:gd name="T31" fmla="*/ 32 h 79"/>
                <a:gd name="T32" fmla="*/ 0 w 79"/>
                <a:gd name="T33" fmla="*/ 35 h 79"/>
                <a:gd name="T34" fmla="*/ 0 w 79"/>
                <a:gd name="T35" fmla="*/ 44 h 79"/>
                <a:gd name="T36" fmla="*/ 8 w 79"/>
                <a:gd name="T37" fmla="*/ 47 h 79"/>
                <a:gd name="T38" fmla="*/ 12 w 79"/>
                <a:gd name="T39" fmla="*/ 57 h 79"/>
                <a:gd name="T40" fmla="*/ 8 w 79"/>
                <a:gd name="T41" fmla="*/ 64 h 79"/>
                <a:gd name="T42" fmla="*/ 15 w 79"/>
                <a:gd name="T43" fmla="*/ 70 h 79"/>
                <a:gd name="T44" fmla="*/ 22 w 79"/>
                <a:gd name="T45" fmla="*/ 67 h 79"/>
                <a:gd name="T46" fmla="*/ 32 w 79"/>
                <a:gd name="T47" fmla="*/ 71 h 79"/>
                <a:gd name="T48" fmla="*/ 35 w 79"/>
                <a:gd name="T49" fmla="*/ 79 h 79"/>
                <a:gd name="T50" fmla="*/ 44 w 79"/>
                <a:gd name="T51" fmla="*/ 79 h 79"/>
                <a:gd name="T52" fmla="*/ 47 w 79"/>
                <a:gd name="T53" fmla="*/ 71 h 79"/>
                <a:gd name="T54" fmla="*/ 57 w 79"/>
                <a:gd name="T55" fmla="*/ 67 h 79"/>
                <a:gd name="T56" fmla="*/ 64 w 79"/>
                <a:gd name="T57" fmla="*/ 70 h 79"/>
                <a:gd name="T58" fmla="*/ 70 w 79"/>
                <a:gd name="T59" fmla="*/ 64 h 79"/>
                <a:gd name="T60" fmla="*/ 67 w 79"/>
                <a:gd name="T61" fmla="*/ 57 h 79"/>
                <a:gd name="T62" fmla="*/ 71 w 79"/>
                <a:gd name="T63" fmla="*/ 47 h 79"/>
                <a:gd name="T64" fmla="*/ 79 w 79"/>
                <a:gd name="T65" fmla="*/ 44 h 79"/>
                <a:gd name="T66" fmla="*/ 39 w 79"/>
                <a:gd name="T67" fmla="*/ 57 h 79"/>
                <a:gd name="T68" fmla="*/ 22 w 79"/>
                <a:gd name="T69" fmla="*/ 39 h 79"/>
                <a:gd name="T70" fmla="*/ 39 w 79"/>
                <a:gd name="T71" fmla="*/ 22 h 79"/>
                <a:gd name="T72" fmla="*/ 57 w 79"/>
                <a:gd name="T73" fmla="*/ 39 h 79"/>
                <a:gd name="T74" fmla="*/ 39 w 79"/>
                <a:gd name="T75" fmla="*/ 5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9" h="79">
                  <a:moveTo>
                    <a:pt x="79" y="44"/>
                  </a:moveTo>
                  <a:cubicBezTo>
                    <a:pt x="79" y="35"/>
                    <a:pt x="79" y="35"/>
                    <a:pt x="79" y="35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70" y="29"/>
                    <a:pt x="69" y="25"/>
                    <a:pt x="67" y="22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4" y="10"/>
                    <a:pt x="50" y="9"/>
                    <a:pt x="47" y="8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29" y="9"/>
                    <a:pt x="25" y="10"/>
                    <a:pt x="22" y="12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0" y="25"/>
                    <a:pt x="9" y="29"/>
                    <a:pt x="8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50"/>
                    <a:pt x="10" y="54"/>
                    <a:pt x="12" y="57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5" y="69"/>
                    <a:pt x="29" y="70"/>
                    <a:pt x="32" y="71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50" y="70"/>
                    <a:pt x="54" y="69"/>
                    <a:pt x="57" y="67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9" y="54"/>
                    <a:pt x="70" y="50"/>
                    <a:pt x="71" y="47"/>
                  </a:cubicBezTo>
                  <a:lnTo>
                    <a:pt x="79" y="44"/>
                  </a:lnTo>
                  <a:close/>
                  <a:moveTo>
                    <a:pt x="39" y="57"/>
                  </a:moveTo>
                  <a:cubicBezTo>
                    <a:pt x="30" y="57"/>
                    <a:pt x="22" y="49"/>
                    <a:pt x="22" y="39"/>
                  </a:cubicBezTo>
                  <a:cubicBezTo>
                    <a:pt x="22" y="30"/>
                    <a:pt x="30" y="22"/>
                    <a:pt x="39" y="22"/>
                  </a:cubicBezTo>
                  <a:cubicBezTo>
                    <a:pt x="49" y="22"/>
                    <a:pt x="57" y="30"/>
                    <a:pt x="57" y="39"/>
                  </a:cubicBezTo>
                  <a:cubicBezTo>
                    <a:pt x="57" y="49"/>
                    <a:pt x="49" y="57"/>
                    <a:pt x="39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33"/>
            <p:cNvSpPr>
              <a:spLocks noEditPoints="1"/>
            </p:cNvSpPr>
            <p:nvPr/>
          </p:nvSpPr>
          <p:spPr bwMode="auto">
            <a:xfrm>
              <a:off x="3632200" y="2905125"/>
              <a:ext cx="212725" cy="214313"/>
            </a:xfrm>
            <a:custGeom>
              <a:avLst/>
              <a:gdLst>
                <a:gd name="T0" fmla="*/ 118 w 124"/>
                <a:gd name="T1" fmla="*/ 92 h 124"/>
                <a:gd name="T2" fmla="*/ 124 w 124"/>
                <a:gd name="T3" fmla="*/ 78 h 124"/>
                <a:gd name="T4" fmla="*/ 113 w 124"/>
                <a:gd name="T5" fmla="*/ 70 h 124"/>
                <a:gd name="T6" fmla="*/ 113 w 124"/>
                <a:gd name="T7" fmla="*/ 52 h 124"/>
                <a:gd name="T8" fmla="*/ 123 w 124"/>
                <a:gd name="T9" fmla="*/ 43 h 124"/>
                <a:gd name="T10" fmla="*/ 117 w 124"/>
                <a:gd name="T11" fmla="*/ 30 h 124"/>
                <a:gd name="T12" fmla="*/ 103 w 124"/>
                <a:gd name="T13" fmla="*/ 31 h 124"/>
                <a:gd name="T14" fmla="*/ 91 w 124"/>
                <a:gd name="T15" fmla="*/ 19 h 124"/>
                <a:gd name="T16" fmla="*/ 91 w 124"/>
                <a:gd name="T17" fmla="*/ 6 h 124"/>
                <a:gd name="T18" fmla="*/ 78 w 124"/>
                <a:gd name="T19" fmla="*/ 0 h 124"/>
                <a:gd name="T20" fmla="*/ 69 w 124"/>
                <a:gd name="T21" fmla="*/ 11 h 124"/>
                <a:gd name="T22" fmla="*/ 52 w 124"/>
                <a:gd name="T23" fmla="*/ 11 h 124"/>
                <a:gd name="T24" fmla="*/ 43 w 124"/>
                <a:gd name="T25" fmla="*/ 1 h 124"/>
                <a:gd name="T26" fmla="*/ 29 w 124"/>
                <a:gd name="T27" fmla="*/ 7 h 124"/>
                <a:gd name="T28" fmla="*/ 30 w 124"/>
                <a:gd name="T29" fmla="*/ 21 h 124"/>
                <a:gd name="T30" fmla="*/ 18 w 124"/>
                <a:gd name="T31" fmla="*/ 33 h 124"/>
                <a:gd name="T32" fmla="*/ 5 w 124"/>
                <a:gd name="T33" fmla="*/ 33 h 124"/>
                <a:gd name="T34" fmla="*/ 0 w 124"/>
                <a:gd name="T35" fmla="*/ 46 h 124"/>
                <a:gd name="T36" fmla="*/ 10 w 124"/>
                <a:gd name="T37" fmla="*/ 55 h 124"/>
                <a:gd name="T38" fmla="*/ 10 w 124"/>
                <a:gd name="T39" fmla="*/ 72 h 124"/>
                <a:gd name="T40" fmla="*/ 1 w 124"/>
                <a:gd name="T41" fmla="*/ 81 h 124"/>
                <a:gd name="T42" fmla="*/ 7 w 124"/>
                <a:gd name="T43" fmla="*/ 95 h 124"/>
                <a:gd name="T44" fmla="*/ 20 w 124"/>
                <a:gd name="T45" fmla="*/ 94 h 124"/>
                <a:gd name="T46" fmla="*/ 33 w 124"/>
                <a:gd name="T47" fmla="*/ 106 h 124"/>
                <a:gd name="T48" fmla="*/ 32 w 124"/>
                <a:gd name="T49" fmla="*/ 119 h 124"/>
                <a:gd name="T50" fmla="*/ 46 w 124"/>
                <a:gd name="T51" fmla="*/ 124 h 124"/>
                <a:gd name="T52" fmla="*/ 54 w 124"/>
                <a:gd name="T53" fmla="*/ 114 h 124"/>
                <a:gd name="T54" fmla="*/ 72 w 124"/>
                <a:gd name="T55" fmla="*/ 114 h 124"/>
                <a:gd name="T56" fmla="*/ 81 w 124"/>
                <a:gd name="T57" fmla="*/ 123 h 124"/>
                <a:gd name="T58" fmla="*/ 94 w 124"/>
                <a:gd name="T59" fmla="*/ 117 h 124"/>
                <a:gd name="T60" fmla="*/ 93 w 124"/>
                <a:gd name="T61" fmla="*/ 104 h 124"/>
                <a:gd name="T62" fmla="*/ 105 w 124"/>
                <a:gd name="T63" fmla="*/ 91 h 124"/>
                <a:gd name="T64" fmla="*/ 118 w 124"/>
                <a:gd name="T65" fmla="*/ 92 h 124"/>
                <a:gd name="T66" fmla="*/ 48 w 124"/>
                <a:gd name="T67" fmla="*/ 97 h 124"/>
                <a:gd name="T68" fmla="*/ 27 w 124"/>
                <a:gd name="T69" fmla="*/ 49 h 124"/>
                <a:gd name="T70" fmla="*/ 75 w 124"/>
                <a:gd name="T71" fmla="*/ 28 h 124"/>
                <a:gd name="T72" fmla="*/ 96 w 124"/>
                <a:gd name="T73" fmla="*/ 76 h 124"/>
                <a:gd name="T74" fmla="*/ 48 w 124"/>
                <a:gd name="T75" fmla="*/ 9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4" h="124">
                  <a:moveTo>
                    <a:pt x="118" y="92"/>
                  </a:moveTo>
                  <a:cubicBezTo>
                    <a:pt x="124" y="78"/>
                    <a:pt x="124" y="78"/>
                    <a:pt x="124" y="78"/>
                  </a:cubicBezTo>
                  <a:cubicBezTo>
                    <a:pt x="113" y="70"/>
                    <a:pt x="113" y="70"/>
                    <a:pt x="113" y="70"/>
                  </a:cubicBezTo>
                  <a:cubicBezTo>
                    <a:pt x="114" y="64"/>
                    <a:pt x="114" y="58"/>
                    <a:pt x="113" y="52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00" y="26"/>
                    <a:pt x="96" y="22"/>
                    <a:pt x="91" y="19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69" y="11"/>
                    <a:pt x="69" y="11"/>
                    <a:pt x="69" y="11"/>
                  </a:cubicBezTo>
                  <a:cubicBezTo>
                    <a:pt x="63" y="10"/>
                    <a:pt x="57" y="10"/>
                    <a:pt x="52" y="1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6" y="24"/>
                    <a:pt x="22" y="28"/>
                    <a:pt x="18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61"/>
                    <a:pt x="9" y="67"/>
                    <a:pt x="10" y="72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20" y="94"/>
                    <a:pt x="20" y="94"/>
                    <a:pt x="20" y="94"/>
                  </a:cubicBezTo>
                  <a:cubicBezTo>
                    <a:pt x="23" y="98"/>
                    <a:pt x="28" y="102"/>
                    <a:pt x="33" y="106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54" y="114"/>
                    <a:pt x="54" y="114"/>
                    <a:pt x="54" y="114"/>
                  </a:cubicBezTo>
                  <a:cubicBezTo>
                    <a:pt x="60" y="115"/>
                    <a:pt x="66" y="115"/>
                    <a:pt x="72" y="114"/>
                  </a:cubicBezTo>
                  <a:cubicBezTo>
                    <a:pt x="81" y="123"/>
                    <a:pt x="81" y="123"/>
                    <a:pt x="81" y="123"/>
                  </a:cubicBezTo>
                  <a:cubicBezTo>
                    <a:pt x="94" y="117"/>
                    <a:pt x="94" y="117"/>
                    <a:pt x="94" y="117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8" y="101"/>
                    <a:pt x="102" y="96"/>
                    <a:pt x="105" y="91"/>
                  </a:cubicBezTo>
                  <a:lnTo>
                    <a:pt x="118" y="92"/>
                  </a:lnTo>
                  <a:close/>
                  <a:moveTo>
                    <a:pt x="48" y="97"/>
                  </a:moveTo>
                  <a:cubicBezTo>
                    <a:pt x="29" y="90"/>
                    <a:pt x="20" y="68"/>
                    <a:pt x="27" y="49"/>
                  </a:cubicBezTo>
                  <a:cubicBezTo>
                    <a:pt x="34" y="30"/>
                    <a:pt x="56" y="20"/>
                    <a:pt x="75" y="28"/>
                  </a:cubicBezTo>
                  <a:cubicBezTo>
                    <a:pt x="94" y="35"/>
                    <a:pt x="104" y="57"/>
                    <a:pt x="96" y="76"/>
                  </a:cubicBezTo>
                  <a:cubicBezTo>
                    <a:pt x="89" y="95"/>
                    <a:pt x="67" y="104"/>
                    <a:pt x="48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34"/>
            <p:cNvSpPr>
              <a:spLocks noEditPoints="1"/>
            </p:cNvSpPr>
            <p:nvPr/>
          </p:nvSpPr>
          <p:spPr bwMode="auto">
            <a:xfrm>
              <a:off x="3530600" y="2828925"/>
              <a:ext cx="541338" cy="366713"/>
            </a:xfrm>
            <a:custGeom>
              <a:avLst/>
              <a:gdLst>
                <a:gd name="T0" fmla="*/ 41 w 313"/>
                <a:gd name="T1" fmla="*/ 212 h 212"/>
                <a:gd name="T2" fmla="*/ 272 w 313"/>
                <a:gd name="T3" fmla="*/ 212 h 212"/>
                <a:gd name="T4" fmla="*/ 313 w 313"/>
                <a:gd name="T5" fmla="*/ 175 h 212"/>
                <a:gd name="T6" fmla="*/ 313 w 313"/>
                <a:gd name="T7" fmla="*/ 171 h 212"/>
                <a:gd name="T8" fmla="*/ 313 w 313"/>
                <a:gd name="T9" fmla="*/ 41 h 212"/>
                <a:gd name="T10" fmla="*/ 272 w 313"/>
                <a:gd name="T11" fmla="*/ 0 h 212"/>
                <a:gd name="T12" fmla="*/ 245 w 313"/>
                <a:gd name="T13" fmla="*/ 0 h 212"/>
                <a:gd name="T14" fmla="*/ 229 w 313"/>
                <a:gd name="T15" fmla="*/ 0 h 212"/>
                <a:gd name="T16" fmla="*/ 41 w 313"/>
                <a:gd name="T17" fmla="*/ 0 h 212"/>
                <a:gd name="T18" fmla="*/ 0 w 313"/>
                <a:gd name="T19" fmla="*/ 41 h 212"/>
                <a:gd name="T20" fmla="*/ 0 w 313"/>
                <a:gd name="T21" fmla="*/ 171 h 212"/>
                <a:gd name="T22" fmla="*/ 0 w 313"/>
                <a:gd name="T23" fmla="*/ 175 h 212"/>
                <a:gd name="T24" fmla="*/ 41 w 313"/>
                <a:gd name="T25" fmla="*/ 212 h 212"/>
                <a:gd name="T26" fmla="*/ 35 w 313"/>
                <a:gd name="T27" fmla="*/ 30 h 212"/>
                <a:gd name="T28" fmla="*/ 245 w 313"/>
                <a:gd name="T29" fmla="*/ 30 h 212"/>
                <a:gd name="T30" fmla="*/ 269 w 313"/>
                <a:gd name="T31" fmla="*/ 30 h 212"/>
                <a:gd name="T32" fmla="*/ 278 w 313"/>
                <a:gd name="T33" fmla="*/ 30 h 212"/>
                <a:gd name="T34" fmla="*/ 278 w 313"/>
                <a:gd name="T35" fmla="*/ 128 h 212"/>
                <a:gd name="T36" fmla="*/ 278 w 313"/>
                <a:gd name="T37" fmla="*/ 128 h 212"/>
                <a:gd name="T38" fmla="*/ 278 w 313"/>
                <a:gd name="T39" fmla="*/ 182 h 212"/>
                <a:gd name="T40" fmla="*/ 35 w 313"/>
                <a:gd name="T41" fmla="*/ 182 h 212"/>
                <a:gd name="T42" fmla="*/ 35 w 313"/>
                <a:gd name="T43" fmla="*/ 128 h 212"/>
                <a:gd name="T44" fmla="*/ 35 w 313"/>
                <a:gd name="T45" fmla="*/ 128 h 212"/>
                <a:gd name="T46" fmla="*/ 35 w 313"/>
                <a:gd name="T47" fmla="*/ 3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13" h="212">
                  <a:moveTo>
                    <a:pt x="41" y="212"/>
                  </a:moveTo>
                  <a:cubicBezTo>
                    <a:pt x="272" y="212"/>
                    <a:pt x="272" y="212"/>
                    <a:pt x="272" y="212"/>
                  </a:cubicBezTo>
                  <a:cubicBezTo>
                    <a:pt x="293" y="212"/>
                    <a:pt x="311" y="196"/>
                    <a:pt x="313" y="175"/>
                  </a:cubicBezTo>
                  <a:cubicBezTo>
                    <a:pt x="313" y="174"/>
                    <a:pt x="313" y="173"/>
                    <a:pt x="313" y="171"/>
                  </a:cubicBezTo>
                  <a:cubicBezTo>
                    <a:pt x="313" y="41"/>
                    <a:pt x="313" y="41"/>
                    <a:pt x="313" y="41"/>
                  </a:cubicBezTo>
                  <a:cubicBezTo>
                    <a:pt x="313" y="18"/>
                    <a:pt x="295" y="0"/>
                    <a:pt x="272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18" y="0"/>
                    <a:pt x="0" y="18"/>
                    <a:pt x="0" y="41"/>
                  </a:cubicBezTo>
                  <a:cubicBezTo>
                    <a:pt x="0" y="171"/>
                    <a:pt x="0" y="171"/>
                    <a:pt x="0" y="171"/>
                  </a:cubicBezTo>
                  <a:cubicBezTo>
                    <a:pt x="0" y="173"/>
                    <a:pt x="0" y="174"/>
                    <a:pt x="0" y="175"/>
                  </a:cubicBezTo>
                  <a:cubicBezTo>
                    <a:pt x="2" y="196"/>
                    <a:pt x="20" y="212"/>
                    <a:pt x="41" y="212"/>
                  </a:cubicBezTo>
                  <a:close/>
                  <a:moveTo>
                    <a:pt x="35" y="30"/>
                  </a:moveTo>
                  <a:cubicBezTo>
                    <a:pt x="245" y="30"/>
                    <a:pt x="245" y="30"/>
                    <a:pt x="245" y="30"/>
                  </a:cubicBezTo>
                  <a:cubicBezTo>
                    <a:pt x="269" y="30"/>
                    <a:pt x="269" y="30"/>
                    <a:pt x="269" y="30"/>
                  </a:cubicBezTo>
                  <a:cubicBezTo>
                    <a:pt x="278" y="30"/>
                    <a:pt x="278" y="30"/>
                    <a:pt x="278" y="30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28"/>
                    <a:pt x="278" y="128"/>
                    <a:pt x="278" y="128"/>
                  </a:cubicBezTo>
                  <a:cubicBezTo>
                    <a:pt x="278" y="182"/>
                    <a:pt x="278" y="182"/>
                    <a:pt x="278" y="182"/>
                  </a:cubicBezTo>
                  <a:cubicBezTo>
                    <a:pt x="35" y="182"/>
                    <a:pt x="35" y="182"/>
                    <a:pt x="35" y="182"/>
                  </a:cubicBezTo>
                  <a:cubicBezTo>
                    <a:pt x="35" y="128"/>
                    <a:pt x="35" y="128"/>
                    <a:pt x="35" y="128"/>
                  </a:cubicBezTo>
                  <a:cubicBezTo>
                    <a:pt x="35" y="128"/>
                    <a:pt x="35" y="128"/>
                    <a:pt x="35" y="128"/>
                  </a:cubicBezTo>
                  <a:lnTo>
                    <a:pt x="3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235"/>
            <p:cNvSpPr>
              <a:spLocks noEditPoints="1"/>
            </p:cNvSpPr>
            <p:nvPr/>
          </p:nvSpPr>
          <p:spPr bwMode="auto">
            <a:xfrm>
              <a:off x="3511550" y="3221038"/>
              <a:ext cx="577850" cy="65088"/>
            </a:xfrm>
            <a:custGeom>
              <a:avLst/>
              <a:gdLst>
                <a:gd name="T0" fmla="*/ 197 w 334"/>
                <a:gd name="T1" fmla="*/ 0 h 37"/>
                <a:gd name="T2" fmla="*/ 197 w 334"/>
                <a:gd name="T3" fmla="*/ 11 h 37"/>
                <a:gd name="T4" fmla="*/ 131 w 334"/>
                <a:gd name="T5" fmla="*/ 11 h 37"/>
                <a:gd name="T6" fmla="*/ 131 w 334"/>
                <a:gd name="T7" fmla="*/ 0 h 37"/>
                <a:gd name="T8" fmla="*/ 0 w 334"/>
                <a:gd name="T9" fmla="*/ 0 h 37"/>
                <a:gd name="T10" fmla="*/ 29 w 334"/>
                <a:gd name="T11" fmla="*/ 37 h 37"/>
                <a:gd name="T12" fmla="*/ 305 w 334"/>
                <a:gd name="T13" fmla="*/ 37 h 37"/>
                <a:gd name="T14" fmla="*/ 334 w 334"/>
                <a:gd name="T15" fmla="*/ 0 h 37"/>
                <a:gd name="T16" fmla="*/ 197 w 334"/>
                <a:gd name="T17" fmla="*/ 0 h 37"/>
                <a:gd name="T18" fmla="*/ 270 w 334"/>
                <a:gd name="T19" fmla="*/ 24 h 37"/>
                <a:gd name="T20" fmla="*/ 240 w 334"/>
                <a:gd name="T21" fmla="*/ 24 h 37"/>
                <a:gd name="T22" fmla="*/ 240 w 334"/>
                <a:gd name="T23" fmla="*/ 14 h 37"/>
                <a:gd name="T24" fmla="*/ 270 w 334"/>
                <a:gd name="T25" fmla="*/ 14 h 37"/>
                <a:gd name="T26" fmla="*/ 270 w 334"/>
                <a:gd name="T27" fmla="*/ 24 h 37"/>
                <a:gd name="T28" fmla="*/ 311 w 334"/>
                <a:gd name="T29" fmla="*/ 24 h 37"/>
                <a:gd name="T30" fmla="*/ 281 w 334"/>
                <a:gd name="T31" fmla="*/ 24 h 37"/>
                <a:gd name="T32" fmla="*/ 281 w 334"/>
                <a:gd name="T33" fmla="*/ 14 h 37"/>
                <a:gd name="T34" fmla="*/ 311 w 334"/>
                <a:gd name="T35" fmla="*/ 14 h 37"/>
                <a:gd name="T36" fmla="*/ 311 w 334"/>
                <a:gd name="T37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34" h="37">
                  <a:moveTo>
                    <a:pt x="197" y="0"/>
                  </a:moveTo>
                  <a:cubicBezTo>
                    <a:pt x="197" y="11"/>
                    <a:pt x="197" y="11"/>
                    <a:pt x="197" y="11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1" y="0"/>
                    <a:pt x="131" y="0"/>
                    <a:pt x="1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"/>
                    <a:pt x="13" y="37"/>
                    <a:pt x="29" y="37"/>
                  </a:cubicBezTo>
                  <a:cubicBezTo>
                    <a:pt x="305" y="37"/>
                    <a:pt x="305" y="37"/>
                    <a:pt x="305" y="37"/>
                  </a:cubicBezTo>
                  <a:cubicBezTo>
                    <a:pt x="321" y="37"/>
                    <a:pt x="333" y="19"/>
                    <a:pt x="334" y="0"/>
                  </a:cubicBezTo>
                  <a:lnTo>
                    <a:pt x="197" y="0"/>
                  </a:lnTo>
                  <a:close/>
                  <a:moveTo>
                    <a:pt x="270" y="24"/>
                  </a:moveTo>
                  <a:cubicBezTo>
                    <a:pt x="240" y="24"/>
                    <a:pt x="240" y="24"/>
                    <a:pt x="240" y="24"/>
                  </a:cubicBezTo>
                  <a:cubicBezTo>
                    <a:pt x="240" y="14"/>
                    <a:pt x="240" y="14"/>
                    <a:pt x="240" y="14"/>
                  </a:cubicBezTo>
                  <a:cubicBezTo>
                    <a:pt x="270" y="14"/>
                    <a:pt x="270" y="14"/>
                    <a:pt x="270" y="14"/>
                  </a:cubicBezTo>
                  <a:lnTo>
                    <a:pt x="270" y="24"/>
                  </a:lnTo>
                  <a:close/>
                  <a:moveTo>
                    <a:pt x="311" y="24"/>
                  </a:moveTo>
                  <a:cubicBezTo>
                    <a:pt x="281" y="24"/>
                    <a:pt x="281" y="24"/>
                    <a:pt x="281" y="24"/>
                  </a:cubicBezTo>
                  <a:cubicBezTo>
                    <a:pt x="281" y="14"/>
                    <a:pt x="281" y="14"/>
                    <a:pt x="281" y="14"/>
                  </a:cubicBezTo>
                  <a:cubicBezTo>
                    <a:pt x="311" y="14"/>
                    <a:pt x="311" y="14"/>
                    <a:pt x="311" y="14"/>
                  </a:cubicBezTo>
                  <a:lnTo>
                    <a:pt x="311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0057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FullPage"/>
  <p:tag name="KEYWORD" val="FULL-PAGE"/>
  <p:tag name="TEMPLATEVERSION" val="03/03/2016 06:44:0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3gLsnQwaQGY3FSCkzx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vwykkqQ6.zJF7Fnw8Y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W8bqs4TPiBlQKcd5lu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Aa9dSwTdu3sdjFf6fo9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KjINK9SgGf.rUuim41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4vHm8MTkiyRCaRI.lt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UDpluXRiKNXSN.7SRl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mqAh3ATNmOEt4.gvs2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620qbQCi..oziMtLr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PvQtyfQQKTFy.IFIWZd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OmpaSTQzGpREKzDjsK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n8rL_Rj6tR4l1VGan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loX.nQTyOo3h1RKJ_J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c.1JKxQxm8HGj1qIU9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M7SG.1TBasxwrciBSB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v26mvWTUm2xInGHTP.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YJHvN5SAuBUKmCp2OA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LB0RoMQvmPBLJReryl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.PQhzoQUixuEnrPAWdX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69oTKiRvWPQvJgtZa0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4iK9YKQPOVUAQTdIGWu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ysIXqeRRqaGN2aFP8_7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EgSKLySla2RZy_VMd6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p20b0Qq6.N5qID6zbE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qkYiXUQC.xKF1snMLZ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xB3d2GRmKU84IaE6VO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alRH.qRJWaBG.DGCkg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UxUiauSx6IG6rHFdcC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t6dhpStOc3d9WzLKO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nv_q3gQHmi0GG_nLNGu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_YOD5R9C47DjjhZWC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.FnrQ4SWS3xIxrIPOzS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abFp1iTCKVR5VqoABc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NaxMqT6iVY.6TnqvT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.FNnzvRU6K1ZVH5Yfp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giPtC2T3qqVwCGcPkGp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52t8QcSrq6NgVo.Sw4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tN3VAXSgycz8AfkHauo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XYAy2RV6oaiR7CJsuf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5gH9kVU0kuHdBfCqVWhd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H.1sGai3UOC4ptG_lG1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U06VUIUG4L.fXgLuQ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TX2I5lFUWQp1j6hEGJ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xQUFj8SDe8qY0isjLN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XYAy2RV6oaiR7CJsu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tN3VAXSgycz8AfkHauo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tN3VAXSgycz8AfkHauo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1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GXYAy2RV6oaiR7CJsufQ"/>
</p:tagLst>
</file>

<file path=ppt/theme/theme1.xml><?xml version="1.0" encoding="utf-8"?>
<a:theme xmlns:a="http://schemas.openxmlformats.org/drawingml/2006/main" name="KPMG_Talkbook_4x3_1021_2015">
  <a:themeElements>
    <a:clrScheme name="New KPMG Colour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91DA"/>
      </a:hlink>
      <a:folHlink>
        <a:srgbClr val="0091DA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1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10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Talkbook Full-page JSC_rus.potx" id="{0F05D548-18F0-4C63-B684-D9D0400B4288}" vid="{15BB6740-44E6-4378-8BBE-5B0065118D2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3</TotalTime>
  <Words>1974</Words>
  <Application>Microsoft Office PowerPoint</Application>
  <PresentationFormat>A4 Paper (210x297 mm)</PresentationFormat>
  <Paragraphs>313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1" baseType="lpstr">
      <vt:lpstr>Arial</vt:lpstr>
      <vt:lpstr>Calibri</vt:lpstr>
      <vt:lpstr>DokChampa</vt:lpstr>
      <vt:lpstr>Franklin Gothic Book</vt:lpstr>
      <vt:lpstr>Georgia</vt:lpstr>
      <vt:lpstr>KPMG Cyrillic Extralight</vt:lpstr>
      <vt:lpstr>KPMG Extralight</vt:lpstr>
      <vt:lpstr>Tahoma</vt:lpstr>
      <vt:lpstr>Univers for KPMG</vt:lpstr>
      <vt:lpstr>Wingdings</vt:lpstr>
      <vt:lpstr>KPMG_Talkbook_4x3_1021_2015</vt:lpstr>
      <vt:lpstr>think-cell Slide</vt:lpstr>
      <vt:lpstr>Chart</vt:lpstr>
      <vt:lpstr>Банк будущего –  Digital тренды в  банковском бизнесе</vt:lpstr>
      <vt:lpstr>Содержание</vt:lpstr>
      <vt:lpstr>Влияние FinTech на банковский рынок. Банк будущего</vt:lpstr>
      <vt:lpstr>Основным трендом на рынке банковских услуг в развитых странах является усиление конкуренции со стороны digital компаний…</vt:lpstr>
      <vt:lpstr>…по всем основным типам банковских продуктов и услуг</vt:lpstr>
      <vt:lpstr>В СНГ банки активно инвестируют в FinTech компании для дальнейшего использования возникающих преимуществ</vt:lpstr>
      <vt:lpstr>Активное развитие FinTech несет для банков как риски, так и возможности</vt:lpstr>
      <vt:lpstr>FinTech является предпосылками текущей и потенциальной трансформации различных элементов бизнес-модели и операционной модели (1/2)</vt:lpstr>
      <vt:lpstr>FinTech является предпосылками текущей и потенциальной трансформации различных элементов бизнес-модели и операционной модели (1/2)</vt:lpstr>
      <vt:lpstr>Влияние FinTech трендов является одной из причин появления «банка будущего» с высоким уровнем клиентских, технологических и управленческих компетенций</vt:lpstr>
      <vt:lpstr>Цифровой банк</vt:lpstr>
      <vt:lpstr>При создании цифрового банка, необходимо уделять внимание не только функционалу фронт, мидл и бэк-офиса, но и культуре Банка в целом</vt:lpstr>
      <vt:lpstr>Существует четыре типа бизнес-модели цифрового банка, различающихся степенью своей автономности</vt:lpstr>
      <vt:lpstr>Экосистема</vt:lpstr>
      <vt:lpstr>С точки зрения Банка, экосистема – это организация, обладающая компетенциями по взаимодействию с клиентами, бизнес-средой, а также продвинутой моделью управления</vt:lpstr>
      <vt:lpstr>С точки зрения клиента, экосистема – это платформа, в рамках которой возможно удовлетворение широкого перечня финансовых и нефинансовых потребностей</vt:lpstr>
      <vt:lpstr>Контакты:</vt:lpstr>
      <vt:lpstr>PowerPoint Presentation</vt:lpstr>
    </vt:vector>
  </TitlesOfParts>
  <Company>KPM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 банковскую индустрию влияет ряд трендов1), сформировавшихся на рынке инновационных (FinTech) компаний</dc:title>
  <dc:creator>Rakova, Nataliya</dc:creator>
  <cp:lastModifiedBy>Rakova, Nataliya</cp:lastModifiedBy>
  <cp:revision>93</cp:revision>
  <cp:lastPrinted>2016-03-01T09:58:08Z</cp:lastPrinted>
  <dcterms:created xsi:type="dcterms:W3CDTF">2018-05-28T04:35:50Z</dcterms:created>
  <dcterms:modified xsi:type="dcterms:W3CDTF">2018-09-11T10:52:44Z</dcterms:modified>
  <cp:category>KPMG Confidential</cp:category>
</cp:coreProperties>
</file>